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notesSlides/notesSlide9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0.xml" ContentType="application/vnd.openxmlformats-officedocument.presentationml.notesSlide+xml"/>
  <Override PartName="/ppt/tags/tag23.xml" ContentType="application/vnd.openxmlformats-officedocument.presentationml.tags+xml"/>
  <Override PartName="/ppt/notesSlides/notesSlide11.xml" ContentType="application/vnd.openxmlformats-officedocument.presentationml.notesSlide+xml"/>
  <Override PartName="/ppt/tags/tag24.xml" ContentType="application/vnd.openxmlformats-officedocument.presentationml.tags+xml"/>
  <Override PartName="/ppt/notesSlides/notesSlide12.xml" ContentType="application/vnd.openxmlformats-officedocument.presentationml.notesSlide+xml"/>
  <Override PartName="/ppt/tags/tag25.xml" ContentType="application/vnd.openxmlformats-officedocument.presentationml.tags+xml"/>
  <Override PartName="/ppt/notesSlides/notesSlide13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4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5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61" r:id="rId1"/>
  </p:sldMasterIdLst>
  <p:notesMasterIdLst>
    <p:notesMasterId r:id="rId35"/>
  </p:notesMasterIdLst>
  <p:sldIdLst>
    <p:sldId id="363" r:id="rId2"/>
    <p:sldId id="364" r:id="rId3"/>
    <p:sldId id="365" r:id="rId4"/>
    <p:sldId id="366" r:id="rId5"/>
    <p:sldId id="367" r:id="rId6"/>
    <p:sldId id="368" r:id="rId7"/>
    <p:sldId id="369" r:id="rId8"/>
    <p:sldId id="370" r:id="rId9"/>
    <p:sldId id="371" r:id="rId10"/>
    <p:sldId id="372" r:id="rId11"/>
    <p:sldId id="373" r:id="rId12"/>
    <p:sldId id="374" r:id="rId13"/>
    <p:sldId id="375" r:id="rId14"/>
    <p:sldId id="376" r:id="rId15"/>
    <p:sldId id="377" r:id="rId16"/>
    <p:sldId id="378" r:id="rId17"/>
    <p:sldId id="379" r:id="rId18"/>
    <p:sldId id="380" r:id="rId19"/>
    <p:sldId id="381" r:id="rId20"/>
    <p:sldId id="382" r:id="rId21"/>
    <p:sldId id="383" r:id="rId22"/>
    <p:sldId id="384" r:id="rId23"/>
    <p:sldId id="385" r:id="rId24"/>
    <p:sldId id="386" r:id="rId25"/>
    <p:sldId id="387" r:id="rId26"/>
    <p:sldId id="388" r:id="rId27"/>
    <p:sldId id="389" r:id="rId28"/>
    <p:sldId id="390" r:id="rId29"/>
    <p:sldId id="391" r:id="rId30"/>
    <p:sldId id="392" r:id="rId31"/>
    <p:sldId id="393" r:id="rId32"/>
    <p:sldId id="394" r:id="rId33"/>
    <p:sldId id="395" r:id="rId3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98" autoAdjust="0"/>
    <p:restoredTop sz="94660"/>
  </p:normalViewPr>
  <p:slideViewPr>
    <p:cSldViewPr>
      <p:cViewPr varScale="1">
        <p:scale>
          <a:sx n="108" d="100"/>
          <a:sy n="108" d="100"/>
        </p:scale>
        <p:origin x="107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864343-33AD-4B2C-9111-771D9D38C20D}" type="datetimeFigureOut">
              <a:rPr lang="en-US" smtClean="0"/>
              <a:pPr/>
              <a:t>12/12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B4BB5D-5D2C-43F4-815B-7A4C5114735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442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752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4862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81567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3339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5170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27388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63607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4729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51625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19714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99654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91551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3147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71C1F94-00FA-4064-9B01-A0DB35C50C5E}" type="slidenum">
              <a:rPr lang="en-US"/>
              <a:pPr/>
              <a:t>15</a:t>
            </a:fld>
            <a:endParaRPr lang="en-US" dirty="0"/>
          </a:p>
        </p:txBody>
      </p:sp>
      <p:sp>
        <p:nvSpPr>
          <p:cNvPr id="1198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7438" y="703263"/>
            <a:ext cx="4686300" cy="3514725"/>
          </a:xfrm>
          <a:ln/>
        </p:spPr>
      </p:sp>
      <p:sp>
        <p:nvSpPr>
          <p:cNvPr id="1198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87847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82455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90976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5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Gill Sans MT" panose="020B0502020104020203" pitchFamily="34" charset="0"/>
              </a:defRPr>
            </a:lvl1pPr>
            <a:lvl2pPr>
              <a:defRPr>
                <a:latin typeface="Gill Sans MT" panose="020B0502020104020203" pitchFamily="34" charset="0"/>
              </a:defRPr>
            </a:lvl2pPr>
            <a:lvl3pPr>
              <a:defRPr>
                <a:latin typeface="Gill Sans MT" panose="020B0502020104020203" pitchFamily="34" charset="0"/>
              </a:defRPr>
            </a:lvl3pPr>
            <a:lvl4pPr>
              <a:defRPr>
                <a:latin typeface="Gill Sans MT" panose="020B0502020104020203" pitchFamily="34" charset="0"/>
              </a:defRPr>
            </a:lvl4pPr>
            <a:lvl5pPr>
              <a:defRPr>
                <a:latin typeface="Gill Sans MT" panose="020B05020201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0947A9-521A-4AFE-8C3B-59BE50CEA4D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57200" y="1371600"/>
            <a:ext cx="8229600" cy="685800"/>
          </a:xfrm>
        </p:spPr>
        <p:txBody>
          <a:bodyPr>
            <a:normAutofit/>
          </a:bodyPr>
          <a:lstStyle>
            <a:lvl1pPr marL="0" indent="0" algn="l">
              <a:buNone/>
              <a:defRPr sz="1800" i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57200" y="1371600"/>
            <a:ext cx="8229600" cy="685800"/>
          </a:xfrm>
        </p:spPr>
        <p:txBody>
          <a:bodyPr>
            <a:normAutofit/>
          </a:bodyPr>
          <a:lstStyle>
            <a:lvl1pPr marL="0" indent="0" algn="l">
              <a:buNone/>
              <a:defRPr sz="1800" i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7180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57200" y="1371600"/>
            <a:ext cx="8229600" cy="685800"/>
          </a:xfrm>
        </p:spPr>
        <p:txBody>
          <a:bodyPr>
            <a:normAutofit/>
          </a:bodyPr>
          <a:lstStyle>
            <a:lvl1pPr marL="0" indent="0" algn="l">
              <a:buNone/>
              <a:defRPr sz="1800" i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86366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9144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24800" y="6400800"/>
            <a:ext cx="1066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2" descr="Displaying mekko-graphics-logo2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0692" y="-152400"/>
            <a:ext cx="1860908" cy="85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7" r:id="rId3"/>
    <p:sldLayoutId id="2147483669" r:id="rId4"/>
    <p:sldLayoutId id="2147483674" r:id="rId5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accent5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rgbClr val="2B303D"/>
        </a:buClr>
        <a:buSzPct val="85000"/>
        <a:buFont typeface="Arial" pitchFamily="34" charset="0"/>
        <a:buChar char="•"/>
        <a:defRPr sz="2400" kern="1200">
          <a:solidFill>
            <a:schemeClr val="accent5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rgbClr val="87A634"/>
        </a:buClr>
        <a:buSzPct val="85000"/>
        <a:buFont typeface="Arial" pitchFamily="34" charset="0"/>
        <a:buChar char="•"/>
        <a:defRPr sz="2000" kern="1200">
          <a:solidFill>
            <a:schemeClr val="accent5">
              <a:lumMod val="50000"/>
            </a:schemeClr>
          </a:solidFill>
          <a:latin typeface="+mn-lt"/>
          <a:ea typeface="+mn-ea"/>
          <a:cs typeface="+mn-cs"/>
        </a:defRPr>
      </a:lvl2pPr>
      <a:lvl3pPr marL="891540" indent="-342900" algn="l" defTabSz="914400" rtl="0" eaLnBrk="1" latinLnBrk="0" hangingPunct="1">
        <a:spcBef>
          <a:spcPct val="20000"/>
        </a:spcBef>
        <a:buClr>
          <a:srgbClr val="E88E4A"/>
        </a:buClr>
        <a:buSzPct val="90000"/>
        <a:buFont typeface="Arial" panose="020B0604020202020204" pitchFamily="34" charset="0"/>
        <a:buChar char="•"/>
        <a:defRPr sz="1800" kern="1200">
          <a:solidFill>
            <a:schemeClr val="accent5">
              <a:lumMod val="50000"/>
            </a:schemeClr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accent5">
              <a:lumMod val="50000"/>
            </a:schemeClr>
          </a:solidFill>
          <a:latin typeface="+mn-lt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rgbClr val="00B0F0"/>
        </a:buClr>
        <a:buSzPct val="100000"/>
        <a:buFont typeface="Arial" pitchFamily="34" charset="0"/>
        <a:buChar char="•"/>
        <a:defRPr sz="1400" kern="1200" baseline="0">
          <a:solidFill>
            <a:schemeClr val="accent5">
              <a:lumMod val="50000"/>
            </a:schemeClr>
          </a:solidFill>
          <a:latin typeface="+mn-lt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4" Type="http://schemas.openxmlformats.org/officeDocument/2006/relationships/image" Target="../media/image15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4" Type="http://schemas.openxmlformats.org/officeDocument/2006/relationships/image" Target="../media/image16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8.emf"/><Relationship Id="rId4" Type="http://schemas.openxmlformats.org/officeDocument/2006/relationships/image" Target="../media/image17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4" Type="http://schemas.openxmlformats.org/officeDocument/2006/relationships/image" Target="../media/image19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4" Type="http://schemas.openxmlformats.org/officeDocument/2006/relationships/image" Target="../media/image20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4" Type="http://schemas.openxmlformats.org/officeDocument/2006/relationships/image" Target="../media/image21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22.xml"/><Relationship Id="rId7" Type="http://schemas.openxmlformats.org/officeDocument/2006/relationships/image" Target="../media/image22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3.xml"/><Relationship Id="rId4" Type="http://schemas.openxmlformats.org/officeDocument/2006/relationships/image" Target="../media/image2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Relationship Id="rId4" Type="http://schemas.openxmlformats.org/officeDocument/2006/relationships/image" Target="../media/image25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Relationship Id="rId4" Type="http://schemas.openxmlformats.org/officeDocument/2006/relationships/image" Target="../media/image26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4" Type="http://schemas.openxmlformats.org/officeDocument/2006/relationships/image" Target="../media/image29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1.xml"/><Relationship Id="rId4" Type="http://schemas.openxmlformats.org/officeDocument/2006/relationships/image" Target="../media/image32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6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emf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41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7.xml"/><Relationship Id="rId6" Type="http://schemas.openxmlformats.org/officeDocument/2006/relationships/image" Target="../media/image40.emf"/><Relationship Id="rId5" Type="http://schemas.openxmlformats.org/officeDocument/2006/relationships/image" Target="../media/image39.emf"/><Relationship Id="rId4" Type="http://schemas.openxmlformats.org/officeDocument/2006/relationships/image" Target="../media/image38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ain.com/publications/articles/luxury-goods-worldwide-market-study-december-2014.aspx" TargetMode="Externa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4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ckage Delivery Marke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While FedEx is #1 in the Americas, there are opportunities to improve in other regions.</a:t>
            </a:r>
          </a:p>
        </p:txBody>
      </p:sp>
      <p:sp>
        <p:nvSpPr>
          <p:cNvPr id="4" name="Rectangle 3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Op0ycGFAinQr8Tg0aHv2oVInweFtzvEEifMKhzZTpKEJ49HhqRF4fmxZlZgCWFL4rsru7pegGBR3eobekY0Uxd04sUCWTkVOgGrkkeGQQ3S9vjCgX7GRNEwuEexhdSRB8J7OHZVoxfDjQbFLmv0aBCAO9ohcUda2Pma3GKT3MqjmjbFjVyGeB321+FbkofjTTZP95/nBsKJ/tcHUjZuk2h8DFzhQulxfI+tdsED/qq780V6ug5aW9ayYe4032GyGxXDaqNG8KiyeSg1AiRWNIQN+Eh7uZ0lpAI87lmOdrXksPfE3EAEukDPsA5oa8PAGVxdXV5H1ge1rIdxfsOMtU7++8uNkr91urLgmFLKJHDKfLU4ESKWXZv5xTa83aGb561MJ1Xx3xY9KELcwmspcjqeXo6GqrEoHXHmoYgzGUsHDg+oRCPj8+qKdpEtekGRMwEOLqLtu01njO0vMcKmsovsWqxokXqKEonm5JfxWPhSYxk2SwULIYCoCZPuErGhgOuTlwfQLenvtlqjKXRQu33t8+GDEkKn6R8tXrPG0wy5TKNdPGNZv32Ab1XKcJAOeJ6CceGH7VOlgs4oH5oYk1YyaIqKpanSbkqsH+Iqwz+naVym7t7KzQFNwK7Q4wiwulyazG9tMlTFwAPskyQtKsnQfNhkGvSUPMIjEuYp7AqZdDsajcPi0DpHua0mcRVBEq6NfX7KpunK6zgzNuK9EkfRIUBm6BApVkW/tQ633A3j6HOtQV7g5rieEQlgAKb0BFBBxjjLodQkTDDMS50L16oMVD8v6ay1Y/Sn4ahndNpv3Vy3vXLcqEp3a+Krk6zTwZe5UTLmpaIewPTMSeZvZmVzCVSj/2LK5l7h5vuaVUXLuPDvXl1dPG63OCXIZ2r+vyEi4PK6JsHX7MJTmEdF9DhWYcLe0A5qI9b1AraSiP595GVrToC6FYW9kqHykRCc69xRbyGQwWjXPP26P/webwOTcZ/pJppLkUgCzaaLIoIDVKKeDXX0bfxVILx7zbvYZRgUCIhWJkmP/qdifBxI87ueeoSROwfT+PDglzZ5SE2nUvqD91n7+soRPVMOsRYDfZ9CCWp8WS4OJZ3q2kAdsyYe466LQ7pVQ7o0FKWvQEewyViMtd0qFY4Q/ATU1XDC/V5NWfESahebZcyxvGDUKa8AkUoSAs4pRKMaQHQTAcMOq69STkbAymToSYD2cNe2msRLj/LKUFbkuqMBUWsOSarwhVzO7B3vXYgCXNP3d1SIr+eqUSCw/PD3jGQN14TGWJUAL91wu+Dbd5aEuoGX9JprQChH3vuJtx7sx1YLxNFox2VYTd1LpuZdSWyZ30P7Z5mnquhA7E/HgERIsRElZW6zBdgpiqcju/rHxanEIgKSAzootw+fc2H/FMQcy4FrA9Fcb4mNhR5yCHz3jPJ/EQmzuNW7GDFkBYh+i648Cs33d9FHV8qr7uSW1VA5iiQw6h5a5oHmr60TKaHsH4MIvOf07RLi/cD3m1WzKb1e+KGwTNoFUD4EVZc2nsaOErc6Z1/a28i2ap9zT5u2F5TSj/GrHU6b/c3GzjxzeOibdFCMzNrbxFEfwX4yicvC3PwoofHq+I2qukcr7v7eHkbtjYqlj3I8LnqIHchKA9WV5ssHoICliZdI8n/sWWIh2HuhC9TRUJYO7oC6rHK70t5pJOtvvI2M0PlcXzgVIYLPBFMBuGHh7HJkpezH0UmLPW9IKH6sUNeLgbpxcGwPX4Oq9aAU2c7LYWQbyiCi0Zwh/UgHCF5CbhcoLIlo542KdAA6xnE+8dqzPFlM1qXqRnW7v/MlbL3+IgsZx/w9OBNQvC4dgWi9pWNR6Csv0iTwzJOr1LaUKWBE7H2Gaed/LGWNpYgbLSnvN+FtZVTaD1uSePQo7u1jb3DvVttTX1g6BfxaDJf1fPtsrrJt7NaCw02amHa70lM/6IVAzvWCds3tNzj6vz3/JHnsXKpP4Ew4Aj5HuYMo1LY9LJ7O8f9Sv3QWLT8DyCf7bxV+dCNzCERHErfNS4z7EWZOKmXNqhEOwYod+6yYITVQAOfKtx/CShfryidDETrmAX3NWzozot41OqqX7hixqaCQmEIM60RBuCMkjz10eQGXD34xrgyAcME34Dy4Etta/ZO3wW5J055rleDm5dOIPPJ4gyU4pX28S0AP0ASL6m5tjo4s+nS+tUraFBZBPh/MiFvEitufwNeHPZbau0DZkiqmTvOpLvEFN+M/L4IILVHYtxokf1qDybqmEAMFCRwRS9NUmU4fyUPCynn5phsCqUQ6hMZOpMUWZtC9FWOr7Wx+i54ZJz7IaFBRgOWfMGVp500b0iU98PAJWpFjUl3n3HrfEi6ItrGqarWwlVy9Hd7rrKnTgCNMoaXXq9Rm+/oDf8/1LTICCbP3PhqZ4xyEs3kQNBRW7Cbv0mckRTjUY8fjJbvzdgdtnoe9/kd2clLK/m7jBgfuxMf71xxrqTKOeqPT98HhYYATdSQPAPNhuH/E14fnSzzYrBNW4QOmCzT9pmVTH2A5uAVRmQl0aFt9afrPphkohWyJIbOVj0u65dsEmxiAKuR8Yl2m8RCnALlim9SDjEkROmHkcaGkhdA9Y1rOonb4o6u+Hul+Fv/XUWDoFYb/hVCMsFUAPKc+aXj+NRPufQi6kuFTsoNVVUwBKvXrXkuS1KbYArnzG61BxHSkwEoBPtGtoZdPTq+h8BChNFMWX+5cixYmhXNqSce3FtNz9ZiTBHIae7ss3qWXAJ92oPLgwV2sC6THOVftdhY1X2PJv6i6evFZharPDuW/Wl86iyp0P93lzqVivSVonIZcU8RqLEveKkMXbeZ9gfl9cWlQmItHOGS724w7dwdz3ZDb96t73K0S12k/56DISQhTMP/u8zgNXUw4juwA9m/IilRehzFrnLXV9f0Jfl6HKzSk4oiZuyhVa/Kk/lSh3uCRANWurg0g/RFJdJbJ91fmC744IYln3KWe3Tu5fV+n3nVUS9zGjt6AJbTk4ePonYes1YKFH4h0nYV6oqoIoeW4m8q7ZN2C8CXJ9e2ndokExHeVIo3Vpid+xLGScoGWWgKxmpjCOjJPURnwOIdaEqTzl5vbdW9gWOYMQ1gj7UrVKktSOuGhIOIU/odRf+vWpy6Vo/PPf23JOx5RERfnQ1yDDaF9rN9o5kudFkvADOfCqQ2ZjDoOkXgEHHBraPFZCy8NJ3ljaldSD69rytglO1w5XvYr/SFRTsN/ABhYz2mjXAKda9s5I9Wzja7NZdfRSmwm0YEmIRcLA6a9HTNqHedysvXUxBwUSZFcuhO5NEQLj0O+Wiog2G+5XKpNEXj3owv2cm6G/kqem5yoAW1AoDvgjxRsfx1Tn+MEpn9jqTPT+c3SUh+S/K7UuRe8Ud1OjeYVLyX7eR1cQKJ3ID06X8KKBhinX7NSewMU8kmuaPQ5sKfT4UNcnWmBJsQtKzlucWfUStPtkYDaFrx9N4c61qsbxNY1JhVCJtyXapPj2lIPEcBnIwd95O6Z20+z2blMlzvkLx4Y0QT+BL+VYQShPhtNabb6h5U4wTzUc77gdqpejnD6ngwt5ihOqIzouqKj211OaPfr9VT1tTgP+Inz1IN7afBTIiPCBxlUC9nBidQULWdUSR6Di5a31GhuF0k7IVJBCDzP+O3g5d0Z5jTQEqIHYm8/q0NcKP0hbR3XlBgwciWD1pokZVlOXmqRxLS3WSzLNJ1E7tONHYezLgtSFYGpPLti0WK9UeRLuilFMSDeQzA4OTAAqnPtKKr6AcODZ8VHTnsDX4m4g/4pxATaxK1TPoLNgQ8Mv+VRwhzEPfN4KAddDKajVHjBTaHEv1WIqeDKmFPJ++6wPOwysLUpkJYC/IRxzi52vlmQ49wL3GUMEH6acl5QK7GYSoRPrPAO2LyqrcGw+seHQLiiPX6DsuKfcmvwjsc4Ioyyd0ccSS0lFCD6pNkD3wCYiP6pAYP5XmCaoHpbDoBr/5lFZX/bPSe+tgzsUjDNtTNvFG+vZpmwmZZfuoEJggZC3WpM9N2Qwk5x2v3IWag5LtDrIGhdLFHo9B9oXZiAQvU0k5thzyLh+P8mob8w5eC5/V6xAZjb2iFatihou2UUKPYPa+rI2FlYt5UV8m0Qfs4XixQkFmqyuW4WDHNoeYifsqEKMqPUGEMBrY+TcJYMhSzGW3Rk7w/s/oZDNexugBNh+cJRvaVrSKSXb+HuqU8IZMIDaZdRZZhV/2U03gM1s2rQKhfgFmQaV4Y2yc3GX53EJZNQNDzNf3EZQ5pLqaYMhEpVIc+Lv1+xFwQkzwZBBkYU0MCDk9UXBcExgqDdrJp0sA8G7JS2R/kcsxx2NOxGmTEsnux3EFMrzUfRw4rRgfDzg0spYM+chRzcITnY0Mg/O/8BqjMSIeaPX4iv8FxBs5UQdRYc4qyj53eUqiZJspSP1WcLg4h7OFBfKHYdJQ6+6eoraE20THCg07+H1MkU2Sov1rTeUQBm9yhF4mz14WcXfaV1ciQJPPnf1oZsmgark9SAVXSbnRN3/CszI6M+brR45Wxf5BNlgcsPtkm2GQKunIjvW9CmR1IFDCMw050NZFb/JUNwo38sCex0rPsX/DwnWgpjpiuG4Fyw5RzKcCnqCZ7eZ42AqSk1zBzcIb89VLrmUUudOnGwhjUr+bB98S3/svqrIbl3cJMgeYQYRXn87kmo/S/x5u0yp/BaYJYlzgakggppt8IhsZO7ac51Wh6HrLqN0lbd9AoXB5I+3HgraPWwoJG/QcriBmCgAQ6tUDtM+YeGcXS+wcArBqzf6qqHqpelgON4GiaKHk4bPAJxeDyMyR0GmD2PdvIsZkScyfG6ms8Qi0VtovEEbXyCG+yNeQiLRVCgDXbpV2Mt9FvUrwB44DypL3edI3ynRqMSF+2V8I+CzeAxEZHBNT51rMLMjEpoTKgVOytkE/D3QJvKTYeYt5Pg1sryEMqtjrbe5NvfIv1xQ1b7Dzke7VuVVLf9QKLBvGvVv5oI/5b4BpnsuF4xKIyXuGfNeI/1Z1GyvhwuGUUhTW25YGsPtiWbxMXjXjFbe/kpHH2xpGLB112hEs4K7TfBgQugN2qYOlG1Z09G/0r8X9i8AeZ3e+AZNAzaGpCuX4F/NVELmHTrvtT88XRaewaN2pBBJXQEO0+qaxrPTB2oOulmeRL5nTDbNBZfXsGjjvH6jkxGjlxZqNhJpRtKnK6z/1iLpt//XQA2hZEAesbmYmUcO5378lc35S5+ASw1JUSQ80u62+QhIjQR0HlpwwjwcDzatYeWrUAsVfHm+/FgiWSrZR+EM+zuG/+ojw5vnYCyhImJSLfHKFpLIpWEkaCXCyU6FYAyl6vD3c0j2I3BiALdcpfAyl8j2BNaDyry/yuxY2f0bSpOEFxjiGfIlhQMzNi89kafgK/274jW8KAFDGbE9t4h+VuY81V3QosBdc6F2kS3B2TPf+c3f2qIE5LkvJvZhRkc7IcL0ItobCYY1SrB9Kl8TTROjm7fjaWp3utzc6spzfnd2zL2Ex25qHu8nEVUKM775INxopuMvjHIGlQReK7oaS6wi1wCKQNzsfWwT/uCe+FIIfgWsc/xHgvjSBhy9xRQY/t6/OdXW6uEuOrpioHzfPmM+f7ZY7mxxfIMuXq/52YmyMlfMJFn3rcUCNm/1cSDVN4tgdgfZ/U3EqwBjtCOLGgkQ5u/pAOJejJPZnuzornRXdTKVTfEMBJYcqTp7VamJHuviR11i9++KRapbpWs5WAfXmy4tyqXVgRaXfMe9cL1q0HD0cW7yJfnw57wfvMYbYuEo9+oc+foV7oymgbV2P+GIV/Oz+r8eRZ8iezgNOUgq7ZOZE7sC4K+sFXmEtK9WNZ+2XOJrF2a5EIC+G0aCDFY+Q/T7FjbTjVdrU57jsbEgzZIw0pCjInrMZ1xwmPI0rn1+8MqtOVDxvOeiWC/kYi+oSfK22qV2PhHQouvFvPmCJeQoQMZZ5b9ZJjrbWFie3BFhroRvqT8zwJsdhx7ZfIJN67Znem9/qJszZFoa64dLFV+t7kr8H9lSQKCB9vCCrXoNo/Zs4Qd93ajP0zGEvjEttW/3kQ0GTBYQmUjPZAxImbfSpdp+//66U9HaJOdiaj4wZ4l2CKpM0tHGDu9WU0cPlKTJT54lDbD65AKYjC13Y+LJkujO1jxc+gsPspZ1HMjqCIrNllTON4jUsfPXGrPR1L/y/GHRmQZVn/TxYstma+CfjHs0sR9M1mI6A3SfEcT6opnlod00x6MYrqAiT1FqvWeoih3q3FO7Wu5PJ2H48iUFdpwJ2oABhr60j5SBBIORSIO0lDS5ecHVUOiMNxaR3S2+hnz92sh1ma1dm/vnWDA+ShcvliZJChG9ACB0a6JuRXil3Sc+oM4udjYPaGZ+1PCbGJvsxg6UIAOMqMU3nu4vT9CvPiaKp/TXCdXAnjnOKOBREPMbcY6Bbt4d051D/vHR9xQwaDjopooyiP22dVzb3prazBEPb9IOHw7VBKeFCZ4kVmv8ws4Zg6zSuYsqUKMFGbyUha4pQoLwA6WeSUSk7RrjNkDo2DVA9eHsehDNkG4Vf8LrYjma6qtAWD1nfBgD6MEPJfwJogXXmmdgHlMyUtV4KMKhoECUe/P9xjXLfuxIxeabsz6roY23OOEx6ZBObJiQvp0SprqKYsELU04ovtzNW8xGN3X0B1xRS0rnemS3YWKWVdAu9KpB41HE2aMJHTtyM0Km974jYhqn0cgy0pUYydKVKoMj1q3O17ZD7+C6ABXaw7J3oOYMhze7vOoqVl1jGXknVxO7H7LNeMvV9IJ88kbV0ANrv10WbeAUFmMJas+fVjtekC7EO9Em50h6HippJukOEWOGl2EzzhQVDalistkN9SdEpwINkIs4/Bd6dhL4UzC6ObV9v/VVhZGIUXOAgQc/MH70Q/q0Uf+PQdmtp/Zs1HO8aDW551OSCt/g3SzKMDKmalkI00c6G6AiEkqcWoVc7//SNabn3gUVBH4IACytMhlUzRW+k1aq3ETqqg3ZS6UAO7a+HFrr3mCn2hN5NmpN+P39fWP/y2zUqQXHFXDzSgpOXr5FH6+CY/7pQ1CSwjtH1g+VeJlQUQJ6K1qa9Gb6aMw0KgBVLMK9rQ+KieZsXbKcMAmsegw5HLHS6rlkR43A0eElahOImI3fiwvgiritBDn5Wbhju9IWGICcN30DxDSwg4JakKR9QiHAdsONRqxvsYqKfvE1I9P9kh/8G1lmdiDNfZ/8tdaL3jyykFBk8a9P6WE6kMjVSHa0fFJm0jwbU/fN2vv+KdbFFkbG7cbXFcD/zPAqpSGfWg5rkgGCxCSOCaShXlNL93p4opbDe7/PgqkDPFYPrYNDoFZcJ1mqiXdip/2HbrboTpJcdzMvRE9Zz/70P0YqTuFv7F4erRNOEP2XXCGKSJQGEwEkIy1S+2APPgjNBveGc1fP0VKAGjhpZ4YhP2HO9c055YiGVLslyw/ONHA2kZL9iJWOg1/oqtPyOoag31osu7GH1rQzYyh5OAqFEQ6r51DUyDfpR2tEhqrPfHPzGyqlTEA0LUQdt5t8swXwIp+UD03RlgC5TYciH2N8s6qbVure0Cw4Pd65cE5A4WLk1fw/+F5yXtNVf90LEirD708XG+NO0cpdwgJPhM5S7sG+I9XyfEHxxjwmbvhyx3fT3QuSVbm6DQwcPEdy8JZoaWr0PrZ9iIDnt9gWXWt1XJvWeHIzFpBn5Hpb6GFCczv+r8SMr2Fn7qYleKCV0pi3OfBwpC/23jUdjJvfvjdRRq+TrBnig7A14XmNPy1O5VBSnWkIMPiLdnx52N5pWyDsLHGLtlKqHaQ6dBs04mK3au8ZZ1NTbYsLHXZSZ6x0L9n23Ae4Cpeawd0tDyl8dgE2G6YuqdHq3gp1rL3ieDM2zHDdeArcIvsglo4zEIk0bhyyFwRRNYzr+nJWCYEyirQwTC6M5sVl92gbvczMxIPhj+aANaFdEtM40BDxM6Hnncbs63TNFI7Mb6aRlsZS0przRrL0AVTc1u0j4LzUm++QFItMS//GeBT86LupH24+yVtUEp0xa8olBNz2YYz1tFae9o58WQPqKfUZQ/psvEaUXjKitr6KvuUstd0baWYzjx2l8TjDq3gooHBJu/S1k7N9pIhRBHrU7Xc6BvlJLZd/BqY4z1/5tpPQswm62LAfOZgHKwEpWWAJK74G66MtosQtX/Y6Uz79cxM6BoLpSzP2RS1TAGlQunWFOFpAire8NNGtfDEJtfhoIDxeg6imlQ4d7PO77QqFpCE37Bha/+gDHZuTpfup44e5W4RZZ8laNo9G8hZC4d4U9y6kPXYAChwl4UqVeo4sJU7tBCFhuwlt/tI090XzHUIiHsEM3iLk1IvycODtwAHKOjkwwyaXJC1yBCHdNbwaolJd9bvPliLFnYFsZ9WQvn9i8/GrF3jqfDKIDiY2KpHpp72fFuy5sS/aRj8lEZGPLW7/18ggDRerplyHtmt7SLFXScYOcEWhNYkh+KyoKzloxJX2BzT183Zr0C8aTaV9cLLpAotZDo3JEFKVv4ajAutL/HK/gr/kUvPqFayW6fla2phRYdDRMTGQn8bUYKXvyem8pqQ2CRXHib1NzbnDlAzBwso70t0g3QrtMr8jD5PjUIqUnmUxPq6jK4DxpEZea+q2WBks1Ns9D+Wt6A7LJwAs2Wul+MKS2sX+5EPQcslgGRtUtFxpI1vunvISrkjYkXCLkvgillzDi6yMorYkCasmyKeR1c+2nUUmY3GP5ouulVe3d+Kwe2Ab4JRB1E8fgqEGMQvmetV0eIDQyE2WGZdAxPd+5EdLfimRxn+t6GyFSm/f+z7aTEiTC+G6y/HD+G5pTqMZjZcYGwkuhG1UDbVzMs/S9DdvavOh69Vjdmfg43/+Fi6FkBXcxE78i13ZewROLAIcsSDCJUy4p/hIiE4ZSlePj5BT6sB9D5Lq5vhY0q+848uGWcty4QbeKZkNuktg9KlWDalNjLy1zRWuDGOqUhbfv+BHvPH38H2nGDPvAogLYssuoVpyNNfZJZenxKrs7tCahTtfMmzGXoy6VULXL30fb/KXibw+eGqmn7YGbcoC/ljx6iAiA0AQUgb0hSGpwOL9hkEqJ+OY2yvg/vefLv1O9TjMliAGCiGwxGV54ZRzJ85eUtP7sQGcIX4d2Jy7LCJ0CV+kaCYKzjBqGN53O44IqhKWGOcGdewS0YOUS/CpYdEULbi3Sh46ms/v1uNDacP/aGU5hTb5KlsV4OaL5Q44P1PSC2G0yomfi6dBgXw0+DfM2EJwhPjVwDiA/a2lDq1e4ZTk20hWfBnGx7f1P5qSwbMxQz0s6T07tnTgeTdNFpC0rNDUm6Kll++ikN4WozOkfsLxk5BKYSx+2UQ4n5birwqQZkGUn6IzI1j71lmCueDz0QBfivtcmZmpwptEK318r84XxkbbLYHcvNFnSfSwn8kpa2t3kokqQ2LMm/U8Rwv+tE2R6u39LyoZjZ63jNHNiIePAGQ12TCXGKaE2SLwMXHSftp1bDz8LedF5Il8WQoqyKfQzfdr2ucafor4DsnyFLeITjaEcB/3Tnsyzx09A9drNxcu1layW+OWL2cglKr0+q93NChADgWe0iEIKM/UwCeRZqIEa5MftQhqygns4rGhBLrNvLbhcsGmcQY0TEK+ZVeXK//bM39IUPLF8Le3tXSAspgge0wMz4tZhP42cXurLgOz0vwLvYnZZ+KEvVK/M+KNyrbUQm77CpmDnQ9UF+cjfHkgijgEFlnKddX2iIIviAjm46UgpUqXdZTGWsbn6TTr/vfi2/+l/eptiGlvrQ+InetvvW9n3nxIp8BUoBNPlN/bOOLhjfMsZ5ycW632fYojfSpy5hPJDg2kxcH1ilXgK1SG1X6Na3VpxDBX64n4VUGfxE0rtTtCNtCLEjLI/jnhXa9PFwDTcDHuf0O5HqLKdKlT1V6a9Ar5XiiX6g35DBc5MViRQ0D4QWnJyDg90b819SkpWh2BXswK6FqYmqlF8pshjaYwNtmmcJJFCEtCfkfJXdvkPpuSvmXgkyoJ9CZ9AmqSyFUzP4D5Mxnv4xdH1xzpftbYOCNsNgd2Qbn6hW5qvSdPUAA940hZNkEQots01TvpfXQk/L6feCJ80nZBfEgg7j5TSw3okGXhvyDrvF8WdPT+Mlhg7nwokRxSaUyFdQnMUG2n8+YtlfKT/1fSchb1qCa4vrpdaOLB/uZbHVTgyOL8RukmbNXLU8YDSqBPcBOLx0skolSUQzvoII9XznZQEx1eXBBdhIH7ms5R5rIAhG+A9cRDWpwnyCH38PoPyTWWloOFkawE/bf5q+XBWbc++O7JjDgLI7SLR4za+PucvScscTtdMkUpiwUXDRRNs/ffK1FAwxsUy/u6vozCnMf2AGxS3yHi4QiwncVbfY9GJsr3YF7h+oRKLips6uwvNPYEWDDMskjxlsPlqJSCbFpmkrQ3CcFEgiXKsbW9/5xZhIup9LbHOdYgnzXOVKxkY0Kbg7+AuSlA4QQMg997SnLApBY8v96x3NLLHjhjc509cunSgfWzHymNaYQVmm5f6Kako8Dfu8SzVunEwTJT002T/0hnLxeO9PmkOzYpcdzRR7k9FURoyq0x1q3evB2MG1QV3hqI/N+EGV8SwmV28oHT3SppHE085QgoEiTlRzRpXjoVEa1euJ8ehp9xOgECsl21aGRFZCFJ4VAgX/VMeypTZm2VbkOtBt94FgsLgq2rJYgRi+3PnvnFcIdiTQjphwHBXzX0rWRLRhhwcecLq14SSKt88kpBhS6j5HWu0eZm8EebIs/OeqO1Kj1VZh67FpaNGgesDN5M7/OP/W4cayELmajkE80Sy+pWGaaL00XGD0lF517xYoj7NQwifgc9bLC3TmZDH/Js2ML5L3QH3XRVV6ewJUDEizSBmhQd0OiI7E0crQpAsZOdgCoMuBp9KHCOT471jhN/i5hftXf4pRsSuyU5JpDILAK/ndfD9v7VkzXaZM+kAzpYCoidUSdHSdPTdDmkPRID0dvt+d7Dn4sOQOoupTPxN1LhG+3zk/JIS9fnLLGLDA45tVngoCWRMJm7ZtckVGTI+7yEjUk2QaFKjH8EpodhDr7ECjfMFwbgkGaQL0+70HiA7VAE9EcjDFEQ07wE1A9wqaiw8P6zbPMVu8GOvkfFidAIPJgRdJ7urIOnfwXbFL7sBAWE4sWtSUlyIXk6/lJNQQv+rkzJbjSNnNjNVtt+4Neo4qiyfyfJg98Fxm9Z+1doDJe7vJFmcLxaCr2CklZOPKnrcgwqUnorA8b+VqKLke4lzV/z1X1AodmR9I3QG8dD5/coAZeuzS7Vj3w5eQw5IJiUzELMZ6apvXoz8zDG2QjuXtctjrP6BSPeYxWMztG77zhX+FqZNSp3P5nUZkPSB8vKoYdZBO1c1ma7NUFhmjvyPtl6sbJZMd1nHmzbu3KgxNNSYawA8MpLZrbbveaEi/iPwSRYQQxdsLkEDHavv0qHU1RlmGonC0wgOUfEUTQR0gxsUP3JxyeCACHkrFIPF44VzQUU3pFWlDfzmlOUECmRTldx2bncBaiAUjNVSw8Cza4zmTE0DWL5Ji9p2d0PdfnE6GZhTo/MK3J0FzySfRQnxPouy46BuNAK3zEbLdUoz0DBAHkcRg0+1dCo4FPHDP7+PQS77pR2xbSE3tI9dmhkWF1svzTmokUOl7oVyZV5hiEEB3OimLl5KwQwrUWkSFSt4i5vyKftG2OsVAZQOAY7PoFo1m3VRULh5U78fKuZst0QrnhnUZmqFzmWLQMZc+uoedncUJGrlZl2Y2HkAWz9grs/OHqKwDS/jEam0NHoDbLNSZ5KhZTv1w01CXkXwsktOsGyKhbyBS2vxhPV0H1c4YN86vDnsMylp/XTqdvNnCe46wlQVFAHDPU0I187rPhpA1pZmdu3PhXWnTxpgPeNE8F/lP0aAZca3yxkgqzFfPZ0U0AssZSHI+fGSLDtLKZ/0g/DEKHolwT/LE9xpaQ/I9AE5FV5JzxA2EOEb6ufeqjjyj6rFVhY/0H5OS4EqXKI+fXx17xqRxYZzyN/IywckquOhXaryHc5gqTShGopX2cUVV8hLjdMxKfzLgWsth/EWmKQKoJsO1RHCDe8z8838qjsmxU3Jd4f1UCg9ne/ou4VczA/g9I65c5nP7dUJMqcK595omk3a+3dMQYz05iStizN7rypM+F0fvRVeDb4c+4vaKQPiMGIoYleGwqC1okEJE9Y0uwcOqs2WBMLy5kTTsVxp5I/hfh46s1VVkA0aWuCKZAk2nTfPj7KAFBTJkExHm4cq0QqcrpU9VKO8J5AFmlP/zuFmcfUpEdCagRifHgajoi1QKJIlobrTzA+vGqQCksj1GJT0NGzdVkTEAzA8dVcEgJ904Rr5IUbFcqoJ2zk2LQBaWNiyOdti98vOFCuhYBIJm1VC6smtTd0GSN+a2ARBOITsHOzk7Q/HlFUNzYdd4w7Qobs4QySTHlGBVfYEeqsBfkVv1B24eCyq4yl5aloHf788eAcREVtgOsz3VN31pySBIVWJqsEr4wIqX71pkgk5DENkLaHXJ9pGeVQBObRpGzTNWwIjnbFiHZeWX4YdsvLZ/EYwkCsolPua68AHG6MD8SKIGNTfChitT5Qna70b0rcuKJW4U3yfHdY2ayZ6d84UusqBKLm5FbOdPYBwd+RvswxG9/fR9NwxGCb41Du987+NfCI7HgEjX7k1DYoj9KKZ6k3WcYXuanFV3/yedMQVYIH+nZuPqmEYDvZ2Ai3sOkD524BBK9U8ylxk0BUL0SdIR/EhBNNX2B6DLzU2cvzbmp7Y6yR0CPIVaniRq8IVf8luATpiMeDamCidJJ6h+7+8Wq13ST4bw18ysNCspUFh0MMlh991MNP2Icaw4IyUzh8pjDhHZtFkq6IgLLtL/lxotJiRhJH9A8oStej1cq5BSL7EswOZQ7e2J9iwLfC3oTq4zmn/+3ogrhD3aRcWn7UDICED852BXtDfwFuGcp0hwkMVi5KfTYeifhP5y1Ck5x2VI2gIu83stY8ZVEgenzzTZieiUe5fsdPlq3BmopZj+G31XsZDBVgEAxJVDhSviOb+zZNf0nEihM6gVKVvGyxr9phI1HRmumKYt81LEzkN2ijfz+jNow9JoFB3kap5RmFyVMDImGwZXHs5ADpOBeq0goTvgi/1XYSc3jNUGcceJbhGLN5Tz3VqBi0xs+qPcQhJOjJiGe6Y1PXUe/+pyxMNCLc8nwm3FfDMhNY9IA+0+CxAwZRH9G44AjALBBtlw055AwNc+l2baXmDFcwRvp+ZT0PdaqEeZpM0Q4trEWn/MD9mWUKdOcE8LoKouZUyXjYkGTL+aWAS6+alf2kwHje/vaWaGSB1G9DAAs5o5lFzG+bukUSbMgaCN8ojJRVV+ofPqoW1nQKz39vDXs+1Rm/sD3WhY+ELxoFCW5QApsQX4tz4Fdr6Jwrp4r532ryz418a+NCaqgOzVe4Aas8JmQrn77CIBqFXhJi/Apx/Mzg5K7XsEFI2ucaYQIB9SxI08uuP3Gazty8EjA+X45ENJbn4Kjse9C+1UUXgQtsTfrSSTvg12VqmezynqJsZAygJ83OdDEsfgQI2q8iSND9sHY8apZ07K5y2uHJNBnqoN/XuEXDbQBMH6/D009HsbFebbYlatGbRfe7EAyWlev56zrsU1KXj5mA2Ug/g3JLq2qN8yiBINODzYtAvVK+MUMinn+eZzZAu90uQq74Mh+q9VefH/S5Pn23lfolI+23H4eQ+C6kRYwt3jF0MijBE770P3y8Wxorc31h6efTzreTSFBlh6KlYnY+hXa6Pu5lo+6rBI+6yEPMYRISkLq9fWakxWxRRLwKFnPH25WrfyyI4wJVK3ZEbiv7YyZ8aThn5uwsvrLrpr0N49S6pyFBzWqUGdXEMFFoaFFAsgUXMc5o8dUF66ZgPLq/R7LM55MjdJtcaDRqhwk5+sQ1GbayghNjpfyRiSqIFbKlgCFEpdjZWiE7CQrfJwLA37+91LEByaX0nhDzGJBXxr1kBls2nFIy6p7pW2OynHTCPOofFRi+jVZPT4Fdag16cq0MPzt3QHyKrF84a9VsxeitySMyHIh/flbuR5l6jj4HuZh6KSIgWAdZIuqHHv25N11kp8u5RpSy5nDt/TqGs4wpIrZ3AdjHq4j6j1r/K6iG4dwlRmanULY4wBAa4f9CVLtQ5R48EspEKUNgGw7EnCttmGGy5Kze4T+DJ2LrLvopq/oPouzPnLmiRUqUPqq11+ujLzzj4e3Ui/OOewjiiZfSN3XrFNfs0B20L5YUxrpw601V/nCNvwxh9qy/RLImlVtO+B5KZLicsfq6ieFmT0oegJA1+uKohfJaPHPhhSyIFviJ6J9MUIJsV777An0b6DmNVwXilzyZ4WS9XRlnOsP8aXISMLhI5LL85sWCDVKBnmKpwC4MC7nuGlfdLGBZu13ma1Ua9GcQA4D0ecpDZyRFFC6dM92YUB4WU1rCEobUxT3p3slebj10WzNl7RdrETNWUcIWV/V+df8Kbp28uezHxZcYQUVWJSnlzd5uY7VufrfuFPlue40UeaLQ/N6RUw1AtHwQ68IR+UZrlfMRh0tOEiwZ0PoWyEd1adrjzJtK8/HpFIkmDvvVIjiTUZDLOXBSawPwoXvk26AacuQXrrpNCsxnqTxohgVH2SkzqCWNMm66Mlqc/kYDNT+8Y4afQw5i7rqKiBaRVSOsqTCjrxkspRnNlAZVOkA/tg5Iju9jN+BFMM5vTJQLfuM+ANCgI05nvH0hYAa2OZsUjJ+48JAvrI7viHa9FKVP6ozmRF3uAJQ8FCo5MAIO2mNkpFoUuVcNYT4zx2PJLt4lAq+mr92Mu4vJqC4P1PudvUbyEv7MnBrk3t9y+A4Sv+9KdZHb/33hDJ8YiP4JzasN/xuu908d+lt1XtEcQvPTR24MRqEJQVzqsdy3rMKrpPO6llalSTHTLMdvxiaqaS4j2pRjSojHtXxQSdn0W1VMuFA1ADgfrE4brM7M40p6WSpOpO755dH5MDvlOvkKa54Uj/vcnzGf1PxbC2R254DhOWCguJxHpQVTt17vm2fZMnDM7scXXqobSVmOBNumFhD7xqCKmyvgsR/QELjaDTZ8ceit9UqzPeXmWFpBU+ehrdQ58EePKZ0xxjgB0dhDmjCflIQQcmx0CR7xSBx9CyDnpaji6uw/r/Ajg0ZzCNwB0R4qRIrNmEkp65+5K6ZSsjpjsl9P7OH/6kQlZUuorz/DNlTsi5G6nf+U4KgASmVepjZyTlvQnw1MnHavQWZy6K4QAOibmXNqUOL5U0y1V5yjOgnIGTV/yaBwwKS9TVG5KD6AU5xitX4tPSrCMz7CyYUdF3liQH4k51cCcfIVWabcjzrfoQOZhUVNG6vAouHntMbq1V5Wsb0lL8ZmKvLVS5dNguZv9hl2UURUG90JRdhpZsOrtXH0sZ/D1c1SdG9n21bjGgDxtVYMnOsRr6ifOAiegaX2ohawEwEyiXa2A6VF3lnnJ1rvCRAMK/HAAC7ELPTjxRYK6DYcXWCYAdesQelmNH7T9wPUlKzyEq2lqy8vK8qS29GQ3qjlF7xmCzy2EAvWoFJnUfCPuygnoBVwkgMgCdVOhTZuRUS85i9Qp8o1s/suyKDYJh4T8ntegrG6tWHGZy54jpXOOgtTmG0ojeaIoFUfH040xVXG2NwSzRqBy9yU73x7wS/omT9BdGr9A9WStjknBg90QYXWcoPI8XFLWwXNsMcSjd8wBaxiJX4MpwbQfv15fno9G6zu12R9zUef1x4heYvGLnBem2MAzyaLqjwIYs1zdo2rTZF/wWAwWJepnEpcgHKBmXD+gDpK1SQwN9PiPODUIZycaCajKQ40JSHalK0s5GhhuOtDwikhuDZXgl/Pe0S+L+aL3Mpuz1t2BdJncUERfXM83ZV1DOcxgehlxM+8mzz7tVZ3lrJxuucXUXfPPNIc9oI1ZG0XopCNIYWiKuCz5qcv+uBGTVD8Wdlnw6GYCL7FHirDNdHgmP2YoflcdoluGzDPoCIwUIoQshvumAdcp8li5cQ1TWAnJgX6Js/wSscDNkXc2mba7SNtkIAe8+m4Xvq1D5TIhEHggwU25ui9udzlU2LQEbllXmxGqnr1wb5yHnZfL7EBwv/RYez/uDXgbARVshNTB8PyqjbhbQcSknfi/a9Uwdna1BV8HvQZbZXIkZf6xbChQXS1ajZHF4qTL7pf76A9Q02QAFOe9g8tQaVu6xO/79LFsOmZMJG/Vk9sfRx//2e+1U9yU9gC48IQB2HNvaCofd1mJFAzkUR43m2vHTIe9sAzaG8UPH+UW7rB0ycrZbhKH6GOUBNqItICfPGtd5mkdt0InQORQt+lF9d4jgs+yQAYHCkulfR+PCWQ/yt+qMXgXmN5h4+oR28qiCypgMTCZSxLXErrTX/A5W+wcEaazK0lGeNfY8106LhXks+JGeY8Nhmx+5XMfyaJcIzudA31YE3kwCYqEwx2FdLEKhk/yIJa3IF+nwkVVvERQ1YfZL913NIurAX+g3ow3uVTvIRYg9x/tAa6SX943ZJRJBS29OEV+x8z+Q0h1yQg9b9CWdF3UNiKOMmOkVCZGmYtt4KX5VRSsmkIK+FCaC9lk5KYw/U2IbxjieQDkXhG2crotRFz6zT+abQR4z3m2MJM/JBFgJ1ENpU2CCsx4HoN203OIUzRYwU0EndoUxBQUPckJkmYQLP43rV+1ItqwiTAp9YT8OJ7tVGVg1MkJUs6mVcxpwgyy2KbGNAkWtf8QkD/ihD0j5BTarQX062/6lu9jKGb/vEcsImau0Zzlv9U38FwD662aYOe9BowBH45Ai0DM1PVpj+iH1PBT6VUf63l7ZBdYfQ0BPYfWOocw+cb3h3//A1rtsCEg0w1WeKxzbxwaNpHVvOcsBZaZ6WOfVcbSu8mPNVq2SFCX6sQRetzr72wJ4BGYnDC1n777c0SJtV8erwMnQaLWbs1gi/KWPww8DDIsxk9B5N1omS4/ugsicXJX8VK+Cex2YTwuez+VurEMbI0GemycTrn9ap6AJyL/n1C7cZCBGHGFFkve5CrSomrjJSoyp6CXAoO36GXb8LG8pJHOE1BPx4Qogwt3rHerVA3nR2nfRBCjCGtQWGMHjJN5eY1G/qZeRb/a8CFqQo/S6kz+Qk7jjDI/sYa/1txHWijO9f9hbfmCo6Qji72tgdgUlokdrj7s5dmZCYjFsB0vU1Hn2FfJTLbu1fd+Ipq/plzP+ZJ8SqPEVBIkaC5cWDmmCaspLyAh6Ro8YmkbzMbuv4HKu2iXcNxYbKVoEmqrF0VeDJTOTKHNvm6PvEhAKTLlhFJmTG5hgTHTalVTbxOt28mapB+yExSiy7Dp0gaR5KZTie6PdW3YP7Ox2mMppxuhsJOkywXjBUIRo/3FV+sPKCjHimwxX6nIeVuyzSeXVbb5Ie+Fa9770GJVNyldkMd95ByG2FAuPRIhaZBVZy2l9k4vqLR5f6jajqpQ6XwVnY0FgE/no0dmnuf6tSe8jDlfuXN2Uo+covO+/XpzViyaYz3HrLMdi3uqVfXRKoUIkOv1u8XTHTCoEWJcMjRBhfrzo5FOyXzsy8nwrGsM60OF5mf3Z71Ggjq86YnN4GMbX1hbeV7iy9A4uapHn5vu1ldH0veinTaSrKvR6z2wetZwVn7fkK2GO4NC3rBv2mgKCFe/SVysa9WvfK9k8Twly89yzwjSHE5CT0q4R4NWIOZ+9nDtSWDFy6qULm69KjqODSCy7y3P5Db0G8PbMvJUzdWskcB0KEsIx2HL0Rt5kZM2iOc/ZdLK9RZtQqGI3kKdLtSXIQUr86CkHfL0NM+rCfuN7Ff4ZNmp6j3ixje/BLxNL8xA2WHpFK0rTmXJjg21mlOJ4dOyJI6Qw1hGM9IJ/mLKECdM/CW6e2GWu4l2y38KIlvhT0MW9gDmw2OmCAP/bHRENmADRO2+UDVeY6saZkEbUwRDjC73xTGAXr15dIGIwvcqbvUukMlksK8a0g5o/QKJP2xcvF1uhjWj2KCaW5kzWIXCFBWopN/fadfI0idOKkFM87ti/wNcLPTKwAZTemIJKZ4fzBvztgI2wiW1w7e8PKplrjU9pMbymwj3eAQkhFik0cc023s+ZtXzUjJcTN2BYD6NZ+BBn/QkOeOW0M6PZWis0mNPQftzBpiFW/l4T+ViGCPXX1+/rhj7ky9U+smisAJ2iABJDNBZU8Cy7gsbf5Tk+CrfsyaDEejMB4gKxypTZK7HQgkGiORwr6knTcixEa97ndX3C6o1ROsYAUdbpmQbBpD7QpqytvoNpDKZTjPo8ihXr8f2s/xum3PyGddmlgBnJWGM6K6JLgwK/aRmrwRyj5GDJnXn/qd5WmYnxzpbyaBUeivbp/ptIaXTYFqwvt00kgnGnw22l5/pa9eUP086PGg4oFAxdfCGYLeOCYz5mg0JzhwZc7RH/CaoEc7NDAkaz1ZauHriJpQJxuPnW8pi5MX8M7MHY4u/j4ABk57G4MVF69JSVi4HGFbvRwFNWc0tIIxkKqFLFkKqFdTsWCV/nuhdRksIodZRn1bzqOK3LSuwHj8Pk19J/GDybA9hq/WqDkmgHLCjedWH6Fc3FOPeXyfxo22OcHSw7OMNXBzJ9naHnPsTmDicIvMeE19ONHUeE4pluxU3mAKzrmZSKieFEqyytqMva35UVKzUlGgZSZV4X/cA5eYolVN2fOodgb68G61P71JOH7KO8Sbupcgb65VhMySMua2PHvnlP99DJegj45zlB73SBvyMgosGH+7EEjG4y4U54h4I8YQJfBrOZTN//4kLWBq+NEX18ZpB9jkViMdJxd+7VLkMZrZwhLJs2XcopEnkIssBw4qG72rRfamNzeIMeVr08pl5Rm3gNizoGSKCrOZBqLswNGw84bMtRs8XOmQcQcGaDtX6Plu7Xur5rWtIudUnOuaC3osqB3/GRtkI3kxZnXEQEdCOscYKmzjrvuRyjiaIK71OedzR3MFzfy5X7BAqknnHuHPukKmK4Sg4RI74EnJSihOYV2hOY4RWkaBM4j6kBejYJwOIoxik8W0Xs4Yv2DrOSzofVrGvXx+8NPxJqyIvbGyUbBCM2lob+AkaEUuAyUspVf+dhofeGMcxVMgG8OOiwWa6BUvO6fgAzQcj2nWBvrCqnfBihpVFerl898J7NBiPdgol9CG/F7L35ZgH76dQK3PfmrZclwOpCMnL/nZHJaSMkv75pJLKok/LavzYjH+YPEhjT5rQah46hmctu+wqlzyq5oHntY/2k1XlnGU4Q77u9EItPklIMTWPTHKxsPnzd69d1XkZBylrD2YqsxvHsDolYZXNyL55rfHy/RxKcSf9KTvqWj2xxS5kkmD0Jv7uzwwH8hohP6gymLE9nGOVi+FAQ5wp8Bz6FvefFlbwJQK+f8Tfh/AJTZ6aPGglJZUmnRs/Blgly0Yxm1kb0Cm2P7rhMe/NbtihQ/pdwpMhPFiJeRveBG+1PzKcLDJjbHVsusp5Nx/4Zbq5Iinpcmq2DbDWy8XzrRtwhmg/vOnb7U8yeK0Id/k4AGg/WodvNzIZB+IW5lJh6X9SWtispQ/y4DCPOC2Sfqynr68q/+qWkSchT9nEFy6EODCOIer+60V7SSUCpuQX9zXwQ+YBhlvj+v0zSF2bD+P1tIggst8Zn+qqL33D7yvgk08i/xK4iZ7Nvmzdy68hlHmo4PtQmTIATJgr15ppodV+HbTvREx6vroacHSZoNWWKDqiCh7liO1r4kQBdQe4YuXn3MfzNjW8slBXZ+0GKNvHnHcE6YMZBHzpUKY6O/2dzi5tstMUBlqQTpt8IueID+aOhS+oGR5HwHR85tGR+TQo7XlzR7Vmmnd16TFFRXwaSPrkNq/fwdZx2laSMvj0TGYaKktTQ0nF/ELcuNVkjTTg28fo5azOLiYu5KwDc0H87iGXW5fpwnCwC/aPVUHYqq/1GUGpduJOeVJVWiZjMngF9Ay1ky1f38ajO/1K9fy8QfaqrO4mItk+Dvg+y1vDYFcU9bwb17e2UaPCzvjzHofWQDdErtPQ9eHKKtq+gqp15snSMCeahYG1b20mh54jfnV+QQnQ+sRxGEFRyf/dOkftAjUqWj79PqVV3UJ9treCjRFw3RiVbCLjNsnURuSTlGtqmMc2y0D6Bk/dJ7qO/WyIba2IuhDIAKPRV+eGxNKkNJEy/r3IrPc6fWNZjH6M7pXlBDWlUzv0qiDbtFPDk2JhheNO+4GfYjrSu38ku5E/J1i/CjyBh7kPGgXJoTnMtCnaEkDR8tMWDeo57L6sNKExvlcwefyuZwFPDQ0Cig06y7ED4XK9cLhJqWiIKjD6f59AlGS02ZwyIdrDK+VTN6iPA8MBrn6o1UhrXqWg/3ZspZKwq5TX9OL4EO7spK4r/CLFIw3t4kqUIWvBb0x46kim3PmqDRZnxBDz3YatZKEgQVg9FpSGZYHzN1MsqdyOLabZ1RN1WKQTpNQJ6iImZyYcDtkdo/RCGu+z3qaK/UNyoRrcILIn3SJ1vLrllWZ2VUTwSQSpCH9ctLXyk/y1uruD27kQ4PWiU+Nr2ojBwuQ4QEXMBFeCP2pPNdCUL8QM/MrSKSAU4eWuWGKEIqs1Y58Z74o47+v6LgqbqEp9TLcQInYPDRsjDczwKwPb+V+wK8eWCg+PB8p2wVQ5uA1PSPB27LxjfKJKvTZ+MAb3ygF8tGtfxzET+QiOT0+WnEWEs/7xwsR8/cTJyDeD2EJClASUE6qxjs3ehDhn5R0zt2OIE6ArVk58sw2Zfi1VBN1R1JXLy4VkKLa1LTZ6cOLNCljvRLRTwNUka3RMkRtE+bfsW1e2f6qQr382uhJtA3hfch7QAtH+PXeZu3v6g1RMszfY+mVmy9uTMbgBQolBiDGhtUc69mMxzRMugE7KHAT7vHsdTZWGN4FKDahczvrAeclNpwiFIZizyk+dpWiCsXzAAfVajOk9mlNFadCb80hWVqotnyD3i5QyO4gcrRv5jXxJU1fsFzMDy8amCozUh4jQzBCxQo/VXOdeVQP0Gkb5zDjI9rg5LJ0G/gi7MNv/7vc/yt3R+mjESlWJ4D/p24dvMkRiD8s4xog3zCToF+FuzYF3OeRDo5onAqjzwSW13TbWDS7m75zOd/d5OSGdUdYD3EFnSj/zucJFF+jyXrcYxCoN48hJSbpbAKl4QsYRal1S3WJ/Iru0PTuuMWxiWqw9RwZlfq2q4EeWcJsma+3esL6LMYbu3InfTTzNkuJ2e6djaGgKCdXtUIqQNDfyUbRlvzKpp7fpDCNVaQhFJoxqBmZW1m8AhiywPMCtzLmVytOgdEnl1WBySH4t8ICUjmbcJfC/j0Ao9jY7VuZGfuDAjJTj5eMO/IsgRRWazao2RFhcl0KS920pom2pFX4YceXnHuZ0ncqIILF7djoZ3NOEdwNgzAYc8uARgWDuT/VJVSsQmoK91RGT1EsTvDZYgnw0h9lokAWvLUplBJzw9vMQ8FZQuad7dk8ajrv+8wvfKRZuuZ/M5BSeSYoqu/Axlfylg0m3SJKSQCZBfG440A0eUXRVeTN27UmHHywg0Qno4fb9VMb5/igWA3eF30ytGTO82prswAS4gRVJg2xuwLlt9vy+FtGrsg8zPDQnyGEicKmUPEJAttaIqsDdEX4qjJuzNhkAQ5v6R9rscK+Ypl3sJCb+IU8XCMT82WDyVI2ZmIyVCMTrCHZSBlV9biAimZZyCf/6yJ3PZvHNe4+70QjIjxN6JujO67nMqb9CaBVSDuDd34M4CFyLJo4Y4Jp87no7CKIWwOFibdaN5v3i6fp15YH938fnDYFZgbYE6uflPz2uZbzcuXB2A8xl+/++38u1fTkXlKq9IoEK8VxrzCB5tFpgl2jSiixmjgAhLApmxPqSxI1DdrPTTHmsXdVHsIS8jGhWKQhLFuNvKlhTIFOFUjyrXJRrC+NFiy5e8h1i7n3KXscvV/KetVylNYlBa1W49PLjC00g4uL219jqYdXylclf4g3C7N6seRKgF5/IwkFsyNyhHGkYflpJwsLs5Zz2H1sDv75v4aoHgmmUa+pbCl6cF/9WoB4aWltFcE7+nM9GgtHcZDMJTNzOJAc5KR34vrhTIf/fQNZBLIwOvFNHtBOFkC14xnNamACSQjCu8VpwnrDtkeDihr9XQ/xuPbexPWa6sVNZ0cICbg+4RJUcNdj83mt+z48w+1CyXHGAaMdjXq/gUZyViwbTTucBZ93iBPVLa5tW2/wFhxWfTSjH3KvwzLBQN2rN4RfTnNN8sfOvZmvXTI3xmmSnwdjg4FdKry17IV2uSk4NiNztDQ/EKlk618C99tiu9zy3BfXEfAfUV8TsUCwSnpWURXqtgftVxQn0i+LTVX0bMM3QcZ09mVTv+gQ3JD3fyS/+EeyJmYdYDpGzBuWPkPiwWxX08KNHCB+V+/CVLEIpbkNGn6QGePRUSeFdcz19Yr9RFnt2KqY+IRw4QOcBu23ENxdSbY15mL7D5xf71p1zZrdq1VfOwQivFOoUgV8dRSgDNu7HfFchdD1IQ8/Eei35f1/wc+UB1AXOabT8f6ax32q7W7x8f4pH5aA4h2LPgL295rJt5CKNvI5HxVfBxC4GKScO/duJaROMJfjispZHQurynwLPcn3Vs0jmk/kwhwHxPfEIZrn+PV8AaWQeODFuIjA2VkLrSxuxpCj/kmA7RudV9XdFIRzvLWgiA8QZR9peQjy/PtXJJiY5sRGqlKgOi+KtNHBwTBTUEriUQZNFm+KFu3rle3yWZSVVKsuNsve18S486wFlNysZoxUS6m7bcSyhGX8ERd2ISqZ9AB0WjnbKeD4OQqR+dXWmf9F8TI0OLdgGwjImKxsapTxacy/3lL30qi2TugNLkh2rRhlxGBxtj1I+jmr96A6Tn3RVkaxIGXsag3loVw08hajXIuATSH2h6wPdi3X5AjwVZUnFtzFbA6tPZPyO4qhrOBa5V7bhYXzJQHWUIvHZzwcoolLN80xt4FeN2yKy5wm3Yf9/6lsKtStJqr4JSw5zrngl02+KD53r0CISznUaxCPVjOK9wbILQzJnwZ8RCe/pm80hplk96RE736QvMfpH8xoMexhGFDnnQIpFKJZ2Ej3Hk4XsbIJNpjDl4y8ztxYbe6CLSwJ1gyHkNg0OIBbSJbkDVpe6DIQDEcFqyaAfwDA9LUDGfizvZMzIZxW4q5NB1vECiHssDR8Lfo+XLv5POnosQdfPLhlTJSVpQj1FIhbpI1HdePprvoJt3sv8obYlfQ6nWsmpiNVo44riplETEwzutLAYqqrzUF/7z3g21rb+XF91lGvJzl7jb4Ns2iaGEm0wQoXgjvX1R6pTZ4UoMux0M/1+Avv88cPHIHV8rg4crlyvuZwiBBBCd1Of5R68nklHk4hrOi3VFq5J4kbug55TGvm48Dh39yk3FOmK4aZgCxiYna3g9/f8OEe2imIwLFs2XQgEOpbtaiOoda9KD5yc4xbyJSU6KeUyMJ0OS79EiroHOuOR+kZ7AqNsBAZBu3iq4zKewA90Qv1pjz4gfG3bVFEAsuHX9uUK/34+6s8wtYaWFfH8nPMTQ0mMgfFrtCiO6aqtRlabsPt//paE2AZ8zwOtGFaBA5yBmwT3aFYe1e602iLlN9eAZJQHEKi3GfpUC1Eov6jTXP6/6JFBI7ijl8R8490yS8c1mdMBcSt3Tc1WxlD7b7uat7VjL33lcpRxb2i8RDXkmxJgn537yENLo2h4+gKg5EYxwsQ4kwErr/r+0MXxFPaLIEJYIDhZjOE3clmbDgNqHbD5kEl6KhnsYaHpxnfLF4lIWTqfTd/SOOTS019G7i7eLysSwWJNP00ViEgQp5eaIMJmXKZcMT7mXV2QPqKA8JVqbNoeNcSAjMbT6Nu8HfhXpMJD5JQ5WKd4Uf6d7GkxntxboUYvODrfEeh14sNkmLCAwcyG8wVWNhu/TQvJ45OC2FezGZev23FgcNegexa4ZWsGC0NH2Tgz1LOZURzZIPlKbMALI23S5EO6GcXtxgIxEb0HBWrOHihPiSF3lcE360V5VLHovM8Zx9aAi7xw7+ZHSJRhXm8absndK3+aY9OPRpnbx5sIspGY6XikzJG2okaDJD8n3TmHuNkrVPzZjegF2Y/+4XYpuuFZA+PUtfAIxECZPNzcNJYFU9dSELTwgBfJZaujIfTCVE8ADth3neRO43TLUHZ+kYT4Pt3un2PUrJW4vDftyCyZH9Igf7nxWPNs7A0d3B2r9ZKCdWBVmPqzjPOzb/7VDfiLvv7ajECSZej3hZXan3doQ98V9rFu6VeVCKxziuguasWYpq6k7Ailtt2zt9VaYWMXIkJltwucwJbHTApmOE1zw8/UTxwKLjsSvu5+c3jJz1OzxMMyKT8VYASzEJAARQAlRSC5F3J6wx1TF6v+52h2QmKiJnPEbMpAW3OMCtxVSczxQC+79rAiJZeVs23mhwfPW1qKKWCBW4UlyHao77qEMm0cwlsNk2g7FgrJeWLgs2fnFOyL7AtGH9hHHKzGHz0uJ8rzKWrVBeydw320Jo7xRMpA8t8ODR6/jU20VnpPt5HDF1a7dr37wavlNAq8TZMldNpAUIDLL58YtxKYzXAgdAGUK9/dIujQkuQulcY+0SeGUFz2YG/xxHpCnRNOsO7AiMRhJf8k4nWh07faTcuVbRiSSN3p+LRlwU4NBZ3vIvP/CaCLYafEZmBKE6JBQbAnErSainrbJKV7rXJP4YtC5ysVQgmRF3CRVpibFSAFxnOn7UDspsIPONUDHwTUmT12cH3//mgrmMmOon5pJqexOWmNFdLEyWOYiZhRD9AVsK6EEbjh4HyHha9Mz+3DR6ix97Wt2GsUDvbF449NhTdNS9vllBZlAV6HTFLlgLEvfu1F/UxJPaNsQK+4s3jx9TEkxVxr6O3wCHLRyMIMWN7hmIKbY1mVwGx5zwmf0671ezwpYCNwzv9xF9LJVTHpTD2wzLvDU4+MTWn12TnKO2jRdG3mIA8XRlTznTYBFNBtdA/ZiLiRhPVIseYXGbqy6ksmZD9n/hIv7/W3yhqfaw6fgtD0yaRPyiriMehjficgObQSpN9+aZSlOMwykmJU4Utm7L1uKSFFO8UGRw/fcW4E5Q9vGFbDkG65PNh3RhVOQSragzgjY33pXefVjRUU8VMMZE+GKP/FkFse3MLEhrcf1H4ePpiNL13ak/OdCYNzWBg/JW4AOZX80vvB0egwrlNs8fZWo9jzR4HAY7Q4ROTXGJtnWuBEkUfe4h071NWp41MJC84mao1eESDX+f4UK0CX7UTDl272/WsX7JMJ5NvOIJ0okvV0rE5F0OS1RP4TNUbDzZiautda6aVVJN0IRKyEVCOSSjD6/HZ2NmrVcl4vTrQXAaG0UqBd9S6CwrJw/1DzMZxXs2sC6C/Iq72SQ8fe7lYlRgZ63hbdxEVYD0ItPqmQFoSjtn6WlCMeHJPM9wpOLmZhaNCWpdW2yqWWkdl2RbMqheiayAz/KOwjO3dCgAnjDXvvzPdvOLSSiFYxNLUuY8YVAOLWxQNlnxWwhB4qYs4zBSZmEd7J9A+2ZhVLEPaZkWGPf2+YDRlJ7ooD3HyhcYPtu0Go8h9kUs6BLHxJ8THJTar+HbNtkSQH9vMcpUviXN3ZyVLL5/BLzshmQgAAHZ5r4VbUGVgzszT2+GPwc2jrxSgD7uiAmlhTg5W7SxozmjJdGepkco5bX5kg9lsFgrRpmIK+dvzPmuAGm5kvE1+Zz9zKQAyG62MSFVQeuKMAW6BK0rQVqcSa4GyURFrxF+MeyOUU++hkQfrgVvpQsf1uQqlQm9b/Fw8Nu2KLzMJVDNS8GL7098kvi2qSZPh/gkI5ZOBlvBKkZYi0HBH9fPyJXNRbX1TWmVvaikriVYIYzVERJMA7tyLGWUs3ICu8631iiJgo6JSpWnjdG+agaZjGqYtcsclOTvsZBaV7p60QwpK0wvFf2zp2BYCb/kqPAmY9suaC88LAhlvySKGYzo79bKJVF7ZesBtNGxRxpmDy3yOcTS8l+I/fUSxGcigPH4JA5GNxl0T+2ErnzA8EqAwQUpTxsKxG7x5yJyPq0SplEbKxh4jbPcctp9QPWxHGitQbs5hxJHCMWehtZSV6ySZkqafgmJV0NJqRogAPFcHZH9EGLGkyWWcEf+dcqg3e7W/m7pWhjAZXtmW7phf2WfVKokbWBFLW/8H+f0PkHzFeP7btveRlffNoQQIEZf8C3gtnrr2BNHMvM7AbiXR7Ra2h980dzu8zqR8ZsyXfiyxw6NjILd6QpDUC6HSi/SZnCcyQvp5DHZt2duGl/OkcA7AEuzXLnuAkaPeXlPCstLUX0gmxtwYtg33P4PGo5yh1Y2YYFx0qWsXPLdmGxUTZxKLKPvvpXjqqS9IUxa3LcU47XJx/41PKfnyEKYHzV57CVx+Tkn7rn19kYGk8qdd/9B7xsxdL8ZBSfKUi+0YeYOzus4mp+jTghviLhl4BZ1xwvRUlcjMQmHWgcqqK+dtuCdLXvITqqtTATTeaE3hRlGeSJdYhqNBH5JABN1CNJS+RMxyfrO4aD3nnTWEGS3nLpTG4MmDlzwsLLal6pAwKQdr0P9tfw0kA3TnoyJtUc04lz5w1MAiyV+n41f6m3u60+8v/HxdU7hERWJxA7+3JdPn/7dGPKZwst2Ro06+RRAQiSXrtcqKyka/0uQHnstohNh+InRrdqEJtZ8i4egSpc2B1x3mnoDZ56bxJoHHHAmjSdcG5HL9Clod2uuu6GLo6GVTrbgw4isVTc79efNXJSycEERblEUVRzDdB/xV2GgpY8tqDAWXQugF0rAaOgLi9CryfYC2H6xBQVpGaVL8yhGPMYkdfq1y1sYNDvoqmWYNGt7CfBdIkZ5V5G+XRPlZwcX7AKaBjmQ7VPj6lAWdqasOEJ0wGchCNfhZuElUt4j87pOhM3ojt1XKq31dVp27DAk+tWKxC48odlZ43l7dNqkRt7YCiBA0WnPsgn1av0juY+wsPPXl59O1sddvQe7lPjB4e7qQgdCyFchR2vlpehaQRfLpxx92Q93MK4fbpXE7gHad6qR7jFy5akB4F2O23/pRVdR8LgBbx+VALrb8cyPOWICjgeyJb525BNvV1jIPesc1xPbX/Z5kSxgW7CDmnEBRFcZOj/RAKwQj/RaDcTMkP9CwhTo53s/NUTu9TElmsx8DseG2HWIUdVYPICD59NxuD1rVE8W2BKelRgEPkHiRtbgODq4z1j3oSHLlBhrhV4TAu+bcj3yUdBfU31qYn7TIxCxoWvm6IkKwRpjt5LoeJUPWedgqNEgrUYbPX7IfMRulEWAey7ExlBHw+ZbaLTQejmsL79408aaS1j7C9hrOGv/cP2yCJBcnlbVvzSIOclhD3zO1f5R6XEK2CKo8qMJNAk7zEOVi7T3tcvrNrrmg393fNGNrivmfupRdJeHcCOITVyn0LwBZB/LsXPpPEdyaFmNIAz8zRXFIFb4x1BDuCvg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74406" y="1828800"/>
            <a:ext cx="7970735" cy="4724400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68008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ubs11WMMKQMWY5b07L3krsaT20JD06MnQKD5tJA2hZ0y8eNH59O5xkHMShUFTOWejkJCOFNDkvRytWtY2nQeAHMJk7crZ9UCViyevtYAXbEfMT1Piy4bFREPNuP7C/i/+u4CnnK4evwYEXw6L01A7zxTpDApkvCxdRLW4zGzFJ9EX9s/Sdi/g350QJ+mj4j54MgrdQE7X14v8R0yjeS7/cki7/EKi9dxk+1cy9/gqJSnFrmddDqHCTCiGs09nvKxap1WBo30lhblQaE0La4hx4g3V87KggTlHgQXaxpkty0TL6VqzbP6+6oNtkcA7iPhbfhX4p9iXiT2PCaWZdKEoiTxcM9wKohyhH2SaimelNs4d/BO6L0xWuTmWN95lmSPI838J5PWLTkJN+8Zm30q93y91GHGC7daTaxZgD8uqrQOC/CTYORcHMRBT3XMzg9E0bHYPWG8mRjhMaE3R3G5W2AA+6oJKNYjvu346H5Z8WVn17OBs6kJX6m7MemaZ6PEGz1hSmo0ivV8dJKROJmf6RvAnKx1SAx+7z1kdvSKZQCea+/pgzEIDfWzOlI3Ia2hNfOS7e2q0ukVvFORQjKwn5oS0kJZeCGrGR1/SobOqz80ogrP2bCFIj3jLADKLtXKx9vDRCzFpTjD04p9lT5p3aS/btsFKokrFLjQoc0z5NNBugpbdH1HJxPRReAWjQxMIF3GmNqX8qCkTDTn1hwwMv1cznynm/qaHjjWEprjgPUmhySt+a5JFnqfI2FPvGURU1SWrtxMdCMSrcKnG3Cz1FpCoSmjcVJgvrVi8js+ckWLrso+kENhMI56RJlrluGJJ4zwRt+XI7moEzlcmH2hMNtJJ9k89RDxsuPmnyGWQhWN2EQIOcPk+YeVGyczs65e+8J3JyNJvasMj9CQvVybF3K+eMFpyloqMTtHqGoGc2qtpEcblrgSX2o+m2aOq5eRiTwCTETg6XOBdpbWUQ3G8xGRgN4q/aMFH8cNLaPAVuXC1meLbVU2WjEoX8zDOUJk9D5a0nYm107OGIScJpRPioIQzrjZkLG5bG5wMvVwsi1rVU97ljnNaWD+T3dC35mYG48ZWF81MTPFzH1qX84tNa71NgjBHqcx6UAlu4oNFNDI+YdmuOAeDaGsspOu8f6YUMy2S3OwP64RoCBEN2rEfmRKKcH3qEhlI5IwZHlByyiq152Pki5NV0MiUZ0ZmU10VhanMyiD0I0C9CkUEas49404ueZe/CY4qmnzU0QiT+a/h+vv1Jz52bQCXqOVC1q6ymPLV6Bsp0XzFx13XTIGIBqohBdgheiTYNpn39kEVyHRbX7rLrQ0+0IPoPMTz3KrWeXMbKm9BI0jK4PAzCBeZZ/nDlZdSPpDGSkd5/nC8aKsgHfoKUtydGKnL//Y89pgc8v9aUsjoMzsypfHs00ulnWDE0AfCyhg4BR3ZRfsrrHbYhr1kV2SvNtVGF0jqfRQpFz3KIyde6nqOvSLEwt1ebz55WvvTuRvScE/F6wOoNt0gkuidm15doR9+AdPhW3guZu0VZeXKn3uhn3cCJt1lOOYvZPybeTYohVdJwTLsuSUgvMv/f/3eWh7hDrdjWLoSsZ4jC43KWm42wMxRBWL2eHCdp7cA7zgwuu8BOPtlgK70+awE/hCHDIQDb3Y+PdDJHIdsGt80pWqFXMlo4YnbjAhWahmM/kMcL8HOLKHFd9r9bbik8634KJjrLD5UqLiFQPGgpJ1DHkCKMBGsYhsDUjR4HmwgNASonjhR3590D8dXcWXJmzs3YfEFp09wwVRplGLhb/l70mJu9i2vuxA/C7gZkrKLUd5O6EHq/d320s1gIrduDtqHKpEzWHxRxCIYqoxJr40cZP74Xs52DA2/m2eatBuZrqWR0sGaPwPsjDxoHcWmIqDxmesLwLB2ShVCMOFd+bezUZjnD0SdLRtr2H5bj++yEL4ScTCIrGyzqI9tDpN9LILf8N0+3Z9L7XaHA7wHjVqxWfkn6vn0F1y/9nh71jgP25H9BLVoO79k5zQysTp31hBg+tCWSujgdAE1nNQcUsNeCHzpr9lkvuT7NEHBju2IDAZqiLQryxqRE3YR+7EE9QqDlVjyP0cDJEbkdGRm6rKW6zjrx2F/jxhlkwW/Zsn9nPvunD1oOxfCm/zdf3wXcDSNT89cQNyZAaq1Tu7VDv3JsCz9ew69dKpZMEsrWi9OLKplV7P6B5UUSRY7IEJHDHCw9M3byCydCCtpQb84yFC4qMxslvlrBlwYDE3x/DCjhBYgKZm2pZU0Gd2FKDIEnqnwP6g3VeBFIUoamWWwIVWVsxBWmJpS42Dyve4HMhDDBgKutZ32yjiqhoq6yLxGqqv9QEL5ElCo5noYt4NWn58CdryEUYhLhnNDtYxWpCuT1nE0h/MgrnfTq2XdYssjf65rwGDTsX4xdXgFopKcPBs2R/fqiKGJVrENOc5goiSVco6ax67WSbFtJ9izkZHBfjezQc6mjgEjV42cwVXI99c+78W6KeU8JvtMVY4yU94ys0HVMEbzxdMBbtwF3Eps8VXxPABHYdX3sYPfzOC8qblMDh23wcMjPjawJisMA3Q8hWgXZmFEISrZT3MM73Lb0sSzxOAuTx7DS7CY+ek/EiiaO427QmjuwwiH6EeMjZxRGGn3hzZOIkIQKu5O14AIRYKjbKQhR/5Aew+aaPEidtV3f7McnQlk5IfirnErF72nS/4uuatWyMPY01mnG1MY2WB4P7rDOOefiDasCKdSZzGyAzRHgu7Z73z7luTEiFsYyyQJAKVlc+W3MUFk36VvKd0IP9JItOi5ojW3K1Qg2rUC08y7i6UJptTHn8gLA/gDISBxAcJR8zDbtnim0iuh/Stz8d1bErafk1FXl95qfm8OYh+CzuxIDQAu60GvAUpHDKGN02eYCQu4kuBBczzpwEuE+ckdfKaAIktN027+7GkhkC+pVg7zQ/gLMBBNyHDZziJIUmcRUjVFL3FOXR3onG/vmMCkdFL5hegMgg7A1p1fiMYoFM4OVSlPY1PvNtBcWSoreHGz7CIj3NH+hhbbVMfqqum6jIJMXcEBfh/11LUj7JgTvte4448UIFY5YwCdqAkPW2EgWAg3EFlrO4xIjFglglEcJ3cTr6EZESHpb9D1VIZye5CNnY3ptww9Y+7R0QNTJkDVSlZ5uNHHUlBdxS/F8Q0Avjp/Vuvo5wNcON4JkaAEKmCUsxbwenkekay/WMu7bDyI8H1v+VRz6vFN8DPN+K4w3L12OrvWqv1XwNSBjLD7SVY1Qqidgy+Ra8JTtsfUybSdYDoAkNLCxItQrjAKKhGZ4BTJqS8dmiNICDD7kDrBPeKz1KA1tHob3IHDatrKbqVOZgewItFpy0RLVKesZ/Hs47MqxKS1s+jfam0netg0ZVJx4+zYRSC8R0jt4eQ4ErAlmxUh8gg0CFrjEa3acdd/AxQFcU/CI+VWjC5P9/5mtFCoSEzchC3dumF9zkdogh4PwCOhaQXWyH8+33PX0rlYNXzQ47b+zVCtg3aHr6/6kAYfFJt3RN2UMWNNKyy9bluXWP4jQjA97JQ453cEnEbhDW7rbhovzUaERRepSn5AmtE8McK16bRKkvRpQrnZF+IaAI9c/vwV36CbfJPmeHK8xHOqVJZbB0RUQ3hgoobuTMKmpMRLcdBcXvfQOmIPNjsFl9oHTusfChUrV1Ci5mR/9mFTp7wLg29SaGs/GSVKkSmZMQDf2sXkS4WGSBPk/EDJIyppSuWOPkcNcq+6oW+tQRkl5runNO5l4yKIwIugckbs/CLaLU9oLfHYzDss/FwY+/bOpRPHTq0UK1zBpxSFrkgKnI5iJIYpnNXO78D34xkeMYsDgjk3yNrs4cWOerHAC07dsM4OZ1pznOKbY3aJlK3nstptTTggTz/UkY/7UZcZMtryS+jxwAJqdVZ7p6AePIeMZqwwUUguxkkjyFsT38DRfgS6/sUNgHGc+lZgtobFXHpeWP93/oCZYo4F8EY4YTcJQcgQtL+wDapMtjDvvLXMbcS5ICyPqTiAM4lZBhqxhXvCvaR2AIXdx1WEfdXDfcw9K4DDVdKCtTyBUD1ON/k4NxnrQwlwNVBUbdIJVtpys6uiDPsqMPFt51OCvt/Heq0dpDJJsQVImBrCqVFfLGZ4Y4dBrCuNom4BN3b7B9vb+2E8Q1C+dzJkBX5BZ/id+FEVqAYbnaSn33MY5/p9c0J3HkCoxuBl2bzImQOWTpCW8xMFDQk4xny0Gb8MxJ1CCOcqCzERR2EpkqskN36bTznYJW+TCcAnc4xW68K5lhbXGdDOqSvBh96wiIwdBPfukFpk/XJrO/7vIo28jhaMgWNCHH82llRt1eA+KpVGWt2bc0jAekIB8jJn+txaa9KbcXgl5p9olHIQ2PwqchHmYg/kmos05xKIUxIMddjNGpkduXhkUp3hWPrbuRgftm6mXwBYnYe1fjHa/9Yh5DIGyKc5cDdgd3HW/QIfAfu7rIbmIasKuHWjkC819b7wzyj35MTnyJ0Ih1HgKQLGVVL4PjXCZKLrydEOkE14MLiaF9KMjIISxfDgEKwa8s6lIaHvRKS5iMJbGkv8qTHjO1kMjdyCBX4agcfE4X1v3o4KTyxj5VlSyBwRsdaE03y/cNEsAywVvPQiwcKJke0MdoUlD74kXnsHaLxjYYgqQk6stb0hjsxS+troXGNaTxtbUDWDbNppypily2GpCHK2hOkhrFS/A5AHnEaVdllJQpBkNxjYzEtfZk5ouwqGUVZlyO1thZhFmJq0Vsrgnku+FDzhCYd4T3XLyBs/pGc4RDuhyJhRfNa/sKikrdhH2kxXTiaCZmu5jOheKw7HdH+YxOER6KYpyjQizqhodttnBCQN1wyP2x3C77dACBq96s2wj15jKP2Eq+AlG3gBwfE/JwWb2zj+zUKDuEYUyNG21KZTmlHOXcTL2KoKpNDHZa+9rjwuGmfB8YH7KSI1G/6pOGMf3Wk92znVNz8QjX3Y6WcOOJmXpXxqIXiie/5rbbz6/QjlzM1gvV/SuLa7Bavqdk3QhUX+IiFqsjvuAoFqAYNsWbpGKMEQ4CuQfwDeZtU97k0gPFm19Y5xoo8reFPVLN6CMghOT1/90OJl5FveMmqrF65BqXV2FBSO92Mls2bImNf/vrSiJJxJ2wz4gSzPVYKhdVTrQtufC6RG3ehGhhucYYKivcHcwz2IE9cLvzEaxUE73my3fxjbMw0fJdH7in65+lrwWZh0dA3ghnoPLfznc7IbXPA+gtIKHIzTsVyvewiNz1c9zc3xoe3bFN6b+2bACKO90b7xD3ZDJ+5B6Rf2Z6bUasdAqAXHC26PI/m3cgdFDN6vHv3B9jYdZrnnc0o1DgssyUYpHawODL8MxlCHUTPhfCEPbfq1D4N0CPrI2t6IMjflYRznEz2KAX80PZHrkoyMHY07V36iSJdug6zMHk0ziNmcXsGof21trqjaVAQ86TZtrLm8PRnueOUI9Gk/RbufP3YGtEXYXYbSPyFpNOfedDi2DD7DsK2QHgm7ACJa2OnxxIJ6XFRAGO8ILDkAcpV3ve77fWfqJ93cxkdtEeTX1yxMz4jrTUCJUC6Tawd+rHivThsxLVMj9HPmxNTNkIRiRgiRDX4PoPd1VXE6GTk3GR8TDWwk/Rpo5aKkFDziWA8OX+Ds2gPWgevUmoIm7GgaORgJfEkAUbHhnbRzHP1LxwDQj7GW8j2HMDiP3x+dmNFn/vcUc44n9qFiwXr7vEkpc3Nw6xnXZft6KTapBQ2kuwIoWmWsw629kpv16GMncdT2S8mGWGUOB7SGlaL9SiXPkKsHWGqo+kd91p23K3rRLIkk2V7wm+tJZXTNW/uksZHlW3Zuo3L5un8HNp5zOi2oN1fIQw4vKJ3eqbfxjKmuMSb8PD3pk0C0KjXfYPNcDfMwoMAMaPvUnqgzDq+xYKPoEQAyaiBq4Gke5oJz1qYL9SDR24XdulUcMtPREZcr2amEc2T+387GCR02LpRNi9xS/jM1YQdI93so2/JFAaG1huiide5a2FKaWPDBYGNnIEYDlW6PrbswznHs90CgPJEWMH35p/TA5GKa7jG3VfMhprCvY30v6vcmBj/FUpnCP510Q/4Vs3RRu3owRW6wL4QZWUE9ieQLvRu4YxLhWm5b01pgBlHByxYoPWJsWyrudNLIvohCR1znXw6MDxgd4FrJdNsVMqGA35ZPnMKKTos+fPiCONSNxJ7iimHiE+/pTU00x90qY0XGIZcglK3OoKmorTUG7o+Bgn4hSIjCEL+giIGP1mF47yl8Cmf3at9Ix+DOoqcOAWCgp+SDy1K1t3cIV6cYW7QwKXgaQKVagdiBJI94gsLU1XCh+qSny55ezS410VVaGcmQq5u8dCxQ1IpRC0bvc5S2SkH87l7xn/WuhIhj9JeTR9IkCNwKtIhkQILxro0kzfKS2SLsrLL1P2Cl+t3h81P0Q73z42y6IsOLzuwQXcsNSJcvx9qXg9qLOF2ab+FSxR63GBhPfe6kYmu8Mhw6OFSOzS9EvJNNl5l4uNHSciOCtzAPcEMVBVaMPTz2i2GtuH0Hk/EY+KmH17XSp0BHn2p0W9J0zSbS56JcMfZHEgMBnZK4/B2ufTLQwvh4RBeHSQwMqJDiV8kSFrZYivnO+2DXjgYq21EsOXzcFshnAxwTo2p5QEtghjGMxasMxxnhYx/A2IuCUI0IpXb7bOJokgAgdgP7II/+NknzJoo4ZtAUyiojVV+bt21AbFlAOMD/viQEbVwJy2LfceUgevxu4Aa5FL0TLzygar4AjAAH2aOS1czCqG4jpwALxAVnmiA+ezUCQdwSeqTV1pxImyPhbJrwJnsWZVcMMiHYuodfMgNmqj3MJxguxoJV0ZbYNCobn2iD8fOzwx5FOkPIEjB2cPAFOUy8Xev9GGoQXwOet+dVTvMx5UIuyxp2R9V7o4kqBA0ACaPzJ7bnGrGApMuulOxv204hE1Q+Tx76Wk4OBfjEr/k7Sb6fUnv5Dx6aYalGDIITobk2GFKmw0pjTxwMZI9rbEzuxBQdGSWFsTeSYReDnBFWrXZHFtJHKz1uVkw4DgnrO7tq0XVLBXVf1R4F1tkpTAQOiRh+nQt2MJXE6hT03cPDfCZOWPM0S3aeE3XNsG00406IlqRV/6Yn3Cy9Lurawpeb6vnDxpVxNAVLBwWpglm2Z4HLSGW9b9ENX+LDrTVBxNINrX6BtW6VIrM34l+oxxQzC8dyxYfb7LqhS810rVYLKIWR1nX9QRlT7prj/7gguvYSo8LmXCEsjJabdz5Os6UQrXnklDDUSLEqz9ZuNx0m5Tticb46XS9Gq13kjhNqI15mtUlRNjKQhyeAvPkQQBUTcLLRVme/T4stF059/p237p37mBPpHfz8rLbfCPDoQtd/b0ZZbCYDF/fVT+fXGFErcseIo+Ce73aLpFYaLJ4aeSXpbulwwDuxkb0zFrXfeT+LnNu2WlY7coLf1NajPBzWVxYIUN5Hi/NWGj3OzVh0GDiUNmAzhztb3jj1pKZY8W+xFR4i+Orvc9tbABnoELBjp299NuOELoKDW5c83SxgUUMXEyKJojzntPIy86XPpeHT3wox5SiN+K2Zs6397xP0MxN8J2ZBaQ9/pLImOBuYBIO6BYsxhqrZBuEdNctLEYg5qkNs0DRMIS3/G0aMh25073eP2OMFtpJjspkU/S+v+E/csGmZbPkLhlWLaJOe6G/vaQx5QZIWwH3BNraWTkJFTTXyrXgh9KU89eOSqdGuxGOUsMxuFsyKzi434Srpyx+zRXQLAxurvrfOQIcLv0aOtfB+An/AY8aZdI4ZHeL4kG4qB/UW1UGgH/ShnPXMzKm6iFkP6Q/uE9dHV4/3IoBIJe1EZnHjuHM7o5VBFLfa93ErfcThfmp/ZP0X87OK3+jNNiouij9IFCvAFuTN88kchj072d7ffFTuQvx5SiVUqbAE8Orq+avyUJeYS3sJyGo7dYwQCl7i5sXztziTa6Hh6Fd5XMN+pXe7coZdG0wrHSLH7FIHWSX44XPyngw9zJBlEqEC20YXZPd6rNVawO54Q19bS3im1/u3BziEkquPtJjqFT9kAWIXQ4WD6OcR44rxOUD9fgEx1s9ZWmzACKwLJA4LVm/1PXgZLbQAmLisDQkbASiAJMf7lzAIH/Q87mFw9Q4CEslMHKq7OoVJ0EPDxsG6AQz6gy0KrrdTigratXicnYvFQYOTTNybipsW54cWK8PkxrnFXHgjTh/4SXaRnPc/zx6vNtwo1yh3IuLBCLgV9dBG8vo2LiE/gcu94CBnaVUQziyzGQquyUZt6SrCP0gB6ctm/VPjCaNVSXoHHpqLtpny+v6VdoXez1NN8059bspdjXRV/h8xNc9Nwx6WkML6uuMaauJia7Lq0jVQI0Ygyu0smqkxYhkK8zEIYn1ZM4FDzrJLF9I/g5ZxGzR7dCAGVflyHP7qbCFy1+FZFbgRdQw8Ax5guqznWNf4oXUd1izLLDsL0cSLRCCW02pP+bbC/hgZcKCZWBmqYkAEGTsd6gHdk2lmBw58jIy7scfnWXeJLh3bwgQLKA1iur0XEPFq/EawLIr055O4Cwt+SOAp7WCbvtc+lnKUgfwOQzYs4yciF4FysgpQaWdrKKDCxcLs0jA0E/PiODciPk62l9h6s13l5pF5rtgenbYnEkvMq1/cmPKt1y03Aa/6gJ6B2o9HXj8gsBai3eeEMpAyLZX4OI2KJYGSs5Y95dz2h6XG4+s8D1NFfOhEF/3jzDA2lscUyfbY7dtFNImeigJk8vtlu/2oqjEUR+B9VsJGJFZ14PNx5nbFDxLci4J09C5oUpDm/bL53//MStrJ59Uh39hIK2VvZPeUXE3E1Qzlk1JjHtAQx+IWNyKqt2TmNjHrHdIp14TZpKprQAc095vEnJD/wZEWo0hfyl4Jz7mch1cbewe8/PMdthFJajs5UbvFslpe+/bEenylBakRp+CmRScRSfF18KAmUZVnKGQ4UATOszRh0KAOTCnS3F1QgqEJEWWN80txRdwqa24RhMTa9pDGiBwPwoK5MKzpI2KYJv2z7LXkZh+6UA5pYDPW+8FBAMRDffRxEPRaAw0SOP9jZaZ9iIX97Y0qdPEVrGIMmGjnOQO8BkqmDFYFv9NsbDnXwEA9lYnl9Fj6lRJqpsinDOM9MIoJgl3Qb6SArLONJ8hBum0p8qMLk+AvaG2h/8j9Wk0xD48tfoMS5hv3erMTHLzrWG/YiZmWEIQrmltrWs4X94bQHEtiPMJV9h7s7hbgeKztlzNtNp22PqxDGe/6HbFEAU2z+yxBgsXGuSoSfApNaw6DoxQHwHxt0+QgqDCX1FFWJUl98ZW9Zx4yYb0ptlVr1aJb81iC80lv9yakPHPG1HMq1elDL79H0qluUk+t8olfYa7JgG4yyt/BxYaeEIK2DVMtDoeThGRsCySobOKGYzY6f5DPO9XAq5XdQJ1v+upE9/dT+wk7Xd0ZDk7f6O51n6vr39KM9OB98wu/wnY5tHxxqOdMB7t2aBOp18EmKgFJpoXYeg8N+ABTHg75hUYxAJSvVBtSJbwLOHv8Mh7qpUxwpsUZWVN++mqw16gOLhCGWMc9h46ww0O74rI3tBkhH+RdgojYHX1vYRrPv0edoinliYQHY6Dd1mGUfefZK2evzwHPB9xX/7Z32h9AqnwitAh5EqnBqmBO7UdxwqVAfbjizWmzmXmyR1pz/TE0MzIg+Q5S+xUsjqZD88AJl7KPwPtL2Lg8sI8cI2Krf2kT7L0buSUZ8J+fSraRVMJppe6TXBHUZ6Y7/odfJVA79qXsaQNzrB65y+axcaa456qbctN4m5XG8thhn990nJEv96BZ4TQWIFClhU+QshadhCONr0d7MVmwN54f1srGQFIjWN8ZTc78K0rXz3GUsLNQkzpt8wjoJ37r6kZQYyRiSvLqUd9JPyt9zU/7jBM3J9f0+VS/AygrNc+Yiie6i3JQkHVRh+TaBeJ1NlcAQdQSykkK5ZnO4Op3tyEFRlAA1uUSRQwgK2RLquteUu1YS87HltDJr1LjaPcvn8W1WkeOIJdW9sN+y/uudO9jBxNo5lSFQNBY9k/sALA0EWcTSIAivHxTlxTXG4c9HNvZtEtY+Jj+mfGOAe7NQuJzXIzbg8uoWjU8ereCQggTe+RVRamRS9iQ6plYYgxz/yF00caoq7CKbCTX1mKB0IG2qUan2u9b6ByCj1GNHmHOfVnznwv9JLp7VhB+fCHGSUWPlw6ZkVSreD+xsDw3IRqTN4SvbZCQe7mV5zza2/F3KgZa8oRobawNaRlId5NqKfvvnRXnPElmozBjoWBDr7Ube/dy7QURmCEglivGoiRIatHEXIHUcz3jbpE8ZzMKYxKz90K/FLqcCVxEhxe7qn0ZPaH00tOe02WBlxKZjlLeVP/xe+fhKPS5g2hXmNAE6uAabMnknhP3db/XB6vlFWjNv1en8Rz+hA3uaicsMlMzwujjNhu5gHFGr03Owolw15KgJE7smsBPSiaYPQ38TdAHLnV1qUSuckcuMhciV2QS4ZK3ai8EjzmqC9ez2/NQxznlIEX9btnU53WHfhOgorG/R4q8rdJhld/z9OgS1JG3AmhUIsJumDLGrFC6VRIfh/rG396fyGSn+aarNVCm7i6bYx844Ekq2m74h3cSMEvXF2PuppFJPBW+EvtJ3xp6BjllfubAjRYdjvwucGpp1o1QgxHWnGTrLm7Bxb/pQc2NICk6+RmH2EzWtW+/AH5GDD9Hp+OZN/510vOvWyo715h4IotDX2ENU2hguvQi4lVnwVUNHy5p/BP2SIe4Y6t2TxGo9VfScT5WVYCOiKY5CVEsBm2cqG9XNZKffxlWnJ6UTpcKkiX6w4Wz4kGPjU3vTV7BhpTAF7z7X7+XqVnkDbTM448qxqJ9U5llpyvIhbH5KjUiSmD3bRQL4DO2MGXj809d7D8wqYfHxfLtyCK5CEWXC+iXQtJNYuE0SSNyy8ptpL2dSpMUOxWmydCyM/gpCwOLS7SLPw+imBqs+46jMbAkRN7S6I03k6CIMysqrhuPcqjhKIb2Ofngq0Q7c4l3vT7FzB+F2ZUvwgD3J7pRjPTu7hnZw3jIkfzOXkPGNZ9iMcu1uZB5sbMTrVVn7694NHfY/8i8aq8WaWK0x+mqvbeVxd7+PSMgY/XNSR5j4XT0NAql77/OPou7B2Tgp4eu5CdxNDG6FcemYKZWXuF3X1VFB0lC5odFDmIdEai6DQM4aS+aj587ShlYivs49lCo2SqT+2S6yKYlVIrTGO8vkXNiNhl1U3doIK6FkNVuA6jAl+FtZM1yR49pbonpfDM7n7qnLPM64HJXssmZMWv9BHsBXwO1aAnhHfs5YPMKQ/O+ZdpUDnzFdxlummR3AgNabJG5pRMGXTN3Bh2Ly6dxzm+tAeFzEkuDEG7x+V8lcgHfc/2pRtVK6moOWr68/qcq6Jay3G8eBGx3vMiQn/tplk4JKHcJbt9Vo11MpR9jRo3VBcxZlenUoGw2dZDjR5PyM2mXi3KiC7HSZQPKfqTs/dLwGbO/yWeVWpTAuwGb2JUNsU8OhkpuMwqEuWxTGm+1WZ+Gvt3+skephXPEmxf2il89s5Tyns4fMJ0iM2wpmGtnZTc58WrPst9KLxiWoM4CywOmhipB4riGICNkjo+hGUowBh6BA6qh61VKqYVpIHXDtvlKOXheT4UZ0REXAnfNfAyUar5bp731gEnk5WqnEJfGmj7LBQ/VvatDGviHBsRffzY2SjDzdzvCgmoAmUblX0Qx3WVhhkq/wVLJ9+kKNdvS5LAo4kWTYRdgdwSnAEfkozMx7ypn3OIDsgVNio+5sEyquAHUAV1H592puGwcF14CFZsqw+kLxi2IIW9wpyNH+fcwQj9G23mnniH3W7AkjQrJENH/hVFTTKqqqbiEu+UozM72sP/stNSvqymAToaCvEJjCXd5RIu2k5ekFf+pIXMI1dgbnLwwaut6TdDhSyI6x+us8zr99HIZDzN1n7AIYUSO7CzSdsYtR71tIfQU/m5u3QEbPQxONpMIVjEUgI5VYsmOsf/u0fPVO66M/2eL/szh4e8Bvu4Iow5lrnrte9nhslxlzHB3y6aOR7Hijd+nI+x+b0GC3d5ZLE84gRRdzNxgi/bmVrs1ovCi1/xK4WTYIBdrT/WzrUirRuZ3mFm2KfWY51Qy40BlyIap0eyslcViZLnveyEA2WKW128tIdZKG2cf+91e7jbf+6t49X9Fcw1U80F/IfD6ZLhsh7CdHjtF/b+DSn89p3cOsg9uEsRc0bbQsjQVfl3QHm/hUTW4vNzGkASyIUr9u3dkG84C0zBjTLqwU4VfTIAXggWWZUr+UTKOHiCGO6AmNDO3AITcYdV6v0UTGLXxwppohyQpojjdiFAr44/AQUvlDsekjdOfO8OG7/AvAG4uAU/uFNZJZWgwqu49kiNaA8+m6LPq/R0XvZW3RTlwg2KuhAo5zmPZZo3j43p0jb/6f2h6cspEh0zV+m2L/fzpyY2PXcEufRNSHBBAjbtYge5XxzQ1Sy3HhYICPArPx5D7/XlQaUH+dfxlaMjWEKZx9GtvyV/y5DmYm1Day2jYse+r4LB/vQtle6pkkJa99V3hhgbn7JUPe7T43twhkRv9lG8+8ZfoN8YFpkfMVjJPZNfg0iM0gKJ7W6ZvGetmmN+b239OwP67F72Fk/tEFIh1Xs81Bf8PmLBjnP3rUMrQIhkbjxSZYoInx+EoDos4kNQ1qyi6AiG/zWq41iECim5u8B7FgjZEZFqHdE9S790NdHPD48auOiYu3oCtU7lWqx4Hy7a7+le6uY6riLV9mPzMAXSe2wipAgH767wMWNpU0R0WdX6Qr5WQ2DV/4MnZjzq/VI3VoaxkbMayi093cnAUa8AUQR+n/Syj4Qy3yG2oFuI8eJHo7QWrGJRopwTSVZH3WbspX/1qCVPRofay08ZNr1mmq6Zc5AW62CgSfLqw3GPxqSl2YnkVIyOo/JOEJljRl6R10QeVknh1NwfnyfzmIUlFjvY+0wEuXiwdZyh5NCUlVVAtolons+efX28oE3hnpw81EvdUZ7WXfla/8fNDuKxaTdGzhUYswwFgIyDEV69IibdBWaas98euzWRG2Mk98mX/A/IBsXQh8TzjY29IeNDAk+xQCQDJn1jZAwdi71tXTDLk6QOo8KlFQKuPya/oYVDzAk9UXV1RCn680W0+16QbEPSbl/UgkLLqDKdo7g0KbiJDTwL9TBz6DLxJ/ChLpikHBfAWHenmU9D+sMcAsbnPpnnRKHrmcHkITcPzixDpWKwvhLTfvvBwPcrBm9sNc8FRDeFFtE8sZwCb8hLZ/vGdHCR4Dq5EqkwCkf5c4w0LuJ069B8ZD+BvA6D+lOu6mmOrpbzXDmktIxTIQXVN8vIbYBnS5Z5N+FWde1bDJXVNdzCcGsi2mNmB2xCatx2lw1qLuxe0sB//kGCFKGU6ACeNgnoRpVWAIn/hOLIfuugavSfO3EgITVQkvRoFmkM8A5+L1hZOaSz/d7X4COS7nqMZdcXxGOSI5ANV0HlOvRasBmD4aBKoUad5netbMlFBLWXdnMMza2pQ3ngGFhGO2RR1JVZFGNhUoCiMtzzLhHePkpbqJggt+AwTLBQ1bDK2Vrtwbqg+YoF1XM3UyKwcXSGF1aAxskpYgs4kH1AysJcFVVCfRZtCZPH+9+G0O+kQf5zfbLofJyyDXwKkL4exIAHWdZ5JYM2/Z8bDY1ml0jrKOIkPPoYB9HLGeHwbWzKrphR7x13iX41NLQgsjrq04qLSC0yW3+pnMmKiKno0TMjzbnJmAr+vCNbJnzv+olWrQQj87hE/qwDP0o0N5B5mnWEkXISIf/oVxbJnPCxkr2obMRbbyt4zzwG0FrpMBFP3wbrkkM47O0q9/IL6vp1Bn72mKb3QvvF36GP1uYeEkVvrP5FZbJy69jJbCJebspvstHSeedtxKCyz5yhKgYocjuQ05Rk7wmYx3rSvdJFpidMoI/IkzTSSaIEi9HI9Exqo3QKNx1+cxzFntSChVwhfQXCE6XQcfSnlriCSTfREPhzs5LCWG802ar6q+4thVj25rVCFCfBvDJhkRJiRdNwv/16/QFr4NaYXpdXWeyg1bNS4FrncXKP8/HnHk+sMI5dJxq6eEaptZiUFLa9mSICiEX8gSCW8QswWLiuQnEEPHAa0u6ZBXU+/Th0jaSZV2DXj6pOgexuedGcEOhaKRjCYcVBSpWhKxatJFMa1ptJDOUS9vbe7svqwCPQHOoJbUuoV7vUKhxW0DZnEWr65BJNBXSXq93Lfyr3VWhkwqvemNXfj0c852Ax9z7At26b95DVTN/tiRH8v/+DEvoStyGln1FoPhceJBncVJXUIm1CaYlnMFcNqgZcsZzCDRJM3vzt3cN7zjujGUkiVlGUPtRcFxp6RUUcXjx4zUKPmPNCkwmuEugyndzMso/n52OyWEEeEJkRYR9g43npvpQOqTiJCMYCxDq6NA8Vb36PKYaxFz396MOdM6Cw9GbI1ycGyjL78UDYqxRk3aBJsUVAO3gJwf1FL/uxbruvR/apLn5zx0TnD8P82UIru9rwd20VHB6daV2N+DEUfXXQWJ5ISKMFbi90uqPrANiG/zPhYlMorGq6q1qf5PLPFG14CwDGNSjgWRNVzIF3zla4GFGjxQOUETInekiWWcXnDW73qHdUHtKBvkBZFV+mXOphFOFHkmocKvoSwkTHING3dEkkQZ/IwIPGQV+igbEuoZTbw3HTGJHrWJ5EPvmmo+7rl2iXM73BviIL/BcmuUDdrCqj7sXWcP7Xa5tjMgkGyFge8pyEjnynwSUTOR6jmtwUmsNP6yJnFW8BeirQiJh2LcGHw4ZKusMsjDKgPWdnMgwhe3dfDAxbsmpDfbkEodC3DxgiNg7KWoG7NEs3/oVBTc8LeEvPCAj6tZC/YYvtzknjPlOPbKwUcI9JEHPDV+NEwLKgceXIEK5kQY8CEVIXb/7a0Ug9JBP1F04awI8ZmntrGnuLLJwuboVTCBJPa32NL1eQG7O4A6dUz3uibr8EE739TktjZ5FTPHqKIn3YSzRSl4d36iEABKCpb0DuXEHgixyg3FTHfuUZ0M2bT+8dUAJEkJpEIIbzhvAzSYnTHYesdSE5jxARB/LGBD086e6tsacNHOfCUxAmel4CKjl66XTs3efxqb3y/DvC8460YP/mMQ3Xpijc9XBiwAYKFEsz6DwNf1/zW5Urwe5rpPRLxqXbry3AmQv0iHuCk0LEI2AObbLsMnmNCAEaD5v0HfZ68AY+aV4glr4KRTJy3t4g+YXpu+7r6Y71XRUlcEib7PNVvN80BOKAuQk/YUFbRQUgNtnp41MxnQP2OFk5dgKOUvNC8bgdfFrxrqSsE65reAnwIzIl+s4XxegSnian+9uNyeAgb5jH2ZL3cCOUWSe4Pda5dvak4uiMlGlCYLFgSZuDFBHjJmZWmi4GKD6+TlyyPxYIExTWnO6otVGPI7LTOAMvJk+ubeLdqQl/l3fS88vNv2DQFeJuK6BQXzzHA4nTFFoRAE8pWHNDh8mvaOAQ5q503C7xT2LXB0Ls3D+FBAjxGgBMXnVfb+b9im0t4EOWTBGQL0SAmtLJSAdREJx/o7lyGyYtmAB6ZJAPPWkantvBOXfydEz4qukXggcP6WDItE0tD2TwqXvUL+Lka8N1ZTwq8vWPnJoc62H4iUb7ZMyjiuxmhxdyye1X7rLTGlNbT0ZhHAWvaKKHtz4InN2H9rFx6Map0kPOngerHZbGV81dHsBnKfkj8ygrBwbfl4dxzJnrRCzX9oWoFtNFF2G00ttPNOrsirwWb9AltX2wDJOWu6lIi3lmNA31XGhhRztWHqGmcLHQJyq2m41D4ve94uPQ4qXU2fVABoV5zBNHijkGFiEdSyMmZaCvGiQEbk4pISs+5r/sZcrrJSY2lcRC5Uvh5p1egy72tDVtvKRDJD+/R0QPALa8rYkkPnzbafplTEONj/zEu2Yp9q9BojEoANm+SFBL2PyQsGN4g2djF/K/M7mV7IinW3ldKy+3U4YbsWVDpHM6a8A6w9PjX6qYQHCb7FLM651fzfhDDzdzT787Xam8JuGf7EtE//J3TrZR+jY6pYVwgawrfpOKLVCSUW3tTbOZyVoXfSHwRPQ8CKcQxmT1I9dykr0Mv5jcqA1DmOXBq847Q5cMF2gD3udmLco9mE6LOYQQK7jQbBXRASzVugaujbjrbCcPB2cRuuI6NUnzSLZxA85MpQH0ZQFYW4R9XsTZ6TLSzvRCSWR4w0jm0BvNi9ZZr9+xhmy8CvguI52K8eEvdKcL1GUf42zU1zD8U20afB8FlWi33FjuKdCEq4KygvqbmAvUeMjKOOnibxkX0bi64WiGwiR5HuXwlxMEO3XbvGblhZhtO3/6HRByglmZRQ3Adw1+JFptvcUwaoJl36iDfItJMRszoyeGluXXrnS7JMjyOzGzavdwk4IEF7oKkwzZxvNSBMeHSDpoZ/g7t/q04/Onk6eJFX2sJBjj/skYNIeBlDx4NQHpew7reXWZGN126qoKiPIWUgOnZ6+ga7ys7puoWM4P+WdB0rsWBFkfkYj0fUPumfKPrecoyF5OXOo5OcL6gOxid4IoscmzG7wAX45wJY6043p7Oyo6/6jQvIhIdJkczE81Eul4UemggHJIW5l4QVRvrXWn5y7tnUCe9swUBUipiRmfk1ZrgXVtbVES09JcY+w4EFVdkG9tzp1RM/JJSpODGoEuVIyLjrCS39z4k9OC7+zi8Tht8kSLHK4VShzvkzETi0zz/1Wuap3aUr5+kzhlYiXSmoVtkSTD/PYIfVv0055GPduA5ujenu+5dFNmtu6Ubj15W558RQsBiCa34ust4bdoO3IhbwTImQGM8aCXYwBPFLg5Ay49S3RoX8BlEQ8Vv/CrIuM6Aw9P21NeA7gwTF63B3wbIpcJMRbT81jnJan9aA3uzFQ/wQ93QEo2RBSWOb4zjspgtnUJG5+IJzvOK4C/Pj6Q1ySq39WIm+ZK3ILmcPLa/4w0G2KNXcWpEteCIdBvP8+DKQhiGGhHJGGiGwg9cxhGoOK4g1oZKh3yND/YeCWEzK+PEbvJVOql5Mth2dTt0kqWyQnU/o4EJs6LkEsAESgXEoA7Z63VadIysw0YiEHQW3ivKEX2jW45wlEjJRyCQiILUYBPq2HfQ77cUVUuZCfa4FERiqM7/kpwD5z7mbff0BAiKlUgAuENdnwpoBhB0LZb+O3bn5jZBRmAU94cKwbZ33DPrWBBVLVLjjVZoOCasjoVfpklIzXfsd6JvoidXhGMff4h3YbMMUim3T3DBtpPq64RB3ZL34dZtdnRBAis54OgNIuQ+vZ1Qy3WJTmYNO0eWfEekgV4tWUoal/7Un//kgM2ty8S1dvlanfY2gql5lJE/QJGJy3kpJDkdyU5TchgRTAQgdWKEDBZXkUKdVWV8gRUYyVAMPK7kfuJZ6o5KivJixXly9iatkJH0uaRcKO03gfvB4snUrCARoGcNtsJxqJl5EyBq5wb5n7bPUUbYUdGo+qQdMLkPGNAkVlR2p+qlZ4XbuLIbAGvVb4o+MItmdV29iDQq7uI5IFj6EdDn+YMNVKA//ZHFZBXZmpeDgdPoNTWGLMYxgYkRR4b7TE0s3oMUbrKHsZMZD9IcDrP7ybkamxVbt7UUjzNDyzS1EC/c0mShtrZHsV758BOw/F2DenOAlW6iwscxoRQncS8Zli0LvhXxhjg5k33nPn/cuYmGTh5C9o6daNS8MQFJAF2IwObNryWI30GTfqEbkmZfqn/cPHvT0RO1HGsvUpkyONHWrPBYRgpprf5uWQboOIjtZRNn11xtXFcWthFMCh5e4uSe8hfkfVgtCX9Rc92k1txTmRtI8S5q65p6dd/rhvsnAKOpznju2UmUpkEqfa4OaSTXNiDPNxIiApZz9IZyuN4VlhiOYa8wFztdL9OfujUb6ReY9wVn2k8u9IHow7/2OABw3F/KRAO32xvmL7OhlzxrKbFsCM4IDjcUIChlhY1QhUsYbOOEV5VMA+sAt8dLy8tD9COC49iZn9FW5YbljOFpnFkJR1H7h4ze8Tp6v5ymrvYhzmV3/qsvHOfLg0VWXM+QJ+5GGvZDx68RY+MZlegbyNqzQptuaX3ibuFVchoQTcSGDTdLFGNxi5hZsFPBOPkX96WMOjWf3c9ufJulJcMpDlHnlxRbVn10i58xib2gwthvwNpLcRXgg3L2rJ3WAiT5WrV+RMNAEOIyUBV5uvOTfSOAVrTfg2i634+qz8eETHrYH89hkhOTBnP5ko+K2GkOSpm9DKLodZwXoIBObFvTQlFXTo5k8otfmK+iHy/i0pcJy2pUMg6hSUxO8uLzRLG93kQzzARTUID2NCrJe1SLKT9WCY9eQ0400Jops+ZYknA4LfAM73iq/bEaaAZKfOq7RxrNXWo4zPqHkxuv5wDyzBva/jWaHF12IPzDS/aEl1HD8K7ah3VizS3+I0dQ5oLobh66ew3bg489v5liW9xA+Y8kbDrvgUI55djQ2ugOEERsth2s+6Qr8LQnl6yaCTJT4Da8iJ5HukaTGIZWJ4JVBuVmc6uWk5eQCRjDkWHLIlMba+ShV4tAPIh+LGwhRVeV33SjdM+8eKlntGEMR5dNBnuttuJfbkkEL2GwHYYYTM9e6HP6mcW24eH4df10diI4R0r/G4YsTsHTssKdN+PnclFO/eJCC3CTCq7Xh35HzuodajweqU/j16rZ7p7049Zmy8XEsz7K7zExb44Kmon+x1Itak7Q8iZ8UXjRmyvuBNdKlOZS3UuFvTTq/Ly/PZPmKLVmSxfhvwFT7EejUE2V7N/bOxBV4p4kk5Adi/g1bD3Rg5eJ2WCag8qUu93T+Mw/Zg3CEXXOewyV3qs2qug9XC3jcEnrNnPmIF4i4+3zR6F85N7lXvJ1ISWAB8JmsGXoMj17QPzDcxSLi9ro9vza67Rusur0zj7dhfcXpstjVBohDI5uetvHnQLdH2YIckW8OFhCddOPHmZ8p6xAnT/hYQ8KYC/GBfgFqJ/uJzVbEVffYRt0K1B/3Dlsyr/jp6a8vnKKN+GUJNToyidl1WePbIbUcW1K+JvqHzbweVwoUK2HJKFvhwLnyHnqv90LnlpdG/ZKqjJyamrgPljvDnq8zzvjJYsMQwt8k6oEZYke4CSCeUkmAWo8e5FCe83Gtu/CKzQFAK5F4yZqT00oxQC4vvXaXDQlYusnRmffhKwUgNWvglOG+2rHnsYSCwTMrNBfC9qLVhC+HdwcwAOp3Mf+m6eTfD116GqfkELEtsfbvLllFY7blCYhlJomXYQH15UiSv6qND8J8R9N4xFY6jyUG1Ov0vRQ8svVzkdHbVI4Eh39wGxsjlSZEwFypzxW1P4Nr1ZeOuLY/nJmj8Glx4oKtc5aOlhHh5TFZXaLjke3ed+TimUviZ4YwbFs5xdD2fD12X43gDbewabhF6wgYR1AQ+B4lz/U9xghOFdssM/4Eb5GQQ+9c26YGQFa41zeboxsmD5sdOo1yoAFFGIBvsAO58c+uDUOyqae9BboLUDyjUjV7kCDBsq+9mTeRA0edUHU7k8oMtRGsg820JmnLGMM3M86PwBB+NAzipMZUCffRGIQSJas/HnSMOedxYVXhr8D3rEN3qfu69yHyaMAxwoG6SzO1Hy67vkugvcqUD+O6vh4s4B/c60OVEUv61gpyIoGmdqSmECNMTlWnGbzv3w6XR/GacR4MrxlXj2VnpsI+erLnOGYLM7LBHhMGLYNHxrJS3lbKWB7bjvQG87FQW3ReWPJx41leuvQ4aBHZpUCnFKNno8106HRelSSxDNHIx6Da3bBShGfd/hvZgLS9BPhwkrXslFUb9K4QQ0QiFaQVlgTBCY/MaR+s/M4SWn+THzcB3Fb9wJmU5v+BU1LBhHVDTaCFaGDXAu/qeHi1PXktclIith1Pq6BqFcoYWDOLw1boBIk42e6f8Oc3gFIfbavUiVIXJt5TauDbtAiEuS/FFJbThXB07T1Ebi3RmBSlZNVBRl5Z4+ub4+cj7oRYLerma3GoiKlsUEx1BGQz5cIi/mjnmTCXiSbDVbiE8v3vN7aN9osOPCUaigzXcTy/pNqRr2S/EcmwWEJgcnDljfCBpdjDW9ousA6oSHlYq9NfaxNFXu1fIzF/6DqDxqpYnavnk2ssbh7a5IhjqHIpRmMfQBBiO3AChaH7jI/Uyxo+yD15Z7mIxBgNSSj4x5vdZ0JgalGZ50tiPR0ISVqwSh+a8JSOhQku0HPT8JK18GUX/VCSCv5UgRhwVTonhix72Ooepz/GvF5TRDBOUxayqlfSsJufEVK3vwYP7pxlLrg92VPgZOGZbK9JXdnxOuYdKyE3rFYUHNkhI/WIriRAeneOiIKAjcEFocUxePE9NDn+1ZWR9gSPy1N5pasU3O0w3mARB6onMrJi3rKz/37gFlfry2QbFretItEtt6H3WiWkc0V+CjIZ4pc+9GNRFIHuZSXGMgeVnTIYkAeFLInRR9nFJzYCIDD/b/ZjpzCfkHhnauWL+tcJN3sHhYYs7NDfz3gDjtB4TUsdxrXAQxXbYQljqX5t6f/+li/kgg8pfru+m5qdPzsa9ck4IQ5e+YFCzi3TBH945fsA63kFwmcCwSqLdMFC/g+TkFKkxSJEEYavypma7zjE+rgmzvX+mFhMjUKAFgqvw6IsKNZBLa9SG7QTrCVfPbu2pU5QddNwhImVO/grHjiVmJ62szfi+rixvHJMB4pK3NBM6/qc49JgO8iOTP5u5mlUUfHXjO05/tDJlEufDphogP0SUDrWv0Wq0/UBd/1NsayjGwHhFaL6R4xDJLFAHBnvzSDXLcHsiwhkJRKkbct9idIqPBMTXdMDlrGnAY1VssRNBCj0zp8mp4ZRf6uracHETtBM2F6kov/8uRS+P9nDZ6X//YFCmHyJJA2/jXCAMqy//9CD6dPpl6zXbvD42myZnwapoXs5h8W2VvUDgnl2+iuSxRWiuImcbpCTwv6hCyT2VgU4/lmjaXGuy1oHarBRvcwTF94GKnybD+ZJIz7NtB5HouobR/1jikZrdryIOUDMDgiTC3ebTwpvt1LMYWglOkzeTrZ4fNzVNXKimvk7MGrRjqfpGq6lGgbuwNDvL+Nf/9sQfiDBm2yhOLDdOQ2EWAJqAwT/2PX1aLfcnx9CiK1JaCo1Wr5jN8V8UxlLJGiCtwTv5T0NNK10/pbylSrFM1PyhuOfEXD0E/Jjd3Sruxd6nRORK4F38zHLlEbkIeE7LuzS9mmQazNK3IYDK282g0re00YSJJGhCi6WlilzW+kSsYzAS3+JszYm3dIo0yermhdCNZGTcRqBC8jPrN8eeq4IeV/6QIcd5NUEB/qLyws3RpxivxcQb1vCm9RI5CSNEdqQrpTTq76GvnQv/LZivVOst21mhj8uU9nB3cdzCFw8rLxf3DdVGaySMMrpDZ0EeCWK4Wrvaw4O8UQRI/6jiI2mEX/NfyolI1lRqz06AcKadW1lT2q14yPAe9Cu3OOrcSDNitDDdS0Tgh/NU1heEUhVJhxkd26jDNKlRDemgBColA1yiot6Ru1AVdFXTcjuje/4JMWAFELoqEmpUCGfYuMSfhYDOsk0hMrkSoI0zIkbo2n2kLC07ubEmCovQYCMEivj+GSsEVuYTm2TOYvomHiGQGDBpgj2PHWa+kOopjDpb9/MHOCeD12XhQXL4fRnJ7GDAIwF3FWuMomkMCyH9nCQqbCqGdGl+bI14nR+J5mjF8DK2lVpExG/RYCCcqH62ekX0ESiLYxAQ9aGeslTvKFyJSl4kCJLNdyxAqnZOg0urmjqrbqMU9/Kq3rz6cpAx7L9AkaV4S16G3Wz4NoSi5gtXo/oPohi2whrs32/zC3qq0q7Gd+J6uxBbOrA4t55HGuOAa8lSt3p4qdLiofj+x2Q7bQeIfC7De0qrNxD13iV3+fKll+h8S9vrrs/qXbAAEkL3z0KqYtOdnwyGKXHv5vyr3LDuV1y0Hvbcd8WkM83UbB9QPv85jUXwK8mPv4FwZeOoxtVrIuPf8WU5mY7Q7L9ECK9Vi/BtYky0N6jmLid50vYPAoNPjlKysJzrczrEdkQgZlLUi8lHBj5DwTxZBGlypHorQQ1pSHy6PxyFarJU7SexrTPr+mvpwYobZG8+uFfMHfHAdQYXG7FEqB0rZn3Ko5WrdWF8fuDnD+JiyhTlK2BreYTrZYew1p4KBRzQ17S2ouvflNAr9gJRox9Fk4dqHPiQ0MzTctLAzyHeLuYrVIN0O8QFmUHx6FQabXfO5bvMS15KzqkHd4fzJw7Siw16n53KMM6nlvqtg8wMj7VjihX09qyoYLspKeyx5pbh4Oe9WceEXzlR8wge7asizzTFxXbtFrQmI2z7u271p4EWq5viqlHLStPYZhrIwdI06bckW3no8zbqZ1yevq+1ghZjWT9gP7X8wQhBCZ1pyDfmv/EgED1LDLop8iNs51KfjZVvhooTDmWwTV6LoYPDQVtYhqLAHhwW5gnd+0RZuIILBC6v3u4WFh5VYWQBY8CgiDkrTiPQuFM+NKIZ/mJpUr1rh04GY86pHhMK8jCwf7AGOCx2zTd+ytKFNA+DSrah7Y9SJo/a0B1Ps0mHOebq1OslFpH1SzzxE2w6oSTsFcgH0LBc8A8RYkVdQ07258Ep/st0D8AVVaRyrwSbAdSurdKgaNwbhuyn6eb/2eLw/4jHT++nfI8pQk4cPAaXEBFHPg2UHkhZgEeIHdS6f62drzag5/YTpXUsDHlwdon5CFKFLmfPM50cjznI9MspcX40azUW2Le4ekm6MjFBuurLcSL4p/Oz5AT4V7wmVOADkVsaNECW3ToA7KaH2JmLvMafdJEMbqs22BoMqdn4K7Mtb6XFKzFXkYGyMZjo5IUQ2B3V2nwmRfjY1EToivvLZ79iWeFAP4jyo3yJqdZIve5iNjIMpdgGsKGQg6vKoFEkXPb904cdOq8z+8ZpXntuloeHzj7VeBwkigDwVwnBpKm8jtKfUNdHjOCtvvxZhR/avpSd3Qds26dut1xvRnDB+KjQImCYUcN/YoIDPvQezCyLguPWer9eWAtgUu4hRMnC/XWa1c5ejQRM8h2S+DyNl6V5nwceNaecJD+XXFR8/PuaNIQn/reqHAqZQtO7I3me9s9MjJnBMblGd9QLU9tf70br25gWS8dsIGg2EghbhiG+R4ohGhgpLGyREChg2nwHIqQ53yCZAuiWsbLR3bew4Cxi5P2QfMdFQiUKdLXEv5wVcgM47u57rGKGimayli1LCnmLDa6rIAL9OGkMULwClJc22PRcBSa4xbO1RyKap6FNtjFpKOsA/fISs0Lx5bvKE04akB2OCqaNKxlGG1DMUAyGgUWbAc+RrzreXeENMpiriT7jXgf8sE6OQXv2ukSzfVPxRJ5TcLVkUY08NKKKocs0mehuHmO7aGUYF05NIjINdpe0G7krsuFiK0AUP8pR+pqSZnNKnpw9Ix+G3+v6u+XUrJxm+u8MJBeyNFC7ZUaS9qLc3TLRJl+avW7dbwYKGtayl7gYjCQVVGibka7Pnrje1Ig17A9tA9JmeLOAWFnMAqPOGPo3IrOQjM1qFGXrnM62qerTgmpwsKiuaDs22spqWBW/g9V8Tkn12gf2rNt0NtMp8w+MWfXSwHtW8dd/JRKMbQ2U+9+pUtF6vxljO8qX0mKSopjmlPL4JuiNRyE5jLyqV5h2qaIyEAwcAhsrsDloBqloOQuoD8OED5dCNUNheyUxrOcy8cgPv626xQcXk70rlhJZ+h5pcQKv88g+8A2xszMmx+jaKvZvARjM3ghM1xQbZN5hCwOXB05cTd8f0zDYGgJKsZGV8MBm+F3VlbrotqH4wgFPLO5skRUJIr9CDzFTKrvz3yPLgZkpMfRc36vUJY12IXgWtGaljP4pPNXCF5lh0DMmReb9kHWsP7Yl+Ztc4Aj5yvHYUAsZ166q6T/Zc789NBVujDDqN+sWLVWCK9ND93+FcHnW7+kQmhOngjMZAMbx5d+nSAIClqum2ZR8I4e7tXLfDyIdYWuUo4sahPkjQMahqHLeiYZt2Hp7Tm7bjm/R3PUJKAM7BXlmQtha5YG8FZYz033WkM346PURl3Zk988/oB5b5j3ISYI8ZEyIyHmXENUYQGNLrN/Nf7epbC+qHbU54Be06yFdq457j2+vbbhlqBANkSjDDyHVVcHzG86LfEti48DfXJO0aXjeZ6JjD0nlACj+Fw3S0mJNGpNwEGE5EewCogoN8JBV7L2HNgxQHmnz7bOdl1hlO8t+/55PQNx/OEGn+KRCj/kzP8VfMQW+JNmPUJ0Mz2babgVL2LFhBx217wIHVYiBulGcjDuMKcmfiFEN/ynuXFeLqNNYbSAMM1pz8gOpYdzVCOll0YscyN490Dksr/dUyCt7Z6Gtn6+/Q/R6Gjmuv/SE5A1Sj31GmNZsMVe6vkRKu+gsaNvMVQLGxm7eG6fQpOViO+qquk2RqIf8379hfU/SAe6plQRqrtmR6rljNtGJAd0PdsCSuQP66gE495LYOoKUx/qdZFISY3U1coLLaf8A1Csft85lKo7exrHmJMkyWH15xRSxv/vlc7ydb8LgczX9BopgyRI9Z9IRCTm07sPBJNLMQrdI4EnwYNVJraVegBGUwrXgRXo8AIiVLZUYcVhGOJfGNV3eOlGKges+2bBNFzLbNxQjZyAMgtRVSIKSlE5rmiUFaIVYpKQRvax/VTP56dyCsZLmSthf2ABRCQ2t0nTWw1cL8QO2FzV5Sx7KjU0CXP4V0kcP8eMqwItmRVPLXxY2uewLN/ul6bkdMFzuI8mR2lfZic6bxse2XCnWHQH7y2Tm+qkdBEu1H2uK1gazhmd5VbndlebzAZS185FCNEWeq9SH+dlbWI6mEkB05AhNcWt/rq1lOCUcG7is8ypcPh+TMsc02Fm9ue7JNWGAKY1RCFOr2PVEIS1jw13vFAk05G9eDqDrliOVuRlvw0TeFmIWSdoPkf3Ap5yWFKmfm7CG8UKeKyxxQ9rVS0hj5l/BTTKo4nENnWEja9CUn1NDYCC4S/lxk0y9KmTQLRniTWv1Vaay9DKT45ANgZN84TQyT34wrW23EJIuCezJR0mXWBQqiYA6Ivp2j1yXTG5pMie0U1XTTxfKrqggHCBfHucORMunLKfM3crHaC15BvBUo/rXAL2fii/tFdergy/WfRPveAQhkjIjJ/2oxdb+afngBQaqqqo4Qk0kKZpqr2KYbIcs8mE9DKOiXRG/FfcV1rXv7Oqd1jFh81gXWFzFQ6PvE04PVAyzhaxAooFTPntAzEJf+YiYvcXpauDs1/aws97HHBpsDKSZSoxKRcUnRYtGCmkKg+4dvNjgDWvyLmlLt/nZua6uGFAAfp6PugfcoJcxHACSveiRPbaUWPKbAGOODIYjYXrSrJMALCGNDBd+uu1WCIvvF6BpRr9jOCuvApPEbXU6mXXs6MPCBUIqdu+Q0TdBNQP1m2BcVZix/965tSLXHKj1fhksWRLriIRQYkaZiczRSbc50Antz8FeI8EsilhlMvAZBczTEL77Wx2Yi+4WejsTHuNGMj0HA6MjOmQAP1RBCQB9avCpiTJZMLJw1dlmpN7HlbNtzSzweTfx70/L45wNyzh7QnaauGi+eAL67VB26IlanbN4GBUxSZqRrmtZH0xatBCqfBLUwCsQ6n7NaXVFNHEKKuZ4u/6GtXDJ0m8xbvuJH6t5N7nn3AUWwo9xf2HwZDfJNL9FvWjRum33Kg4Kb4BPhQ/9vZkYmMfJH3Pa/DeQ65gGORjwdHMZl1ZKpUcabAIChv3vq4c3K0lpp/HR49dtZUwMPnFObykSNq+qygwSjac6n++jcBKRly/PtSzU3ph9GQ5U3M7zgXnziiE+SKavAe4e+YTEiGEbPzfWdyUPIxeFr8cKPfpFitMRZlzj5kPXsUANtezyG3nS0LUf1JnlYhKc+jgTv5Gco09SBMWwQiy5K50PxJZBlmpMsBcm3hjU85qWjEUoSTFoudymT+yWM0X99lV0aCX6T68/UPv4c2InDGTPNVIQ+i2ke/cwQTJJ6gVI/GoqRZcZv+SWj1REQUHQrz0LWRphqvbKf4vv/wjVqHL0Ya+EQSRk2TuUb0imXhqu/EqUMhrIJMVTCYsm1cpxibbuv/MkTv9zQ2IQ681ospLTZL75eXTedfHbKONgBl/xUThzPWZ0gloWHR6wDw5KyL66Mh4QSCh/ME78ukDy3hMwEMwqwiwq4KbsfxPmyp13c9AHmPkN1bjYSA5DfSo9VWPVEIxvNCfPVpdAzWSAIGtnXZfQl71EdqwImyqO3JunNHjN7FfS28F60tSKyCCgjY6PlRV0PibqeIaY/TThenoIA637HQRgISdGEu9JAxIOGigytxymn1reaEJfdMKxwuOei7fUfLSW7jkQ6gFh7VZB6s/9UvC2RW2kXjHAu3Icj7fZGPaZWs+3DJ7u6tokCbjyfz1RmOcoayiGYJA5XtDC5Jj6IFKsCN4pWenjtGecQzJnVe/K4ZGdpFYItwhajSvzVA8RB3mwYjwRRy6WWaGdVSUWMuL/WOuqmYKfO9fO2Bf+onGLmZeuD8OJ0nqwujurNmbOU4vkql9633dfaBwznbHJmcURN8IVn/j95aNrywfIpB0nNsPaKkstq+9gUf94bScgjv4VI7s3vpwl80R4oLMubmyGbqZ88tem2nT78BfhNKMFc1oGkGZGWVzspDjVX54HR4t1MfFvTIg3F9cCQ6uz2W/4YTd9nce7PiGj8QwxzwYn9S7iT0j7efbDw01Z7A/W/v1gIkrAydQFuzdrFItPPET65U4fNbrOWCSROx3U2pEd0EiG0RiqWoU6J2O3Cx/XgSMYU8aqjUEE23FcKFNihfcJ/DPckR0x4zZQ9Hgox+jLdh1xd4rm3z+ZlyuftUfD6XYn4VmfQy2O0OqlmvV3pKu0GMwQOrbehoXbFel5nU2P22/udSlnvdPqw9Kp9NwuX8YjNCVPf8FRSk8ygoabRh0QwuX+3+6T7sZGKflINrYPaoi9/iyT59xK9uBNpI3Bsyb6I4+wlTjXt1FpYc/0yI9rv835TigBnXh0mAfOhsyIc0tdGSmbmRA/Zr907vpIRJ089taVdzRA+010TNEM0W+l9D+ssFBTVR8kic9/hG2S2fox3pn/3tsPh07o4iYei4nsZMKGNhQAxBeEds3UxW1eYzfZMbNij2ZpD4V3xIWzBwC0hZ+Rc8TgIwLZF8PErn2fDWhW01GLm06xKnRM9ojRcAldK75ZEes0RZqlmWacWYvsvlbltwa2orqTbhWUGElpZ3jdCck0BD7xxGc+5v1FhlMCfiFl5jE6A7lyxGU5SJxpeysXDvKpUwjGwW2lrNOfm473kX/aiAXnNO7YpHOg+dHOSbelkqlR1yspt17cSbtw5CkLiY9YZGpBf2diNUTMqQ1OkKf3PoS374Bi3W803cCMNHj9AJhhhvkOJLGIQvdK4CUNXACGlDTSBcONX6NwiuBNHRQwxIItfxSTqonpvDTPL5IgGrF/xXUAoUy4LQV6cbem0YeiOtSYnYx8UrbUM981qy1jgd2DzvwH58AZcIsX8ndK/j4q+D1u8jq+IepacwvdpzwE/abUa586ZcySUUjIiJQrC/BoG410Hti2XkhlR3kyZRN/JNKITH+Dfl8X6IlX7leGcfV3RsqSa0Jr7pHQT/eJZxw0N37qpAMG8YuqNZZxO/ToZF8CGQq0ultv+Tx6Hj5J6j6vsd9iFtDxs9rovHBOpwQz8AXuI7wFhKotMDJCr/JLFOQx6EsszoidgREIUTu6FPh3+oJOe8aX4P+TxAszB0EtILe77SB5oQan9ZW9/gcFvnpaUJ5OtR4LcUn0t2qy/lkgQRYVnqGN/rLwG4xq4T83ayBT5h09mHbW/pJWZurOhgdiiB6cXbm0aJsRQteaQlN0u4zxc0iRQBs4eBo9HCfhCkAHKfn8aVB6p3zGvu6XE53XleDG6PamhIHv6nuzpOgF6i/l/sMQes2de3ahwhcvEoj8q8nrQOtV/UnVCmvI7eoAK0ctSq9QTBWbGY2dqQks2GZQSSYdfbUuWQgPcX9SYyww7+T8SoKl9iOQ1zjIiep4RUMGi4IghfMZP6Gs8f02gCzuFzuuriRiimrsjG5nIwrx1DANIHavKJ/7U5BnguiN6LbwFVtR9pZa65AmyTyECIo2uMXuiG/afiAplrhK+5od/CfUVXvBYQo4NwUqwRQWF1FdSE++uRUCuQLxCrGm65GrwoeQn7ZPOtKND/XamuW7UQjpER/k6jiu/sM/sJYbi9nHbetJ9h66s6exqCDSgwur2FicGb49nn41VAh8beKJdN4WvuGpXzo59XFN/5tGT2EDQSddz/6H2k14UdJBSf3f0gJbLbLpPI2NeXSTyKXSvBTZyOOZmXLKrvQaHk10zBHPHEHdGAYr0qhBgR+dGxI+s1L/T5E47K9bm2MGygXncIGAyNS6USu63G9OVnYPAtc4Pm1dCO/78xxNTLI1cGHQwsGLqB6/69420p+miJyfCnpitxXMC8y2j2HnF5zRoUg8i7VTnho3vZlTiPoNi++hUlvn9RVRmbAnSs3d73RZEDLJjBUHmOZqCoXLwLisugap0UyB9sDpMIVMwVX/c89oySH0xAxO5BDVXsQrASlwGpE7iQdyAZJMaBDfi91dU7sD8APYps9ldIbIlaYXWZTmvbF+LWnfXTZqxzbQRlWb0MIJ6DNYVhu3vvItMwQJ8d1Na7ADVpNmfK6pRqha6ObGJ3cGXPWBcUwgog2eRr5+1R0BwByzCHtBkzAY7j4aeRRdxa1IaDEfpTm+Gmy5bkfxatkMK0gmebzZusXBi2AcbzG+v1XuY8IHT/u8o0k8FFeLsUkTixMr3dWM0PTZ4ZEKE2a0ThzFgHEmlGIE0qMQSNDJSzuCtkt2t1ptg9NRWPwuHwdWsMwt5aFaQhgFlp37UALqc3XwsfL+Fo+K4i/ZbCIl9Q2OVZnQC25LmYKVBt0Lyw02nNSDgBoNCFy4sFVNR2xNzgyZ6QBDCwGBZ0cGHd6WSSaFRSXoVeu0OrVthnnhg+dcuWDkVGt6I2QyAaA1oB78+pkaMBTVLCNAdXTd18MBOlOy/BhNxHVeltOHTpx464du/elFI2tH+OhemqPmFFqO0OS2SmPHMG8h+SH1n7UO09XE8K6NBFwa234+4w3oUHDHCdJwltfZfgDjIa7dI2Sm4D9Jq3X1I/nOmYxlcW7sMjAvg9nD8R+/W+cZFZ1Z5WPdmB6mZZ92NTTRxrz3QjbIvdggnL2+acxvBwNgHssjRMEmEKxNjTQKZNJfMevAZqrevztvidn7NZhi/lDqQyX97dPf365Rfj0sxrGPJE3QcY0dAvqQmKMTQpYrqC9pyAQMKYR8XoS1YhMVTmf0cYtUIZT/vx5xi7OqaGb7LEmcy8111XozbBmQXA/8dx9Ljzfaym1CzvFNP0PmjLQIGYAS1ijuktDbBVNagi1DLGPLF+1YKBkXO88MphV/u2HFRljCHEG/PkMeubYXiWjfXSyPlidMUgW7VMEfyTA7VnUvFJ30GTZIY9SMrwgLJbuR8fxySXRtvFtXvaTs3GBdCsE2cKGCKOA13o3nzOhghY/db/r3rDXt5r2EorwLzk7Ge5BBZfsk5jhFJYer1CLYJvC70y1cMrUt/VaSM/oOLjEoLSxvPir9RL8LZGcGmRMtiiP+L5a/LkeERIeEtotquEVzUzJsXYv60PWtm7AFGt4BliGpjwxbkHcs6A9Rn6ffecY7TLniC1phZPTrIUHwzFBm2VK+wcJDwh+Yi6RdJrl5CLoSh8W/uxASR4pUEp2jDWAJ1QV+a27Q9bnamaj0CM1H88DW7wNEaHhRASdM+fI2fKiZLXywxg5FsumAzuAO/WVnzqqEE30aJdRq+wa8QdQn2kYIG0b54U0EdTX+MY1nFIyZDdC93twZKpGwON0foSpvJ0NYMvV40wwZZOrmc61nMKurcJT7VcnWeN82+LINBAmeVLA1OWv8CW+eKBwdKUeoUD2JSWusPb4AXVIW/BV9N3L4fFUJDaisfC6CmIaSbr8pMqKBNfCbpckE7evH7oF/svn9NMhaOAw2hpKuZ0UNu+ArfsT6kdZUQBJ1q/5vE37zCccvNB/YtBCjJ8lWMeQgUx5Xz4RSviUUXPGRAo3oKod6Q9BsnXJhLLwVdlGKXXpz5Ofa/xxeuR2lFh990wiVo1QNTi4bPlUvtsuszjRG/7eEyD5W6c2VZhnEfUGpR8VMaPMUnsBnN6K5iTYKGSdWhvTTxw35PsID+KSeeX1feNic66Acn5gG2mAnAgw27FlIwJx2EmV7OMFPG2Sv33q3K3PSHD5YmaaMUH9/glZtxCTjVhIxR7B8WVx/Ewf6YJMsaFJtlx7f0LTdhH1qPs71ivFnWjaRPVmjYrz2+w6SAGU+wi/txB0vXHY/N6WFRkjlSqC8nya4akRzE4G2GgYUOL1IX3n1KtI4Ng3aQLjZnQzSq1brFMPEGjvF9qu4DKPSsOp0GiOi4TMPQ/BG8n1EMp3ivU09UZ5cHToMDdPaim1zsq3/NwjsAHiQXuMQx0xN+q1nI9Ogu2LDoQzAdx9FDU1vS6BiqBl/id2A7220+tNEMHM/v8TBpmXDAnaKFMl9CTS/pWK7a4CeIjTD9fkkz+2XXKz5RL1MjNNMA1GadLdav/suBQfHneyU4V1QOQu0ufxuZMJ5fzJsXlK8RXRSsZjCuZeokjlhljG7ZNz8YgK9TElMpN4AMESFEcTKQMG8vsGzKqxQe1RUJHWfoTaF2rKmwT01dMQdmpemS0M8cxEhp4+qNtRV2izGatorSdvw3wWO4K2z5jNQ+8DIN6TtJpstLuRd+fDnYtCOltdeaAok1QI/Yvw4W664dCldDI9FSqNKPGsd9jEXdDPnabRmzE2sBwTGFG08Iro5CdGnCJCUGBBKXcVlytIerAyWzKyjv6TA65nP3Td5WBINjfqJvj/CfM1hIvY3lZbMen7E9F3c+cyHkwwEW1MfOs/IlKjer1tXTcoiJjcF+WecuUHz9R7SpnTrIaH5YdtThp4/9GnHOGOQXcP1KrFEsDsvz3By37DE1/C4XSPUw4x1c/JyiCK0GHmy3+JJuNKDd0jI9rQIhGhshED/lYhez+uS3I5hjlh/gQ6CoBz5M2G1Pw7cDWlF7621fdqgZpNWAaC/TMViYe3dnvg+YLBERFLU95D78wxZ/TCj5d/xaD02aSbB8Gn/zztlTO2isTRuIKgdqn8Q1azQt4D+P5+oWnVjhnbaCE8ubGso6GwcdyzLGqumV38pGMRzv/b30exU8B2x662jcELrjosDbcMCvKmNooy2B7hDkhfRVaIvP4E2BAjVXgZVK9gO5FX7FeugvzDXKuGqVb/ROSiVBwupNJsRtOIbsFGJSegQqEBu+uM+IjNBPQWuxlY06EIXYVH7OkSKqbkT972HGUXjjq5QtfmqFjVcbT0El8nWw9djINwtgUxOxDuEFPq9FOcWiNbWC04JnS0kM/Kjg+OapyMHoymQlIO6/AyZHcKwJJoPBYpm29xQxMWJhsz1g8oWtC/0URDh0shus3YGp8ftckJ0MfVF7Sm7ZkxvgZHHtQU/aJMk/5tDkKGngOgJq1r8XxMvbOtWh2N7SnKNaZaNjAOKQ4fEcAgsTqi3GT5XFUvMNdLPjkXX33IHmyTF4jUDD5O1c1wlZKE717OPQx05dwmmIRCPsgzozQD+J7ez5nkKwqblSTwJmGKPA9tvXi9dYwfX2H/z0/C5UwAmM4lvAwDdIm7+YPWVMXlwcoDhmJ0YEd2LU+YdHKprzduw6NDiqnCZf4ObsdoZ3BNLd2J2GQyoRopiM4GcjgROF3vFh92e+jtqhZENQR8SHEfOzaQhMiZdDybqJqvUlrsvah/K9emMhHpt2klcK2foLiWQWQ+3rLaFIjM7OWIrk+E2Rf7M0xr+Q2rwi7jxC8ZrhJizLKZKwuu5G7gKslsLpTY8gOIfKy0oIrGU2hfZTl2qeJ4KYQmgO/Qr1cc437pq8EHYCbCoKB+rJaJuvSOWcsrb+GfodcNnPzd3i8qoRXUsPUfxLb7TmSXI3LbKy1IBvpVDYvyYiuntIRJpK2QYXZNToMpR+NKkBWrmO2Sv4/8d/s19HdVrZRmflAo4cl19f9P3I0qGlLQ7rVRjJKnykRPaz+CNLpCMYWdeTzEGD+7sc5axvIcL9m7/wHh0c9ijapV+7r/kSzdyDvHcDM7N/IIgdo4VNy+W9H13cFr2gbZG/PhxCnuNmwLrr5ImcP7jr5v6F+tZzc23UVpXSfT0NyykRAfO9Ien9xcm8fk4/ysKqvpfoOJSoKf/bpaqHoYkgptcEG2k/aD7VMvNRIuP7MFG4IH+D8GUlkQswUDyRJ/ivO4YCNUihuumKHLoGXOl/ghnpwqMB+8xWKXT8nS/O0y+zToWg3VR4WsIBHPfAZ6oMQ2meRjSUzbBwFIDMPbs181oV4CjBi4YLQ6vX1PCuW4/+3b+LQkRVQ1KHsKW6q2+RoB+DTxl48hZ5krbyLOGvQE+cQo4nT2wyoiYHbEP89YnCTUG/BPrbvnEBatwV3ZkbT1pvPlpdOo+QMHEBjFOgvealTfU0mtyJ/fIM9gjFHgreUmLovJMGf5nR+uxpFQQBGVCWb/uSFcCsM2G9T1fkyXTumVr/30+b+AVWEvzp4heU8fFu7tH6RH9ABG2xaOUTtJLthyDbCL07rHkjZxorml3TGOXGRf9y22RSkm9K1fEPSqcDNXu4snzvuR5NbpWpoef9fvzWE8y/qeaIsJFPrpmzIBDLpssOli5pkkDvPt3MEK2AEkHhw6b4Sr4d7LoWm+wku0S2IRpWcrqvdD0zn0Us20I2rE8gMFABD6YCPmL3vpzF5tD/lkERG2ocQQ7UVTvXKoiwlWE3xDgy543oHZoQfBPll0faOhWB54YxaUFeAt/Thuix8rhUdYOftNzWgd02JkNH1etaGNoxI2bg1XSq+35VfVnj5nfX7LE7UkRAvbQbOFyg0fipnDhP/ze0tlVA8F1/Pb5eHgtHzcSJwA1eRKSYQqJfzJGWWvyXIM5JrjXh/vNO1QBF2etIILTyfW+t9/IbA9JxjTwkftGSfTXQnpx+ycAHbFpJUm64R83B4rPyYRI0IKjdfTiY7R4/H+M/o5S8EeZLjZ18l7DfwokfSNOBblxvjzlpk9rVG2A6T/FsCXUQ/nsX2dDoUNbXGIBJFxSxGamjih2q/+R6uuD1T8OJ3lhzopC9SRYBUkt5z1SS8ghLRD2Ja2baTnPJ8+B/dXTVtRKbet5vAK4DzBAWfjxtoOCNeZtdd5ELH8+oWmBoYa01YgGsTp6uPrfjTUyL5gY5OjcwizJDIadvyvu9NktLuVcJQUd2VEPa+xH7pYuNwBwpJ+Y8L4sB98UuxxTYzy0GdYYn6J41JHp9iTAQsBAaZ1SJwdU7bwQX1AGS6gFLOMQ+kYJgBw7/hbng3nW0Lbf3uf7XJYurfTIiBW3kmEhF+bpUL1FQVEdC7+UCEYRzqnNthucXIywPIKG6bSOBKkagdnPUfydFgy1vbIuHA/rHTwFi3k7Y8OIn6+73kvjJ8GwHsHLCG6dmGNuRaZCkuE8xbHyBYOFrEacBP8aGZOiISK52C7k6WHwctYn5obZnELvJxhTIBIQTSpPw04bsDtb8FWqWPs2CBMg95LEXOGj9fH9ahxBa4GAkCGv7RMQyKw+ekiVySOA4/l77fwE91HCwGICeUVi7bNxzWzdMgiKUfzJn8mgzZJyeo8AVCeT+nWlcNdooldgotsxVndq1ea7xWMfd2yrVbeCciR5vPYm4Hfnxbhs9IUnEbbkufciqmv3HR1mwHt9o11pgT1OoeG6t630gJm1n1llbsknqeJGKpgu1C84OLW0JzA15BZz+YaS6u2e1z/UxzBuO86daAqPB3lFPPu3AOkhhN9vLq+Ut/Xl9Cj8HYyV39mVV9l6uiPCNPRwq8HilsBbr+fSUPT4ULlgFCappPfeHKgppWuIjYZ2Lns2J4nNKwVxcZnyQkmmX01fhjvfYcpS7MJtbpsm0RBiDrV00F7Uli4BlFwTAeInds6qJ6/P6l+Tt4bGsCd8cQsffCapSgcqr8QP/QAng3y1NZvivhakCF1CoGDj54nRfk/EzGvaFtKBkcbnNWzkco+6OT+QcAeYps9rVQQD0SNez9r1ggLJMn5iNm1gzDt0LlNFUZ2g3guIf72xhLbkMmDmnmEim4QpTtr0xz/xHhi9L/oC+GD5LyYjl8uAdccRCKSmXAD/FumPzeTO8VdBn4SF5Y4KWUB3IMJco98KDlwOADZg+79T0f1+vlgzAWOkapEjRLSe39m7wGvd0tmU1LpYaF+EIM6GrROTrwyImUb3JsDekmEnbeBrmvEGDMORUt1G3GCKOCTS9lyo9bk5hkGxIZZp3vSZbAi7sYt2aakzzZh93JB994ddw2OTgSszUY5rGcDso4D5UK2YIZz+UN8/kPXWejRc9HN9tSf+fED09YuQK7pn/j6xOjuvh4r4i5WrSZ5ikO19npUblsoXSCmIkl/wCgn77Tgrc5bvRwmeAYQ3k9JUILALtnW5UWycmt44r+v9JjXBqDwJB27Yt0+HhCsCxafi5wKLcCRe6ALHP0SQxkzEIM/QD3xwRI0szW0mFHWSKON0f37DWAhURCbpEZ/g380TQ9Wc8vuc1uLH9KnjG30eIHzym6I0CXXtNBYMD16IAfefliByQPeMs7l/wMq1FtoKxyyoWmASocD5GqoUChPVn/p0dCLHDcrHuxr+zZICy7mQ9G/i377iOCIDXsgIfHIB0bvmeb45btPnYZ3XKrfGnu3rwDsb3yqLFHdr0QaP4ohpXnFEuAqhW53H/mShpSrfVO7+V5XINBN910cxDN7ZCv+WdSj+TfVXOv/K/gnKw0MvHeMR3CEuOePyyXCB/1gLFxmaZxPQMsSxkrafI+9JtAeYhfMt1Uds0V2V9EkeGboyPpgUgcq/O6hiJ8TASJqj3uBFPry/2Pwndx2YDWTq2cm3HqAhM/fab4tsXC1FviUrgY9+USZqA53Sw+1i+PZSiRMXK/Rlajxu4TNa7K5GGJ1sddHQYLU2RNeBoAy96jNnASXNVi7j/rXPXcsaL54xm60G/w5AXcLbNsHMScKp/I9AUoYQrIRuzXiXMXQ5UR9HF3yaNddBnt3IxdbYkEL4LpNZRhW4sSCm9qyKPcIImolxIpp+6SEF69yEXsFu9gSIy2S+7EMgiqCP+8SlO1vXa6J3l7LfoK6/iU36Fqb5Tq9dgLx9BCUBv800PqUuEob6GVp8pMBJ14strd9xlp8m3yBwz6oRGAlydn3ifzVVhd17a/tRlPKq1s+rysYEPaYv37parsK+eqbi9S7cqUXaQfT6WhvOzb/eTYylFfjzs024qeaGOoSJ3/mB54yQ06ymPa19ffp60dcJwAci8YH7Tj6vZ/A4ao7sLLtZZeJq8ENrfmoc6reaghmbLZqmDQHIXd4Nc9u2MaMWfzkrBHqthNbIlJN4PJGZoGyec88aAJGwC0u5HUtAMF/+DunRgnk/w3OIrGhkdS7uFMbcdDMdYNU2hQSniab157zZGVecn8YaZAVewH0wdDsNDxVklgDMZpDOd0ca4Y8B0tbM99jv8uV845kMoij740AygPeHTra/NHq3oLd8b6XWLlqVmopMGpdlNUYpF4mrCdPICb3DfU8fjdRrqZQdkdnBoMkHBLjtQ02nBcKoakiNyiS3nqJ5l1OiM4uarMmBtG+wlUbsHhplQrcA8vLu3+giK8DfMMXBzAO6DlSKmZk1AooeEHu0A7Q7T/zoIp/bpr6ykCDIaW62CuHh2qqKKSQhpMfNtO1o3YpbVmhbmy44+2Z/+43BgZn/mx/mAxi+lL3w/q9H/rR7Dg54i8GJ6V7dmChHXXPJTj6qn0lI7++dzN9OiEM0ALSKjmP3JoP23TFgdeRZvH1kIK1xS2N4RCPu4XA2VPfOgyyLtpZ+HSStJ3ND+FDgjYYCIM6rJsRITOnX48JayGh17MeVgH7YeP6iptc9jCoEKaBzJ9Yx9VDFR9xCTj5tUjX6HG69mpCPHrZZJronyGTAkhomUub7dh8c83G6le9gvy8MX6OSiTW9trXAhVoan9eotyZ3dQNfRhkWsU9HnQ7brabUywQYp/E/ptj+MYCuMW8/xRfPEtSA1i50mlPQhlMSv5Tk2yovoZU82d8RNARuVXw14oO7g5kzb8ezof1Fr+CZSWv51Ujrug6frww86nzb25NDVc51dyMUeIDlkkVyI5eihm6jm7Qaq3K115QLMMUdBwrzMDETct/gv65jfiajqO2K7xZ5jmTDKT1EdE7WzvShzncL2aAWG74bU9iZesyw+2HyM3CtFc43/wWrrNv07Z4bP9p30fEQcwURapIgK1WvDknPj/jCOlWJuEIyjfiDMemBAmZ3pbjsAS3r2Y2vPwX7gqIb2+M9NyaqdPdyMNoYBteFDq8yXwuIcGD/c/BB61ec2LNni5dSEudxr4IMd17ilSHSCA/q1P4XKdLVzv4/FPksDvQJrYPXSUfWs9Oph+32pZ0G4ELVu3poro+96TltvRPMWUvNBttSB6rbd1KFJJAP4D6sbmskD/I03hdwrdt0PDPNMRPPmYcBacX4+fYg55de7HMPTgu+eZFCUy0cc2aZiCxuQbmPcsJy/roFpwkNu2eFxXqsh74FJdnuyLsygNYSIgmQ/XMZ846lsaAJekFmFapug9F5NurpzbOQPDITC6v/a2fhvv/dxaE0TFUL6lKJ9gBsNGmUDdfIB9E6VSeBZVtWpt+5AZIZi7GLMC1XzHaQW09j+bqLepfjYXqKSJEsGqHOn6xtWZ7dAII3C7UdsI+cR+0yLMyco5BslwsUmzYdIpX84F5oWbJQm5UL+mAz7VhFso1eCe46+9sfFW5IzisjFsbKwSiqwNuZzTb4KylktCJzHnSIhF0XP65JvB6ad7BpDY4V9Yy7+0ud2mbuVwa4S4cn6+Os8DCve5+SDxtcOLVJP9gpis7Tr5BGqhAIhfS1pz/RDNc3wKutn8wIgXHPob/uSRikKP4ZGBjZYi5Vd6XbQMM/0yrXWCjHLh51fOvth2fToADKM43sIE4Yxm63qCKtak9I5nwxleymBpmq2PXeXOXA4zaUOfYIv3lrPrtNfEOVqrl5a14tWUL9/5rC/yQzaLQ403dV1Oozeq2wF3SSpQMlFCeOttfdxAaP7xBXQIJbTUe5BJyF04TbMADmb/pI0DJ1n7WUYf7YLtNmCXX8BN4lL8rPsXSVAgkRMyMI2uBuD4awWdtjt6CxM5kTHSOrAMeG5LlWf+T5K1aeLpFYztDKjM0cIE8pN21Lakhrjkdte7p/TdF7sUnyrheRJXBod3po3QcVfpGt4nyC85sAY48FRhiD7u/8mkHY2/kIdo6jl2knKbW+k2f2K68rXqQxtMnwrFfkA5ZLZxASh81ukBzx9DXpgSbIGOgr+8tKc7z8WS1CTgc926RSUqeFb4Ek88IN2RSvbUHuGdSjLlB3Eq4CCQie/qKYOScze/+sS4ksRAR3C+0/MKUQLtHA2yocHEiWdyCQFlSmdlsV95lPn0Lxz+TygrcrAQ494n0wAZqcAjMmLo7z5FxlOtz2SkZQPLqIuU1O8EB+aASId1/X8bLkryP2QwJfbYNp9f+bgFBK6EGSIxhaFRTtTLwIYN9Gd6azLrCVzb5KuTttGi+6odnRXsvAS1p3gN34k6pS7g/RxVoM2VpTp4Adk+kQDcL0tScUjoImmhMour5VCriOBgPT0liKry171u6CeipW3zBWDizqH83hjbgaW+cB2FJ1YLFZTgBAAU5Rgu3ISdhg7PEwpnS6BhGjZJeWrSIY89DBSMI7ycFgL/II4+lzHWQS6VHAgC168ncVCJF42yHaVp+XIWGocYCWiz71eBkHxn7lJfyHSkqXm8ADYaJBrEVLw9ig6u3IRv64cTQL9X+ntJCQD2UGXnqRMf4pE5tGsolPVw0k17sC8rAa1g4UQ3xJ9kZvZvxuvP7laUYmS2Y8x7m7WagHVQ2+uc3krTM7uSrgfGuVciFrWkxSyNMS7UJpq26RRP+jGRjVWq/hO4bcnL/R0zfEPqTOuHIfUOFFllam6sM3Iy4t4+Yi/tyfemBFSIbYAkN88BUkz3NASvOHNHJHu9fZTi+zqwm2FT/qclRgqrMid2XfwcbF/z8ZP/QlalrCyJPQLpQ1bIhUQsAGApAWoxWLoTYF1N9pfMJQ1IzB0IjqcWBreYwxAzsjAn13P+reStWmYdkDTwLyjiMovyHayPYBrsbwyA5nIbdS9CVCoAOjX4XzCmrXIRypKHrUIJRDharuGRLSvNa9XwKDWfms4qAx1Hr3PojgGuPtvwBDyP+b0RZUfcZwIBcjJ/oEoBWlkNsn631VzPuQ/AASg9pKQKQoM390equHxIArD3I5FJdiP7YSLSia188ilrpUEbWclGAsPnhtL9XhSSgPLm0GO0QV1UnLeyZ2r2j97PQfo3KeLPiBEN3XfH/6bxxZzHtxFhuInWMTP9V2gK/t1IxWZzDJb/i5NUkCNmcFZiYt+1KLLTz0kvxzWejU9aZguKpmG5isfLV8rW4OFoplAiBQta2sSxgY7Pz+Fyxc4g6FfHLh9J8scdHT4mJmp/rg7SMKv6VhNLVzrDdfxwTG96oYx9UsGJ3AgvcbzRInFiT8ee6i5h2E6Rex33OFHXUIP2O4sw84pa9sqaNzXHxfUwtkjGqxgqnXtgu7ERU+DvFz8FJgeNSH0ITNl6pc4lYqDSmZht4MdpegUzBOP0v2UbOZako6fuzVEVxPJ24BnUk0Sart3UAC8JtftsRatE3Jt1/C4SHHUCdf9wKNQMAv8HRWzlKXKvJqkrhtJzog0eGkTY3wh0Pco2KhkS94jkme6Vb+CzNCiaxyGvlvKmSwRY63L4xrW1PpaLEKvLtiFFn9ZGEsnf7xF42ebRzRK46EB2hoMqKyFqPipGmu95jQhwNeqTk0VFnDDID984HtnefZjt9Icd9bkDTEGlMXhhfrNHLRxNyBQevPp58eJnEjOEyGc3KGoogMixRWO/e4IDPckVTwAzV3Vo2cTeJFzjpuC3r1IRYRSND1NrKK5GC9WB1jip3VcLnhB88wrpbQjSzyFCUdIOTIcQ6aJGyN190Np18GvhGKal9rKy4qWj71O/mGIYFvi+zq7+monq5UoJGdEEdR7bk6yf8pqxi3xRc2KBm825hwcBM5zdogz4Fnpa+WyDUxT0qrK3iE1y5gpQY2qNv9HsDgqbNQcZpRYhYkHj4cteAjsD4bI1mhiQbeqhkvh7r/iFxQ7Pyw9UbFJGtyKye4nG6el65oUXZNjsaUefnnqViUcoUQyRmpFicicadjBpLbOUTmHrZ5Z9Vn07RtfxGJxG4gHeyazimJtn8vwBb/x4Ju9jfMCjzlDqmdXn4u93hMratNAWTpUIDmHWzYAK5Uu5fioihMYDA5NtPLDntho1yuH80NDTfInKBysdBegiBOVNy98fQmKPEWvpITlM3O4Tx6EQW4aYS6WKt8ZiGLSEGI+XZuytxdc6lwZLgA2TiF3ZuCskcQJlvz/osXPhDIB2E/0qlzVv/1+iyU+PFTN7bmGkkTD1HrPthcykcLf1GcJoQsilFQq2T/SYfLbBPKvaN4etvu2RDDbaM1ZThodS4a6nnqcJuUlnoMkfJQLSkKU8uTqBaNMfB6hPfRx61fHLDro8TDEosmDxBNCS4rxraHuDXQra5ENDG8MngFKkS3H+8FxyuAR0ze04ocXmaHR4yOAv4dRav3vsBZ2PRRE5YtTuDWFkdsdQkAjk81KeMpKHfeako/AU+FQfIlUJz/bpveK3RjlqIjBn71HHVgL1G16onlWc/KatvaK+4uY2eY6EYKwDLpkOC9zaxU6p/KRBJA78LNCpNTf8rx0TSUhb7aVrOGM8x+lr3YrnPjcBF/l5WYbwyWik3Jkz49y9iTRos9nxJXyphmiqqjMLtR70+uhPYz+uBYNlhX4Zhyxnqv3IPI3bO0R/SX3/lpi6eUfE8Ax8UdOEIvSUHpHhRCGUSe1Hs6NLzUusLeCDuGp31Yo8m3Js7SZPjHpBz5eHq1khe4MQtIsNE6O6sEhAzyfgZRg/hdJ2HPVP7m6Ii+/po/v+6prPcdK0rZN81OIdbRk2hj5U/9J2iwsBsWtkMZ7VluYdxI9QQOQx0MpdK1Zvi1i298jOMylgHuFyfrR0xwFdm0f84RAfokoknNJGFteDltHARPh5JG//EkXtS8hlauTkW/Q5s0tzgeJPFL9y9EKIXkOdB1sFexoUbhRbURiyibknHHdGYoQu2yMGrFHuMTD/T550+f+TjcZ0uUcfWVfxzuYluVGAnSDl8v0ufiJKWKRz0HARFzmS5DzRIO0SsLcAQ6b+vZ5Laq4Bbu9Jp+hYv0txAXuOfkTjPzt3OoPm38kLzQuBmjYelBPdGO/EXeMUD+K8XoU+XNG/Kj7Iwp0GqIbIDhvr63Kw6q52kCaguxm6I0awmrKMOjSvJ10EvT5I8Yqup8Ks/KhSZcpn/i9GK3HzxS/bmLaVsmYjx6yAEcB/bu5FEqOqUKt4lfMYDqSPgx6wrcPLYVyhGuRTEkbI5gO7xAYmvLhAlhWVYdMNa8KP09Y5E/KlK2ekq+Ouses31Qv9oU4PgTcCBsA18q4NvpQWTNTg+L0tAh7izl563E3VRSSw44Ujp1VR07U9Eh2fnFMJfyKBx9PGUfgqj0v2rg6oNeS+t7BCM7erTYPlDXzjxn8R6WM4QrVwsgjWjvGqUVyheu/+lIaOvYEknuSJIdcinVTxSCJGhT4T6or+rQ012qwlva7ADN+dO4lhEpRTWp7wcHH8tq7BetS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0" y="2514600"/>
            <a:ext cx="8785259" cy="2945687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arnings Comparison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he 8% decline in earnings was largely driven by EBITDA and D&amp;A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219200" y="6172200"/>
            <a:ext cx="16866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latin typeface="Century Gothic" panose="020B0502020202020204" pitchFamily="34" charset="0"/>
              </a:rPr>
              <a:t>Source: Company information</a:t>
            </a:r>
          </a:p>
        </p:txBody>
      </p:sp>
    </p:spTree>
    <p:extLst>
      <p:ext uri="{BB962C8B-B14F-4D97-AF65-F5344CB8AC3E}">
        <p14:creationId xmlns:p14="http://schemas.microsoft.com/office/powerpoint/2010/main" val="32366658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Profits from March Madness?</a:t>
            </a:r>
          </a:p>
        </p:txBody>
      </p:sp>
      <p:sp>
        <p:nvSpPr>
          <p:cNvPr id="9" name="Rectangle 8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ubs11WMMKQMWY5b07L3krsaT20JD06MnQKD5tJA2hZ0y8eNH59O5xkHMShUFTOWejkJCOFNDkvRytWtY2nQeAAepWuOKBP6wrgnRYunVhNm/kp/EOUTLkqzvL0HqFGhnn63pir6p6kUERCzjzjrxn56RTQxbmgSZXF7m1Rj5kBfdFvOdxOfBkDS3Y6mWG/WkCZAtA6o+mFSv5QnNV4nixF7q/s43KbtQZ2e6qYmUzQyxNavIaq+uj5eqO0efZ41Fj1PJePrt1WRqP8S9/Dj0/iveIp7Ng3Guy2YZcYB0EusWHAulsXtCvSAUWDcWrQLYOkEhF1NxIEw6SANDvyoZgC91apXttmW2274miCwJxaeL/4jnYA1YDQZ9GzrVArLlpHkv78Ml/UROFWsGUxemnXtKllh+f++6gO3kmfSDLtTLwzVKJD/6sYH2M1OydHHHOmGdnvQwIAY4cAduLs2Eir48sevalPplfGZGZxVo0qhbRh/aw14uh+bHeBJbQbMsVTjc2ifHN32m5Ak8AX4J84qCWns1uBHqqrenPUeVohyprmTWPD9KEce1TdACSBueya9s35swzotTYsV0S3peCM0GzfW+53l9GKZP4NEUZ1VNwajPjLHIj4uO/HmbtLyEL4ZgugKJbzpt2VrzoJyPUFcl634OoE+BSTZuZJBEY/DXZuHSPmLMEZtOvkNQ77o/NiXROu+7l0i/HrR43oVyZWdihz7cOsiIPB7g7QUg9sgTvfZtqoZ9Gvu/+qlpeOrY79dG2H8u/ef76Z3aS+IcBVK+WO8r9QEta8nAQPAyg/0X1fXK5OxtkpQagvx2Fnb1N27hRkGa/8MDis481KkQww10P/QTHOCgc1p3bZyHSffdbeqst7zKlAUqpyzQyqQ4yaCu6+0JBhIM+34xZBlUM7wJN8wLi9jIjpTACy7+k8WYo7dUgqXoCh8nW5YKoBW6jmjPrE0MKnerg8ZOzdKuw16iCrcZcGDq2gHBx1TAyE32o1MI+v53WoSoHh2T6be6izrCSrXwf4rYE3arL42dENsfSnSrCBd10o1palhU0SeNd5M7Wrtq992fLMtcfQD/ioO07YY0PhhnqsRE7dH2OMn74RfmtJnF5k1s/nWRv1ZGThnygcAqc+Im+QJ9wS83UTlgbjq+ScKkQuSFdV8Eg8E2y7tYp7Yn7b9ju0F7vm9SsYlOROjMKWInvocVbmWEXq19Ke3Q5LiOfjjJnestwB+etpHHUrpimPGopoSClfDzGipit6Ost+kXbBLh9M7v1oS2FZuyV4Qh5yl/S3fItZEF88EtMGRRSUbo0C+8BBLr5AsANoiH5VaCrewL3aWLOphuuHJ9lMSN5Scq7W37hyj8LNkXMKzr0fR1E1z0ZdgUsMr2Dt3iYBoitPrOKWZgYTVNq3tKjUc3htC6GD8PEStCBvewNE6mn44CT4zq5V33X0nDScrZ7+BCse38IrJAFIevgbS/pLdqCvYiXKo028uLaRT8+XaIlfTuYM9ACeTzp/AQb0BGCC4RRPkQ6xZbLv0/BNQG0cI5vwP1jNLOiG1e3+pbojcKvIpV350UTQCGwco/kOaP8Nk8yL+hI7+WvnlSjs6M0lV0Ix0R+v5HvQ4XOrRr+dDMJFKTwsMwZHPM5GgG9DkizRR9WYOsdj37d3o3/wBFUg16rHDvnAVCsvH3eCKlHjNwjzzJj7Mtbs7Rb/lKrQVzpOyGZxHOVOnrYvqLL15d98ZQLclBcWaTCuffjKxoASae0Is5+J2hODVb0zbfP8DYxCz5C9lwFgC1rhOuR4BIhFZwtVkU86qYuB2bIj4BpINxVaxykjG7XYVi+sOLVZrh/uxXLo+x0hvBxYKWaR64A2J+StEft39twUh7P8gF0EUNGPYw6UB4zjtIF2UTojwuTemt2Gf7vN77HYP3ArlD+SV8BJGHBOr4mYaJkpTdlW1tMcDwnnpBAynepInNXGTfoP/QdPrfYFq/W6Q3La+83wjgcGZ7TaKXTa3qk4PbfHAShWFKWkpN+q+vRkpjIgVwDg/P5IM81KiSqVE5Qlkpol6HbHtSvSd4oY3hHmOuoT6hlniHClHIsRrGMp1A5pRbJ8o4CjUHKFpbLIrjX2qoEoDENUox55qWq0eI4J+6U+loZIdN4iN+MlhhKCk0L9tptdDtbBjfU4Bm7i42uFNA9QbOWHUPhs+dYq8OQ18HjQK/XiuQqul9vy1wXQfjPfuE9mtWW2ye6zW3SI4yawQdGwyhiWfAKNsHn+wu1ni95p480ls+jdcJ9OlBuCik+JgfTB0HArDeiV82RU3hnlzEx0IO5rp5bWKFbCyxGWtSPCv8OblfKnYZ66qGRWffwn6bNoijoqfF1GAlFFANhKAfNyvNxx6owEKsHr42Axz/Lp+ahXnBAXvB9LqDSExbvfuJ0ZKkC1HWXn7DssMiiBQk0Or09erqsa+TbmMMZ0cMmz84OVQ93BgSuB4nsbmOBPWIqGJhok5liCoehkguiIhhMp+cIp5rERJBQpgV6BwvA4qiZgDmlfAMHztsTU02FU/qydnJkERQLGF7diKps0zc+OcSdCtc/hFvtCx0M+Yc3hkpWlFkMym79NbVVExrlxZjc072BLKEgO7aCtWeeeu4pWclDAgiUQZmtbkygyU889dUu/xAp4s+EOZEhTM8cRXKZK4G8MoQOLtkPtHJ+XypPBr0t6sqNRH4YoP/OAvp7fvrbhHEh8QCKeOegxxzH68pjsHcsXUQsdqr6FOr+Py3NyGQJExOaQQ7OiS3ghWSl/AdOW5PpHjoRBgcUbiw6pgLz8ox8z+VdYl8YVo3vM4LMcEUZDG73z9bY33e7ybA6InCW8l8f9ZbVIbMvkJInloqToQorwaWMuyyA8Jr8FdGHRoByWXeRebE6FRbDI67llYO94D6wpqNOh9mr/YkVHBe+eCgR7m/3gY/U+pKXz/cGPLQHqfIPAZGjXQ556/zpHPDAgv9jVzOt7tOU0WHuh4bZjL5BCKhl07mZHc0Sb7+nJ3mdz5YtkrNUt2o65WjR39tnE+iG0qT/YQJly8dkLJ+hr0dXQoy5CmpBktgFzJUsh6casDn/PPolW8co8RIq40lfTEw97h8t67iQ+zAJywAf7JWIOA4IMDiPrqxOJ1bc3rA16m4OISlpZQc4fFLkqDk0vZLf/JrKlOZ06iwLscG9WktuhyuDEnlHs20bD5MJ139D+kuOvcRwJQ6VTd6kvfVkCTCor6OE5MxhHR6s3D9438RDpzeSDL1w8l/De/iN5Z37m17FSEcUEx1l2V2gqFp+NKbGzmSbsDDPjV0c0D626E5UzacUbeA4inVPsSbW7KUWbjscKfaeSDeiYOTSExapxxawJJEeeqJEvXzdbAwCYVwaMjMpHOXvKIKo2/BJpWhYaMC7gnj7TIkOeuY7kA1rK2np/PX0pmGgAwwEaUNlorcHuEXNcJ3/k6El6UK+sT+a9EcJMi9HtiiWqEvcwXmSdZ/TvbFFNmFAIrjRzJJUBoB7Tjsf5Tz8bDVTLUdFQpXOrE7xN7BKY49Mux1AXVHCQyW6cw2kpq3OU74zbRLfrFIywhR6AzyPb0L0X4Hf5ZX2ao219c0/KmsziliXzlu6gmLLCDy81i5ZXDtav5s/nYOaKT4i6rDdg4jmPgxwvuCvqBZL8g7GAGkcxuhauejsrcd9LDy3EjKrznmOghe2geUlE3KXIUcBURHXTH7gUmqnrYknV9TFm+14jKKgEbV1S24UhI7XktOrxE/cjp5REo+DplhBZLAAU7IB62OjpWgJgfWhhqqcMrseAFMBqOzwoQ0nuay3cvZypH8p+RiE2t12E+7OQ4CDGj1WZRJL/tE4rFtLf81sdjQzEUfQn2Qsk3tSPmwkn6uh9gyKSBvCoAEcsZKiz5NRc4kTinmV0/zBILUM50GX7v+Xy+uWqbipEZ6VWwl7oWcEQG+tLgs8P7cOkUxKAgHNbzveOFriIrlRR8TQnDCMjRoyR/bGaXKfHYqKBzcgT72vudeRXBsORlpWV9J7ylQgSz0Gh8WqqnrCUQtNNNseZZrOtmzjp3BTeX3Gb4x3y1ovApZqJ9/utT5pi2aGEsWbGwbKtRxYikjMt1xfTPNFf1ga6Qvj1jjPahV8jpRKrn8UDDhGcIkNPTYUbtcaB3NlwxbuXdh7JBr+50ZJtyvn3UP/TTU3OBxb1GRqFMtYPg/9y4uGyW2kHuLoHqNE4O2vqvO46oy11ND0rEfQP/GOQfE091qtKl/d5GBzxc4Xx4wnL5+Qzq/9I/6kWNOPgGkZ6GfCh5W9awsAN2V/JELgGn4iuh1xd34h69zDvGCzoLMTHO40zn5hC+yzoPDbLxct/NB4l1UP3Vr1GSzqtVH/+53Cbt6gbMjryH+YM6SnHPRWUclbJM3X/aQ5ZZtBd0cDfnsLTKPxqNrtQHyq99AjL5BEf2SBaEY7jMvULml9qDiykzUyX6wSD+sa97JvXfXG/o7tHk9f/KwjGy0zvOHIwjATYBATQjRvg5vkc/EixmALWKWvC9cNZlW1Q0YqjMGSsZMSfbfRM02PpnXH7W90bRSXFmwJPggKop+K46/n2MKDbWitJWTdfIO4F8vD/xQ3YVX9ljviu8q7D0KuG0EEcg2EhMQm51nKcgZ5c3UZFwOBsnZ6eR3wSquPo1H683Bc04igXqzI4TBHiWqN59bbzXtx6hOSOfYCkV2l8lCGAkzSAlNNM5FphrZxSBS1PtCAqNNFMgPtTo+x4LopVUqsOz1JsnzjZGT1LtB8o1VXp6uA0wgW2NiwaNZlvCsn9xwK8X0Z/yRg1ucRSsXAqNa2sTji6DIIVt60DnibBl4Pf3AQoqb5I94yM8KspVvYMAhUWBPa6ys45uHSlugatMJF+q+BjbPCgWYbkx8Mr/J0JfMbNgXe0vUqA/3C5BuEKQywqJGc/ClqDchcDIWSYPb72Vlw7X6y49wTQ+kAAt2lNdt2H6S8RabiVvIpqdfik9xUfgPxuQ18jN0qhIkNnrDkIDzsKgcgt7WX+4SXTIz604tUTL8qdy8FpW5X1p5LcaxotWQUvs8ErU3GmC2P6KCqtWRzhE1CJ4YXZx/4xYkceTtV2lZ4rQjPiPS/BpzjN/SEGpAAdRY4myPbrslbkMPC1JefMY5Kq+1moNcw+FMwerVUgIq/lhDSJ7F7lN5QBoIxNtnh0z/mOKXeUhZlmYiATnXNEXG16ffUgegvElHT0N5qWORBHmR8j6I1e29WVP1Cd77OQWkyH+bz2O3dx+N923ybw9xmJQnh7MpYKosQ0uYrpLEjBTOI3sQg+SoDk/Ud1iB85jYsbYLwOljF/BcDUlk3WRDGawQIVokX8WfDmxCvz4z5JXX1zBTnWyMI/VAR0z4h1TQxo7XZBBdB9Khpn8WyB4RV8trUhpjqGOnsgZoGQBbz8y1Qys1L74f9bQxh7mU7d/noFkYCORx8C84j+Oimdbh00ayzmtZaepR/57P5ZkCRdnGu6Ptr6/EyQvUx+sitp+oKgJlxTlSzA126bvd53vo7zIa2eYxNeF1DVGXkBUXby8AoP/cSYX2DIfp+MdI+BKcWdP3VnchO/8YEjeNmVNYD+AzJy4pI3htB0E5nIlJSUcG5V1XMn3bFgDc/3xACHOJZH7nFc81zVJTxOTBg1d67RX252vznMn0ltHtnp9TqNZUfwaNZI1qKZl9IuZWjchGzuTzyxA4qXNhYlQAOFqReh81an+xuglcxtM3CSlAAdzdYwx16XIuN3beBU66YTjty5MFI7hlwyYfjuq4rjVa5sxBIsEJJE7wEuhHMbKqoxi1sGvYRjf5zyGZ/5PgfL2MgtVBHuj2ILtfu/6/EWFKFhFNOSfCh/z2Y+cpItWiIb7NsdzJVy1BRmJgLnTgna+DGhV7sCj5N/oBDjeBNy9FlJPO9dXwsghyCT5LV+n2pV2tnYlI9KbwfSaz/SABJ2d8PzwqofsM8sRDSBeAwkXWu8t+rwoignt1e7Do3l9vbZzpesmaaqMvEGNdcn0CQpoX3vAOpGe/xieCq6EqITsAPeWbIqoawa6UwIz1hAuUoh1hFyq+bUM7j3VMtnj67QfsXbuY6RqF8pZHymZzOfkKktNsLhA79fwJthWoCdC7PUv09tiOrZMBrZrX/hQoXGDkjp89iAAdmuRzp5n/PopgwGxMm17xu/UZNb9wtnYOrImt/jXgUyB5svI1RhpDZTHAVyuQh+CgdOCk5P39dEDXwEHi/gOVTKMOfLCoStDkkGZwvFa8cAi00pd4PKGWwUJa7MgjKbE38hVobl56rclxxnZb4XpP03gPigQk3IwQ3aGZEhsgS31870sLl9Y0JFWCPrdeUFrK/1V9n/WMoo2ZwiZWW+4Tz+hiQf5sOfxJY0u6HcVURKQXokXcX3ZODbVKWChPdYZmj9R7DOVYxyy+0dTAcf5qCVjlVyUgnnMbwxLRE0fhs58RcqYUXx2q7KkMhQkMjzvYdN4TiahO8ao8JRebfvCuezn3jHR0ug5uOozvhtwU/HkJUIYMJJI6Zy4iRCplxiScTc/5K0aNCm4ORD0y7dX6G4kYN5zqpMZXWHIiwW2Yqb8/k27k1gdkG4mkjwiiQXteFfcq1NTzioqDM2g/JNDGYlloDsAQui+Zujeov+x5AV4tKVgIR++JupppzF1jEt9Ps8tT1by8NK+ud44hkJka+KpEHUkJHdc2zQWinu0fBhRh17ZHx4XmT/2XbiX31zqvyarf1UvE5ZcXDoLVcfq1F6MIh+r+TRWro5iswVNHAiaASt1xQmnWc0jMnhfJdSm1H/KOxY70Dqk2JeVoRV1cPHLgboKboyQIsRWsW0y2HVdYUoBGH3qnuXNKjYh3X9L+BlNd8tzGF27IwoJSIghX0FlYDuN+GgrQGQdYzKzU4SvWmeLHUyKIzwAtkhxM/E1AZdtTI+Ptm3Lu96GA2+nPYxSo4ytzmk6qjwpGm6TqgcwtLAF/kw9ORjHywM8tazZna9LFt+NVDH71bF7Us9cSmX8+wrYclVZWbTxdjMlMi3Xqi122R14lhmrQ5Rns38KSkGovEOZJOAbMZ/z+9EgJwWdwRXuFgeVbl0cmp+Z7XaMzPKNSO517d2mCG+wXGCJmYeVNUN7TcXbX1WTDNG/c+MJrusiYV5aPNEdeRG6Ys0XmKNMBO2nclvF3B7s4p27VIHU3JvXP213cqyDp4vuIbze1dk8W50TDEPdVKG+ac2yZ8uQxmfV4Ee9rlL7sgQBfA8PR+Z5DOdIqwWo3bS3DxmaYbfFHlEIDZHgM1gbClgEP0vJhdwm9xeHAqpJYKgE1z3dxC5sJhAl9cqcAbrEvi8VxYsAWAG18KFXMiRMiPFPz0MPEQ4Wyl2cjq1KlmBiHHYw/z+fimUnqTyNjzLAIGECQKe9lh0qw8tw1gIoD5/40C17JW/FJ//2DJYkB1y1MjPlqkMoTOu/rfeAkD3heBKdSI/nAb+IiAIJ+C0LsOxs1Qw1ayt6yfRZNiTJJD2xCGr5zBzVNcXKV9vaPD8uGHcd2kYbCbOak5M9DRM2ykC/+ySgjGIy+TpHFHKBiJ34F5In+VCCbC3nb0Zt3/1QVYBzLkmRTVYSNGWdeemKLHtw/pa1+wxtUFLRgk5B92CxlNAVTHEsB3GNMVDGVbvOOJWnE9muvTwMh0i0+m5trAN0s4bUdMZtkAqU2jfawjvsdCFPYMXiL+DH4dk0O5FGtB/azTN4Npxujm9VvOFt/VLNdUZBX/vzfac643kt7MIXPZm5hB6cSKGoextBoxNk06wWB+MRWA4NDP6uHymm3+upF1nyrPAaOH3aemxdVbvrt6N7GlsZ98KriA6l1Qxh4gUgkpT++C20DLRCRJpbmjY+GrnSFRQJ15m8o6MywhToc+bt9oeM/lKFw0sGArZZfFL2qo0k7qLTPdObBgDPlzhGEeHWh1R6xObhjyCVysoG7o+DrVz56bmNoL7ymYG9XxpQ5kCp7ziF1wRb8p6hmWTbjgTcC7BxLJKxM5wFSP5IRvebP+TczPYu2xLkg+tlVoj9anvQuuB0EuWCzU20VPRg0xUSh7B+3aN8Sj6pxwrNifA5a0kn5UCRrIDqdzO9WM1EZKvTr++eTm9j6eR8yX22bCaTXE6d1++y3Rzoh+3tFJJS2UqjyMW5vGOC3fdIPOo2fJqmFtDwP608tkD3RKocUgG2M3/4kiuWGXXcCcnKWH+i847NrvqR5yzbDRWDkrlnLSSBQq+r73iPT2YhatoY1em66VG3iRN+sjZM94YFnbN9/5Ehg0WQiOOp0EtwxIcF3mL39OjJIKruuAzGlzeqNe3Vm7B1eha0FoGdrUwNhxfHchhZvWHvb0E5vWOuoT6lLclt8RL3DzFg3M1rjCevLo1G6OCjlHn838FXn1JgMrWDLSvVE5jed0TlTQhfSjsmtOhb5dE7NvvfUU/i45BjewPsAolVvCskc/TER2X3YNU5i1VV+kVdiPrMFzF2htR4ZAf0g/sq9o/HwvHU8o8PakkGbXXhscy8Bt2SRiDo87AJLSLkRfTSxpQSBSTKUZ4zQutTUqGQR/DxV6hI5Dtjhw+qgNqhkel7CIItlYGotakuPv0CEuJLjQLMQzI7Jbn2oVbNMetc5wFbPhpQsyYxTDqXaSY9ynd/6T0NAvMT+bBRfVxvlA99mmQyiqYJ+b6biNWkBRGVxlvD6NlVtHSvusaD+RO3u0rKF4VMN5VOmzKOmAUpaBquywIi+Gli8/nI2fbSh1IBKYxkdgfvXO1h1LHNDA8crFkvGj9DxBzV+z8sJFnQmIcXDNdR+tBSuB/8up1YarkbaxrD6WHcCl4S1OyXEPfFl0Z/94WaT10fUdSeNsH3eUkOvE+OEKr1VBCBxx5Wkl+eLQdONqpvSp4b/d4+kV1MZcT1NYMYHcydAFg4UKRPEV8ZpwXLfSs5Te3rxUzMyFk0bh8CmgwdtaqtfQONt5uS7hcIS55soBV/otxoEgLlThSpUDyoV6IsI3Qbgjo53cND14dohWu6WaZxBmjEXMXkcFEJ/a4PM5hbheqrHon0dDC9As7k1FBrclvI20JXL6WZI7rUV/p6Q3Edoqc5icyozYwsUJIv6XIludK6X1O1x1ajWsCzDL5a5Idb+rXbzYYx3s1oENIsI38r/wfCOWN62KtiGRTL8zzAW+sC1W7T1Dl/okn+JacUfAIE/afXMMLjL5KvTkkSnzcmqsOTxqcJ9mUfiIX8+lZhp0KiBIUyEFpVLNfdBmryVHI9TXdOfeLXoPpH9WjvTu+rhnGoiuTgut59YMG+n9CIs0B3gg2/SrT3yrtsJ3roUtLH/GyngM6Yc3GS8km5u5Nuc5WxWZkk8m7jZAiWC7f8DMLepUTlPq/Be9CHeZ+5ZqQgD7dOLcq4K0p6D8lIa6r3H47oIIvEpLOjHDJsOJyDkHT/CxEGj0n1TF7/tfNp8dfy9xih1iHieqeClgr51KDXW7uJBSlAgRiWuZVxIvohlqM58hJfHvqo3vvImR4vJYsWNs3hs2K+ZdkNI4lXnobz2pSF39RjlWlOiRHe3LuW+QdAe7Jb7K7q6P3ylLZOAlclz7BwFhbXtuWTTMr4IUxRQzAozhYHIW0VqLkRkGkQA/ClUAFhoONOWP7MbvmAs73kV130lr84rP9rufaf1USAT0kLjfAQ0rGlr+OcXXU3Lx8Sl2zAv6NoBFzlCqGm1VlSaOQFSofqdL+7m9fiI6Y3HfVDncOFEmJmrqmQAhbWnxbHiVDIWbcP61Tp0HCnbALz2u5fkRyQZb1HJIBEVCY6nHOQVTUjPe3O/Onwr30OXG9RsxMWayGTRMpZjj+LSItl7eMGWTXLe5WGvFEdLKFgnmRpp9w/K3zkN2kwoQOwGVMsBRT1i49z4N7FxsoUkxIVKhedYwjC+AUEIJIEI6dFaFExnjL7SyTdM1JO4tV/gRgK5iOif3b070IRjQvwGlwMTsK/QngbMtzciAVabYgDapqc3j0sMwmiAYUlUr3KJ4QCx6yNFYU3CZN8qG+PLaXB/lZBKA/eDKgg8GU0CKnepl4vA0NQc3Nuwg/hRZkfTvbggApAflni8LzFLZXTUC+4MLZwtxsjSTP9roibANOJSxbgd0C6aCwGo0HPeXFSI7+oyZGPE4y3xuXf9tfpyJ9GBaV5rezqiB9ajDCflTbjLxyJvmWCXXVBEmUKZEtUD0DjSnjkQbEa5lvBUzq648VIBJp4LUgF69n6OjtxoH2ZTmFdfD/aPsnY5fGCsA+TyAJoXTUR9emlyVaOIACoKlbSW4y1y5qzk+2tE39zmZdyTkPkks/n/w3fNppZpHvK+7o2/bsDot47eDeUoQxKTh2WY8GGk3bT50BIiNrdrk84SIsq2yBj7ioRdzvOffyW5xab2mpFiR+2LOqWOxPyfIwzfJ18xti9fZzy9gpw7wwxdg9PadlDyd8EtgJuCBO9JlzSXTGNiHp0JB04hfjRmri7kzFKz7y+8wB7nNVscH2NjRUvsShQA0oRXgNjBRAVE54vLP/RRcHRMPkAMN4nXRKVjEGX5S76Zvw4gsFVIli0q8BPqUlELNWZMTjXoKx/scrPP794QATL8Tra+Y4lSDDVVt/7SWGLHvDbeswOzkTnxx7/usWLTBUgBDoCJT1lAZwYWsakGBk0+pjF0xLKXdQNrBq98M7BJJILl7A38sAxIOMHbB3jGrnO//wmEmGwq0QpuRYZqscDYRZLUXctETBNtxaSCroZfEs7B5Ly++Q7XULQEkhWeGDEQCBJnBKqcGWyMkyTdr8yF8KnLEsKSYeAqmHcAsLogOLBwb92eHRms/8dshEzdEx3GPTG6CtywoIrAlnEsxC52wxYYI2xRRqC3PQyhYAmTd8yc8WdHLiLTYzxW0aEO4/8D/rghVfUA05YyZmxH0vX2FIf+zvrWftPctQlcdYfWPv3saNPaOZKIF4fupIbOITYCfzFHvINMsfPx8HZjvJTKr5Qb24HZ/AzH9T0n1KdR7zga0Kjjpw3wWefrIaUTsHWp9DbmKGtQkfZc2YKkkd95ae6FmBach7JhFqCnAonTdWihqLCuB/geykPnLPXw7xQSwKXZW04f28Jiqu+YBut+thk07ifck1Ny3GABLiLACTEVKcVqZdyhiAlIwAFep/mB5vw5orQylWOucurRs3JCQPVyUm3RVYLrmDCXumx9fomRSV9VAK7L4Gl/apDeOtCmERy+RpaiFwO+SXrt5lmh9eOSqj4iFvLF1VHqh4bZZBuNC+EM53ursBp6KEHwO7vbEBdZUM9dBnz6JoGjKD9pfG57gUN4oDtdct/TGBSBw2DpfrH4JnTJTzyVfFV+UWhmWGdekq6wnfpatZmJ6FBImMY3Zuikr0UZCelbIVj2z084IWN0cksHyj/i1dmavWjywxMY34YR56dPAo3xDWK5+IznzmD28XRUavOH41AkXzNbs6MWgOFocFkdORLUqezuItBMdmMFl9m9AdTmFfczxqJeibdxbO+UMzR9jLl6k7rB5fHvs+h0vXzu0IMyGm0v2ROgmShK+1SkRhDQK6bUxhJMP7OZLrPBJNvoQRJWfqjHXOJHuTQIni3DYJs4aKxvLOudAdg6YEkDqYDROi2JzfbKqL8SrBBTG8hUiF+Oi8+dzbF07ncQqf/Ki9oWGJQpjoYQV0dAczN4zFVEsU5ARO+IkeA/dwsmd5UztT5/Avy3a/vEh0nuaHyVl5gWClPAyyPMtsw1OyL6IEwggrXzdnrUHNIOmsDxCeHIyT/zr/zkZLLP83ZC6CEI4KbJvwUyp+rknWz0BlHfX0Hx3E+uMJY1jSQKih/DKzF9+5bZWnz2Y+RmQfEpD3VEv6nZ/xrEJ/fZei9iWOB6FKTL4np+DDbivrhxUJPv+EBQfbXV0C5MhLxD9J+fKpS8J0Jk+y121Iqhsnzsl68j5M5hTi5VF015MyQIKnFknxqGTQn9LJH+fZDbKCfHgFzBzPGZ/mXIlWVDujDE6RR3TvfQGS1ydxlbFkhxs8TuKks/nBWK7JxHfPwEdvWCD/c2b3erl6uJmAReN998WpaFVY5XKFYBG5x+LiR9ccbuR22AMkXJviFlWeiaO+UfbHzZJ6hIgytoXNpR2pY92fkbT25RzPNS5ZBwdjwvFcEha/K032qmhs0E0KauhDNh0DLv6xdpxCGshWieYLvZEr43GYDE+gVvURc/WPZ5UbTsvUpr4ijwb9YlIuxIAfQGub/hFHWMVkuqkP5GdQKEnTJO9XTUq/hE1yXV9hM8dFdqXFwE0/qSTwnTb22t7DBHYiAt9LPBdSSpeny66EpEpmUC/3R+HJ29uRMxEwcrhkBq5MyyMq67X0QZKlZdcmG+yuV5bDtQIaATIv/CMyvReRvFhigR12ofPyOzTE8aEM4IPoYiVQ4TekKwLXeGgx88MVvfW555ezmz03LWKp4HppAxpocnjKly5B3MLFsnDsIZ2XscKjm1Lux7k8i+3whwuKjoNN+i7rVHm2vSDdN5IoGQC9Ezfeb1SxmBMRZnvBsLR2B3JTgAbymDtnUWHtE5XOPpd98Lew/iCqqsl6Pnfb8x5IWRHMro/8ImMyhRiewtujbw9bV4hHMgJz0ObyqDZF7OvlaVSvzbFU22CPS8jI7GazMDfh22heJctJj3Gcqoz0YDwI09hzZ1vBkI4D9nqID9Zvt0GonDyNrB/QlJaqGA9kfiZpQaWZ45yOv6j2YOTsAHFX5AWQrf+vuVr7ex79pQjRLGW+2rkvBkM1YjyfdKeQg1wnQmdx3hMz/3xP+JUz1ul8QLxY0juP4asOmMgry5aFNz+5CL3bpnabu+R3nqbVvQwoUG05MeFqXR0zYnHkKPRXjSxlELecJXoCElgK7b1nljG85BPzk6AuQWBH7FCpjrfasOIyYbH9zIMk7rv+rPhfVdZamareTj61PZ/4t8R48a9jDDKywKT1Nf9h1Q1JDczT6xawuYd8rger5H76xMGE+9csYuRBZ/6rY0aFaZ6fXriZ7Iri2f9Y+YK+luogrWWCIqzohGyiZb52OFmWcyb7bLeMYp5zaEhTXcq4bPv7XHl4dv0QyzgK9NTuzbGZrUiEs6Fr7lNWpoIBh5kPX0SQh7svMsnsUqa+AOtWmnVOoMKOmq9RiYzMm1vp83DiTwwr0kfT9snbw3b15imfdEFcHFHYvjMJbCdNPxLnan4rSVzlUA1ee5FHWY2jFeEkAuHW8OQaidZymijCE9nfy3aUXqCt18rtx3vDaar6eOl6t/1c09aETzvjj7ld8grZqhNH5w31CQ05Hw6JKMASt4DBFrXA32TxA8suI+mLxVVkCczz0/+gZYzBA+l3J42syWEiWPhSSJDy5LBRgTfK7K35Fsc5/qWJ2kP0PcAQNCQH76EajafAR9wcjPNysofRAIiaKPUCez9kEtVW1sztiBw2RrDqRoazstp7BdqqxsxgjyLI6rvHzWPVS6PHb74yEoLngV5gnaTVNu0SK5CFmoSCTILk36+ZPncYzy8KqsJko42Hu7KHX6cA6ky69xc5m/vquC9bYyx4VdjraXpbLaodyoDr9cFn9hQdOJSBS/h2d3zbFqKam9IG5N6Z0Q8TNjKvBdgon+/Y6DncYidMi0h4wd13bv3UgnDJPeg+JYudcvR4OQkENcGqp6lmpspKhDqL0+g/oYwVN5ERiOpp2TrIVFgWmXMPaRfjTUajVz2ZnVlD1li9CLBZFA3WmOA/M30UtqWIQLuLQgGOdWoJ85C857B5xP5D1KAuK3zzHNmbpAytgHPouPDhXO+9UHY7XfDA5PW5oYgwsUB/9gOv1JrDQ10QAMLJte+S6DApDR5GACh/hxV01zCnDXwqYxputOZUdpLdXHpo3jcTdmu0fiq5hQ+EzxZDPm9ocRBBWuiL/YuDQ7azHfhPaP/3mMY5TC2j71hssyR6otMN0/biJIndcQXBHMeeeTMzeAhZOroSoctKo3ngJIUIyFjLvBrWbs+8zYd4qa0l9pEnorBnmod8VPcvjrSTBotlXE8kATvickZbPCasEpraDwT1iEjJYiOwKawaVAq1L5jVoVur3UfhNqDkXxX01ioejNflKfnNTpvqr0g9vRLx3/5gwTHDBE4Flf7dwnyP5rhwGqOCeRrvQqYDnPIctrHYoyYHFCm+fsNgW/ccZKUwAeYcaf82qpd1o+AxldB0PVaHZzUuc25RUq6X0/y+wppZOZ2ies+XMvcRCUPtXjBFCEp5iF9Piy2htYXt/iNVYlBMGSwUITp00cGVs7U/PAQYcWQ1rxzaMB945rG+02OXhoMF2g8lQUmR9XlJ1x3sq8rfvaN3z0mKoytsci10M5UIXlzf71iN9LOX5KmtC4uhJQlgnwwLOhdQ9hltsS0SKu3XAeeCmslOj/ARp+zN9cuM8jKEmy84Xj0E5axFtDzwelTNkWvdNPxm5QKM/eGUpelEVNjopgLVXJsSD5quhn0t79I6wYDB6miY5s/TXhlJQFMegSg1J0KtR/Cnf2dsUyHJG34Ua2iomabE1vu0yozKWIYWf3AV5BTuzHK1I2rgKgkUmCcHG4S/XC9zb1LaUjze8DH+6ND0foA0/8vmxeWGsnD/ERhwY7Gf/ZIBgu+dBsrznoYV1ZlncBvxwC9a8mgX2KLFQ3Sbp1KWF6zbq8Oqfo2SOtwUPSQQ/VsEQ8WhHJisgpxCtuqtHQt3nIXSjFZnBPiaghXLR9RcWOi6dQMv4ZTZLbtprkeecDVMtRLE7C2M9pVO+ENjbLJ59rSqnUSCKNrcPJu1sMcv10d1zPzzsN2Udx/VpAroCwcs5gO+cIuif9rI6bO71dZRIhnwdOo8J9FnZynbUKryjVepEJdiS9777gO7GqKzuEx8CV7JBXeCMZmegvagdxJRmHmoiQP8q26kNCn2GjEfsrRuR7GHSfdU56ZYjg1YokGDE+lr3Cchz5FPswafXweFGc/3tGx6EkDzKdcxqQqy6uRro5gLV2znRNHByJ6e9zp6ITjMXG4sS0dMfwSfy8xjBeqXs5melpFcI+U/5qVb6iydl810MjMYVl7rq2XQjtXViW7Y8Mbp1YT5V8vIsrMNMtUZwPk6VpWYezdIsg2wfZVcb2wH4U5C/RLy/zOTajAAd9YwrnMwwwxveVAEyZzdZvI3LHTery+0iW1w+Lg751NBoENoIe0Ae1JrLhFgZnTem1MEDhCgz4MTcELUQ3pd2RSyIta/HrMHqTh4uEtqJ0TNRYUIW+GFev/MOwgtBLNhkTwfZ5Ly/WKHAhq76Frg18PYyrGboUBY7rlqw2LZlu2V48J6/JBkfoQTBbsH1lXXhKK4Zfpaz9UbxkytRZ2vVspz2IudbQHYHrc8rf2CMyJycJ2plxr4IzRogZ9T/z6KQhWjcLIGgRDZm+mbv7SkXJwP863je0OjtHzUDAtfwLCQz1CyF1ESwhO9GvXvYp6X2q0tpbexXaLB28bErJZHclfNPXIvKcwr5A8o9num3SlQC82pnSa9z76ZBlviMuUZctkk8YGe79iHOX+ZS6G64fDDL8r9bDRALBDSqNDT4oPWa5708xNktQp2hPaUY7wWeEJsN5Rxb2Ag6aLV/2hydRStihJehjIko1kYb7LWgBeHn2J5HYc27AOBuh2YDklXJjkwGQ/YhiiUsycJIkdYJ1gwdVY5T2Gr5R/o5X2qGRKEqE8D63vLefup6lWeoaTa+L/N8ldteboij/mU+2/ff26mI4klwKtsqa2cKEsl20u9fkKBO503begb0O201u67a58zV2yCwWdL1dWUI9x6lhqfkuSvFVB+xzIwyVaZIf8VsMVM87SzETkySrHxd/Z/CSZIRZXbth0ZRlUDJUaJP5zkTXOWiBc8E/s0apZRVRmmp9sBVp3i2jqFb+GalSiBHT4q98Z4mMUk+H0KPu/53rUsTwu9yd/5yHOzB48gsP1p7Sb/65cGfzkIjpWJXsspkMWMesAwWPJjWULM78+sViD4CpO30aoTdmd8eudqsmf1wu+aoNi1xciXb+ZSfTtk9qTJRR2OYw7D4q7zzNz0YD8lVrcDWQJqTycmwjQed+/5hdP32aaxc3BpRjRZTa4v2zFhXRwlQPEmMAVRW0mULuK3iZRk1X/OqXkxf/toN28QrF2hrX8utOTZusXK+8KvrpGU5sWY/KfEqtAugkZfB6NhctYOHsovlkLKwmrkCzQtrNraaZN4k2poo7pHwfEb4ng1esG8vMHprrG7MZXsRHSo6yBsfjrvPjqBwUDKz43UtJRgn92QFI/R79WgVUgK6vhnp0lYvWjB6hMAavhWumJQj3vs0k3ZyrKJoV735c+/1CXARG2IVPGf1Db0z3DqpfgDfKLhQfewbj46aqLUMiTMl2VKyGFvbhX3fB5oKPG0EgqOMLhXU3PAVIGrBPZ9TC5esS90sQSM3FoidEkLtEO8GP30UrO87I2acjWcEgrImvlbnlFPw1snwaCBPeYPBnsjoSx3YBPZJBsDH9GPmkiAgdAOKwrXfbuz0UZoLJfSc4x43At4Y5W5S/GmKq8pg3E60vrfzmbbrGhpNvMWdoFvF4CYw8nFsSbc6YRxl+ftL8jCfPORA3vk2rIJsR6yrfQ0CsJPCU212Mw0K+tnsvoiwWl4zognOhvziCWYW0ai2WAx8ycsfcRAXEA9Lu+wvMv+w1o4u+uc4EWJFHweVzVloZ8ZYiFfEVHCsG3aj9eeqOhWMO6gmkRHS9Hu1CX/x2Rb8rrj6UGdpTkidphPJEUuYGQir91hWURp8lHlDONhNi2XwBMzo+I+3NEY+Ns9WDb4k3QMkGNtLMY54gIh25HKCWswGdyDo7wPy4JnGCeeSq8sC3DmXr0/37Ym80gza5HMFDpnM8gedWmJ3dIlDrjy3P2oe3FM3Je9iQKXbaDsP71a44SKIxpx1Fr1SzmFq1M9K5yhEKqWcFeOa2psxhbVzMbykstl7nhmzEpzITL7F3nvrrxF0XIbsQPBTW0LrTH+/FB3TBf8xr3NnXaCabiZ3kFqJA1G8da1mwDGa6cxxSgZuM3dA+Q7PqVsHpanTrzxtCsIWFlHfDRliFgMFKEiRlXKn3/OEzvIaf/r6xCSY+yyhjxqx6MRN5RbgWgqP03FY2Ddelzf8o3a+jkXupCYlK8Axl8BUkBQDShmZzZL0jhR1hjyGWYSMMsS2ZifXPid1m9rctUHT+LI2k4Z6z+kdCtxR40dNrzmIB0xEV/bJwmWHmaMTOmYvS2H6miP6x7IZ3B4QIfdgUQq8FDJTbjUJrXeUw8zMbEq0Zu131J8p37BwGWPddoOpqce73jAG4cDit4u9LSgvIsy29ArtKeI48Ilo+oHHX78oKJOLltwVPBcpJnaz4wtR6xc5TnoThoOG/aI//LU9hgvUgyFfiZde0DHydJOscsm4rVZnKFdVbjy3+QZ/8VFO64+pToKM8ITgwvXoUB0OW8/Vr1odNb0nfWR7KQoJ6Pm8t7r1eh4PwHfNHCtFMt+HohCroOtMmyuwOptguEcgWtcsHIjjPsfAvW2IKvFonrYYgiIaXNqxmLAM9x8QTRhEia4KspBKpmLR9MW1jaOsTpoN/sgclQB1+LrNyuKBxZ0IQdGS0Caozb+B2VjIIRTb2E2LDRxYNr0ipFm0yTiLupP12XFHuYGaYFSAfMmoI2/InS/pSnrPSi/hYO97IWl5xU1690+kagbcBaRwlcdRaw54yMr/Pm6vVBx26EvAUDrpgL/BYryXSSNuYZ0dNNQROeuK4OAC2WJWbyvOrdH9u9rcs3oMY36T9RSwQ2vRXMNEB8guSWPEIj2wzDAckS1UIr+xEutQwGezjUp9GC4EPSX5hOwL6OJI6ap5e+bZ5mdbRYmK6d+D7J/wkh2jtnF5NuxZ4LHDT/eAJ9J4DaAPeLiXQJIgqhGOAtUNJdXB9pI+JaOVleFvRfJjhUK/itvQu28F2Sah65+9FTBd07ydBAwRfcyncVgJSj+3eeYy8l2s8YLmA73BtQPwSytAZdC7nVOIooVKMJ5AY5SM6rFT4lkExr35uG9gh9mABDr/YNw5vRLM+B59+hqWKda/2YKy585PGaxussvaz7huusPdHLwonIqwmvh9FpDQzWhld3DQUt/KReWRkgz9z0g/Qac4vaUS7sGCHhBY5AQYzkACXWNam8IcGHV5Rlho0+vxi9jqtZ9xrAWw+Am4vPZ9WfNuoJSB9KaGVNB7COZoEEz0B3/DAJsuwR+x2m+3wOM7/EqeveZfjF+0xXaR4/odPl0UPWh+0MUfMLQUWKdFS6IEtTb2VFfTlwSwNXKILyF1v0VErLRjonCaKRn/Q8HjA5qTIjv7aFp0f2LCld0cy5PdS8bfs+VyNdLB/8IiWG7DQdP8x/69Zz1eu0bD2dFSZgtBC/pf5/NRzIs+nM118Xa94zHoIYBbzEyaAHLO7biInkBgJHnfaiJ2I0d8h8eNvNAnXTFa3FVcZlxvfaXPHNOrvC2JcnN3PWWuux0B4kGhAy8+C6pT8SfsHrGtKl9bio5u8Mn7iC+uWGhproBxFO5SQZQvvUq+bFUkeWkoyZsHqnAk0ZClIcPKPyamGVjA6B/1StablMEAUHzdXHC1TVhLqJqdlKR3MBkAutGsRRyerUDRHjgJ/2tULZbn1n3Tn16F2SmjCz6hmfI6skIdJVD03DERYX2lr4X6D5m9ilozNNNwUjZ/8+kWzI3kAqbXkfCL2w+7KclpwN3Q0hAf5W42A6iFnx1pdhA688oUT1qXRoDPcStbBpOyUl7F6ig8pHH9LslMttNIBRH/c4DOcUwUnuxmT9N4djhlXGjGdpcDb/GchtXyvzaXdNHOxnOpvFzq2jEQZ3BbHgQhC+gJnGfOYWI/i7GnV4UoH25STfyzpKp20wn7L5LXIVj2UIBV9alQrF0Lpwf7xl54BJe9oQQlLgD8JvldG4UorHv0ps1Z/qxxutqBpktScvQGEgvvs+m8VwNPqBcE9aRQ0fupKFjflVKuuTbt8hLmyo0QeCyVbSVkNLlU3qa+CLAGjYUGdZK+IB94PYxK54buQfHL3In+IzcQuTCT8ntVRJ9wXsaB3aiyk4Ow/D4B/QC/texMJa8qaVS7KKi6/mSBCjX4LcEAedyqQdpVfVOlAHIcJu3KEK7Xn0Kvvg70KvDTFrXYOV+GYLv6p2f2luImTngvqrW4ztlddeRQjQZgjy/yA9r1Ub7jdmawEVPMBOPr6Zqo7bNDPT87Af267sGSMBQTBkZn9mtQuId4nodJUvkqFFfMQFyRh1uo6sJ0z+VkGCqlvMkJcGkkwwJRKQoYHu9P2pwzppzby7RuwrX5XN9xYhTg0ftnTLMNr5sloO0XYlwdB6QQrMjnP0I1uSJc7Brynajw30k+71CfZhgctc61uG8HmjEsm8Y+cquJIp6xpNE/u+xHlC9AqMKwMJPF7yYkklfD5PhiJr9cvtDsO/0qztORnG8/OpxlUp/w2CuukxOeB3iMemMf1mDhee9F5mmDragg1g+6HDRFoxpd22eYN+ExIXwkBc8I/SJdnrMl+qXJVEJmJnyFS69VEsCKCUdjjS35WHeXjuARuhYSKCMI90lOdHD0pA5by+XBnkF4AuhizppSxIeE0Ld4Arm+ZFYJZRjoYsC2WYbysprW/T4X/g0gDZcEGhffsalvSURxTowbI1OITqux3FovPJ49HBVT0OkQvtDuEAf0vgH86rx5D8Un22xXt35ot29vYiuAW97MdcwbiTU3eudyleuqb3sNsGevENsjAC5G1yUsV/7AmjjrYbxdpQDzt8G9i6L7Dsl7rtPGnMjDJpUzCAAgyWYSqc1sWnApSms8yuX+a6cPTbi2kpH/PGQ4Wotg++n4ytN4MzjyQvri5n82VCELyINBet5EG7aNxM+fAlh7ko8FJDqV1DtoD7yC7V0/gSVel8pRW8ybiMhv4orqX7/hduGfAgG/6yil7BC6wUqfs7VrLZXoVyZ6Ml//T7ZZDyO2hTyDX4nYMEMJ+aHKInSwj2jB53ukd8zIm7XROqzoDN33ZWWL8E6H5QaIDJwjEsGCJUMkpNAOuhjnvaxaQqQRj1y92M3WvIR9B6Xdvg+pgs++qCkHAFHk3u2LPRo0cHFUYWcMPXQrvntbKy624QJjVihFcOB86HlXclMQ+OFDMVBq4mAY3JZ2VpatL2/gVWhFrXMaPs/V3rzXeXDDeXBS4peFBHEX3U9/XS3BXuNM6GSB2oBGDlXY2FcDiPFsYwtf3IlebEjCoyvUeexfN7mJQfp8aigThzqswuSRxKxcqb2JXwJfcSUvJif9kTWPb2+7iI4Xes8v3F8LLCb0ihCLBjoMauMJ7TdjoIxDb/ZibtomFld0jHiSPWRcUOkk3F25DhBcp7QJvP63eivrKleBIVrOrkNoOMZZj0B/96VMIk7vuomq/7LAPguULgQwWeK1Iw/pfrI0bgbR/A4JPpBlJf6qADqVzo5pXojB+dFQqxsWBIhDwrSWQM119vP2zvbCojV0BiDPXYUX2B4DAWuzQV5Ym6m4LtaDrk5vx7GfJ0SPSyMwak2on1rDEVZTI+6hWtmmMYB2fxlp1zjeIQdOZKLTdGMYDuWa4Ui2KHIuuA1AUB6aEtLWVG9wepkj2S1FmnQIMeV2mSpfIIG8hwWRRA3W92Xi727Hlb5vIUe44cEUaD9unmQh4ciNW+3o3URKJ+rf4P+fUNxGynxnt4t71nSpHuX0volqjoNU0+8ExO4Rg+L7ybFWj9NcL5xJ1lpbxkaezj38kdc3cmq5krq9K7PCK3mr6rFPp1SWIpJn4iViw3hpqKjinxaLm+MSwFWRY5gc8N7Q7XApwElnRXItGnAXzvtouXoyO3aZIlkD+ONgGoAdgwox/VyO/IRXPhh8i9Q0skpwtCF8gH9ms9VSsLOT+HRG2LU8tpZpTSPCozTWaQOjBx/0EYu47n1LdqDjMdCVzesSMiqoA7dFvNHftoP6KKNBOEdb8xNhL5/jI/HlMTtwCCOyh6kITzJW9dyhpzk/kbLtZMfh6Um7u1HwlWgjbreTVWScdXdrk+Ae79ZDuv9tYitzIHbzDkFbq4BUBbJD6P5B+AFtYKXnjDT1Tykid15y1Sg+w4WmWg+WEPIGof1fQPANgedcJzwlCQmo1jOj9UK6Nqr83f/go4OuO633REOvPOCL8mYHLkfv5eop3XZH6aeNTVKtZ4I7B032qlSLptC9DDKaKoQ/2vt11j+KNVbLAiOb+jLYorpUhVpaiJcUVvQ260BKfXq+lMOiFbKU0thgZqhVz5TafvKdf3lsddbMkwNsHTfX1DZnO51zR8i+kBmlaSMMr38gsAmgOTodDRqod0IPBGhyH0HOFIjlAELSxucu0nlgQ/BnLfDag/rNsqc/X2lfJzfHldNNJfRqpmXc5oc10QEgwBZWVwIWPUg7YrEtFlNgbBvn8qXgMg8rtevMP9YgC0NVxjPS7tos1+uCvNgKbvoXXIKPWTHNkueHvX5TFVghDwwvyhjL17v+cwYu4UkwZvRPgFirlSTKtX30FJ83SUSzsvggcaqe/8OhMCsv6lJoXfxegUMfyNjJtz3N+sYH+3pjA2dgHuztT9o1qj+c/phZr6c6WEMqAREJSHW0Yb4gf9q7nocw+JyzjoMcyIFUe0M45OOREEgalZYMuTNgqP16E4MLL91uao4s+eRT9OSaS2/k+GpqNvOdp9v+2ZSFfzeCG6ijfBY7icX8xNhAJZ+JhGyxxGyOOX1DY4ikssgWmM+ICsvWy1ksvIA3ywJNyMs2oqqyZLOYtMBCqYLvxS32zcikOvhB/ME4g9yPBF/TZd9XxHU33xagESeT0u74VrJASDtT6z09tAyfSlxaQKQr3nYWTrXRThHXRgTDo6ug2v9iMaoZHPY1g456q6996riatBiN/CWAt8mBZLXlKglcenLNOJ5zo0+O/cljyG1zEDBJ7MQ/BLL09ESaTNkeYgUubOJzV3/w4YgEZFzZejs9Xx/FMy6MSh5ZJLpdissOZirJ4DQQQs+YahmJGbzx/eBuPjbX+61PkMl+bKRcKXM8Mxi+O5mAAcQwjEWePHRuArw5CBk9EKOpYy6Zuc7wjRJstdhbepKMBCeoz0Y4/aVOrCWPuKHRbLoFOCr8yh5+A1xUlqEwvTA273OygSmBLuXBp4ylqe2wyhazpcd6qt/f4KvdCaMyDqTDyrK/ZlzuxLgd35hhMdUy6qyO0wIriEoEijjHvrrNPAzyPVT/xwsR0eEda3VK7KomfuasSz2+TCOdozNvyTXZ9Dey5+LH2o1Ur0jqjgpQCHwa8Rv5ek05wLSVd3T4GRm2zJTZKo52aliz+6DOMkgCMT3+hCm/JTabit9sDWUT99dxMsMNpaZv6Y3B88SwfjHogqGSTBBEpHZrfmK+9/BqvYE723RT58h8ldMGsp00gvEfcvCYUZStG7kw/5AHO6jLozlTKE2ymzfqcy9seWCuuVdO9EQlkMtBeQ6GyVR5pZI/O2rvuNOf1bfP31TRiW8RmW63kPKT8ISqKSqcStNqBNkbPrDjlIuyydJBuT52po8hmqzFm5URXxqIAGVL7CpmS8IlbUZHacUYHm2hMgsXF4MKMO6mmZz7CMbbVkypm5inz6B3IHCRB3UeDBnFOSL/9N+9u+a0U4tK36KMUfcHqTGjhhACD+gHeyiWM4C8hUOrObYbiCm5yLDdpuuN9zjaUe6EQ/UtnmoO7xK1vGQeT4p0WvVjWqsBuiq6+BbF+RzwiFLblcTE06/Xm3efdcV6E+UOvGdAsPoA8rhgR4Pv1t1PB/odYQ/BElOzUGr+WTHfBizEPYandEUZlMaPYI2z9Vu+nSOVninJV26B5sX0Zl1cQr4kHSLWGd73XqWkQKlUxPxc5jmHIV/jg18cOtsLfDQvUTWY6rqZcO8ZU7QXOZYVlOqfWR7xztbMBK0YDHEY5+MrDQZyDBLpuR1La1bHg8PCUmx6B/jaB8ndx6ejFXr3LtfJH3Qxx/c+7dJg6Q8oNgrVn6nlp87gBbC3VX5T+Bc8/xkrUtrPV0YHi1sfkQroejLPovN6/5zo9YIljO0wkecyCKzn8j0z5hTgyrFpaY52s2lUylao7Ylnx6LThhcU9fBbZNOdfOyhWfjRzGxKw3X8F2UKwsRig1G1Rc1K6wyqaYy+cd1qTRYFKIjjp6oyTcnUxHX2mPDGsH9j3XzS8uxsppZrNeW0fJIWDEwJL5Bd/lWNHelGxOSYa10NdAEsbKiFLIC/TiEbpANic+9QU22DcC9xeTvN6lsB2t6iCc8362MVnZ0XwtQ/7Zq0KQ4RU4OZra6YmN03zD2OWZ9ye5fgPqe+qZGG/WbdrCCyV7x+ZaD43Im4xieB3HA8++HtoY08Y/NTVCTWyYYnXo7FPKx3tMCp11w/Utd124PCrGhpSZlX1+VH/ccg1M85yY3v/o9dYQUvWA0qtPTfLYE2gQqQg7C8RJhCWrwmSt9Lr+Q/pw0BhOoIaEMHDta+rpehYXpsgKe9jx5+0cXVrm5xcGstlTKZmbCnkTE5wm/znm/dhhbg7yvBGvYPR6LPK8xMgQ1VChU12zDY0vej4cuaxJynbWA354X80849HiWwoVakAMRxGWCKfQalOLeoIevZjwo8a8dLx0O0nQyKoyHo9QE/KUg/FQTthXpfGJoQwMjl+y2mqRMFODjhCt2rBmyCEczRO36icChaQL9/1BHrIdMrf3sHY80xPamAV3YvSk70kjp7xYJqXQpYH/8/I4NEz7jnCp3KGDKZ/2DXg3ZLrgjfc2DWKyg9qMb/PUdXgSWRmPACd0ZxMqyudogEAhwSe5nlMWLv1Sa7HCfEJv21mLFOU11yPR23Eu+sGLFsnmC5N4CxCMaX2pfN2aaMMYDa29q7sJg8rCyMGuELZEDwcpIAAuaoXVbCgE6djd006XowI9Ryl1cG26v6AmRsUJisX1ZKqUJk0tnlBHEwh+XSAup1rF/E59VjoPH1HXUfstdylzF1DpgOzo+30Eqc6zuQyCS45QkrJvzBCzQOK35ZRu1tOR2CRQszSiIZsVCox1vGToH1VU2mKyC7nibed2DD/Oo+Fo/ny8NxYU+xdggi81MYK8eSMrfM3jxZopf8Ky6V/by0teeDs5BzTl2TkLH56EVLGEhptvfcyVPS99vHT1LPFKrBOK8n9UfBP8fnzYEm0C7Zh8UkR1jxGRpwKQoZOC60S5z08Rve2vAJtcB06fkO6dj/7/y6/ao4YABeqAbij4GMwdissfGP0z3g1Hp7A6D8o/RzbGS67CRbEhOp170rVrlqWDKg41/b3cqOHgaRrY/abrH4WkhsBkDObbuVWRXCtzpuJRyLL7/05LxKqWx+/F2l8m/M09ccLP0ebmmjrj12CVXoMMO7kD41RfVOigt/EEUOVgRq8/LG93lolxL1I5jgU+wVLti8zfgtjSGN2dnPY6nn6ja06BwApPYPUVR58OcWqq9b/1G1r25FQ6EUwexlvVDwcRr1py6yBEsmw8oOJBDraiDEI2flwkKgX7BPR0hvTJFXkwDMiexB6PQxvScjw8hLRZ05sWPESPl34CwP7adWQe4DQi/rcrfTIQwCl6DSF7TUE9Sigcm5+IfZFPmG0zYSu3LBeyPI/ac5XQuPa7IH+h++Vi1joh2gwwO3YdCs9wFcvZ3VSdzFarSEtbv8FHnUyXAGfjoEmyDljCsYLf1tPgH+vxPZ1vwMGdgUeypRor1GfhNbDOqq/ZWZWnM9Blvy+ADyztn6+CTt8sZmGE6w+a/4fvncWMWPuFRZb+OWaou1ahMxUi7aZuFOtOVHC9+amWhWTFJd/r9DCL0E3p4E5un1QC2EMhAUTbJC8iVLBjHp4K7wy0yzDfxpgI5R8Tb2vefhoe3GtYKYSG0j47AVfhIna+7y+Mq2+wunVsSxsoAfQ4tMQIiczghLv/mAU7JvxGxY8RpbF1nH+lYAaqjqZO4vakqZkua3IRm+gjSYVxGIYUcZ2IDwc5xDKTzvvACt1ArEJK5Wrep/hX//XheUh1GxbqpKeyH5F8RsFZ3MQhHjy+rBUgDPCiKiP3MI8qWhnsDrkEOCZzIIKRlyCZMMoBXZoI9xajLZEKu2ImncAmtm6HoAzz2mpgH9U415WQk6vivIqnUrTynIG30hMUgTaJxd733281JYkvYN8O7gXj9mvvYXEwGjPSo4bwdPgc5cRGIYZSo7SOfYfGzs5Z2NPe9+GpGWpnTbhVQIrtN32xHExTV2UFXCl/YkjV43LhGQ4L1+QIxAvNIRmWm0jhh1LZVkdBtXSVGLgXQIPQzpQCVSuhbaBgJ9ITzcpZBYoIcZ0oTuKYMM659P/nHOgL/BgQpqAazLt7HpR18Him/e/FNExRE94bn9XzLB4mIirN67ZKr2J+3223RqIDtCLDm1VHJwtiFdp99NbWaX7xF4H5FZRFzRZgoDejKELLAOHGHsOWaEPm2UZAsJy23wS41AQcHzMzwJk0Ot0VL52LAEV1HOUfyOJc2xa5HZrNRb2dVpZca9DxEU4Xs5ZCHPjKkkuqQlfOBb2trbsNPL0L7BeLp/1hzoACBUWjntSmXbiP0yeQ8fN4ahbb6VrSTkz0S7LaD17B8+AmKuTR309cneSWK3Q4ikSA6wJFx8qdHwCeIRXv7KfdXEcqIJakyWkmZCy9MV6rDiCJ+vsr1YdRvJRZyZH5HZl2VkXD6gK6GwJamVXQnQ81vEXXmDERTEMS+oxOeI+IcNMoHbHM3G8Yj4gWbZBSdFdYShvW6DSgAS+MNDxQbbUWe5A6vY1PVBqFdbaE4jSfCLT7X+awQJlZj/m6a95Pr9j3LljIkdnqF9FvznhTZr8qNasOf5IE7QZ5YbqznUrSHKsppyMwxD8Jn9Y2y8Lf7xRkc3wQViQG87b2BCQVDoZUZyz4AbdnGjSnM+SoEyCHdBHbDJLfLEtUTT8vD3NfSbR46BfWXnQuLU10WBpwXw/nkrsmDqvstN5g3MSrJAPYmsvKOlX+0uHq1SHDYKfodPP5FXj6txTqkD2mcAXRAT5BIfmVHydsNKoT6XuWxRnocIo27NKmnnDvtwP1D4M0/Px8+RA91ed6d0ygL2VOy0aCPmbUCZL9EBHfdlY/bW1QDlU37JEFYPWPKI1AbRsL+DSE46rmlR18Z8gmjVDFCmgNKhCKmT9j7dvyrxJwy5WyJKNkZ92bWLMyG/Z/i0nT8IyNKkj6HgatdBrhgQrygpZCkuvkUSWgNzA0HuxLn99RXK7OW5UvmUlxJWLg0JjVl5HbQEoLN4rd0XHv8Ay62VgJTUTbjzfQnc4JbIn7waxrldScLwCJue3E4s/d2J0OionCgRKHsUTXwYwnGIoxoPOBzzsFR/y3p+HLT35e1AWxv0gO1p20EvHoyfQjjF2Qfe+jv050GgPtn8txe6+Fs4ULgyhRV0GD0YoQQ7B05kj2PmUAulnNLuS2EumdNm1E01bbNsfP/6piyFdn3n3kXVq9HL0CLX1qF/eXGMdY5lh6rQWvE5ScmrQO7b4UYjZSs35srZ/3sklsSKyuSbI7wI1x1XlzV4W070/42ttDJJ6vMhiy6wp5jvaQN0Un+k3aJ+Pw7K9qKMoMifDjpRz90WN84bgAIAeFKmTL4tx0XSbUhtDHBsSPpPJG74D2becs4XwgM3BS5mUu+uh2HkGyUD496ZJ3IkR5DpmNiUcWOBwBGQKrd9Uvd/JiA81kulhm21itLb5F+EUdKMYmSmPzNfpEfOE8RU+7iFUiESax5iLoT6DbO3HQDq9Anl8hCfmi4YE5uH2j1iRewjhUi4craqPxHjYmNH/UlPqKLnBmT0T/nqg3DbgkVXYumDZsRmMioqn4ud7pH0PNMjpRYIzSMsJqhuUrtDFr5O8kKzWqHRL3PEw0YbN1QHmz0rzQi74FUCyZS7+HBeyFD191ZHvqxwTFCrrRLH+vSkUJKcfc/SBfQ4m4Pv10OlZGGCycbi1TQK86IW3RjKTnatr6bB6eVjIxcmS3WqtSkRm2tHEzENwQcPQRg3oqXqo1AQqLtUVeSxSwa+yy+S5sCoAkWLWyBgsbGrvLSftx0UVTzNUfEKm6PqGMguJuzUWv0KRuG2V1mfnCn9hoKpYouVnINBxsRjcb3o4jSWPtW9ET/Nwe/0UjoixsB179RBhWR3imHnqmLrlaO280lshG6+nJgTe+DhskIt6+zstIu9ZTaDNSw55CJgnBvtuxB1EIr+Z4srRgE3cE/jz2W4P5uyl7U/UD6SqaAoO/Ox4RvNzf4JMwMwz/nB5CLkFUqUiJgjS4VqKyBJ+NIZE7A7nTfTa5EaE7WFhKwaBAxcmPI9p0UZGmRL4m74jPuOzZRdNBY3xlzILnHUrqEVzJ4+LVkJNDX8kkd9cgy7d5vBxl0IUGilwcGaNqXdQD0X2NOiF6oGEmjPe82i8F5wAIb8n0shDuiHxtb/TUUmeroLWGHXS72hZeIdmiebQyFKFufXZ54snQZjHY+TODs/owr7R8QZMUhQtxCLBvIsem2yPuN8AxwKJw6bq8/Zr71UUJkBzCmAz4iTi3vIDwvvu7SmwZYBkPiGoWw1i6Jz8XWiQ+IRrJMkQZpRF8zigZEzXz/tVcQ2MCUfv2Ggd8OnPVYWq9xVlVJSuJwr2kwlrCJDS+2R8njN6UyNjIFQsBXRP6YW/52GPh9XV+SvPY3wSADMPUJeR3qmhnZl+FpztdsDnaJqL/6GPxiYk4nIbKhbv+OsLlbYOE6mZ6+UuMmknJZdNWMNyxdoS1PipVKd7jb3uHEOlLtBK884vdN0mINsLLgJHe3T36Rb1vWF2kwqcsrqqMJaHKq+Fdk+K8u1hpqe5ahXvpHPg3JOkVO9Low1ybASdRTs1f77hjDMfT8gMw0XtFV/aa4tymxo8iMAZReMcfYQl8pJRrl3J1UyeiWUJDmds/B2AUSpi/HwXzart3fdeI14PV4JUw7IZEWEU22JhEFjV/1WirYAecRYOsLNmmo+nhYO7+Tb7CO3bZPQ3yzw5/FKcFn+vld/3o3mvkIJew1j6XG9kQwQwtlYa6LGPdUtGQnLdrZdx+SKgr6GA4RzW7Zlq2QCI9YA4TY0nPo48oQxmwyI0qxWXth1xevTeW0kAY3pYvSjKbI6wzNjjwiutYKldOOgDZN4+ikjMFfRMBsXu4HP78VcLoA6dTcc7er98maO3wE3m+w0YoZA1HFezJd13Ut4/gyY1yzGfHfi8lU6ijW4Ou0Rsx4ksSYdZVJg+ljN9xK9nTOY7R7FpUOuZBxN94tyY8iMo7vYNxGPnsupax4/OVGjYnJLyBFFUqxMU02VIQGepge3abcfx4qGnngl3GDK6GPKwwqzTD/BPO+zAvYY5r47dI5bF7glWZCR8AtXB1nsrkLULtK7/gfW9jwzI+RHLb40zyHU36yQ02QqdI/r6AgqhL6yz7IR86icQ456a/UwMEGxcUKOHukfeRwgkD6ztQ7DD7c3ovmYCDxbNmKHMGzMMuqJ/nkLEsOmkxJcfutq8f7DXVktPsPmovbmRsuuo7PReAjxukU8lHQ/mdCLnuETbn1IxsyOJZ3aRqvh5Jalhh9EQLu0TJjOUQ8Ga4CQKN0y643FNACEv9IKS0SwsIvO/F9hNA16z7z/lReGdw4Sij8NRcHu9Fq07kT5KpS7sgX1i1cxtp+yTbOhmxW4f/KjEJy0FqOZavBwQ64icmTjHbPBfNDv9ltiuKus1pZ8gPUKCJGWFHTo0YD2yNJITbES4X3xYUDEDCXEL4xcB7BOSNTeosKyKOOCVqPyurEz+m4Opym0xMeSmDQUatlnoE1EQJe+yqEsBSjJOt7xlBdCVZqxFIuiS/iokCcCCf64thY/2P3EhdF+ZBWEyA9OTUi1ZAZ8632NRSI0zKvHd0CxssRPb21ND+3atBJLW9LIbyKozwsAr4ZVzVyVOLUTx+EjoWwLgImDj1TkkgJ7pyhY4tJRA1TcA0axLg7O9M6dvd1ErTetpUaXXBBu8HqrfPJiXpy34iKAvRIjT14tHjnCiqIyvx4SVaBjqalbIBpwIx7sTg8Zw0aj1a77BtXcvezS3NBijwhfeCqkLMMbdrizH6nBWVvz4gsVpJ5Y18nzHgIwcr13QUsWrMcQHseAWVxfoxvcKKZept6TXWCFfzbIIKNtpYdGiG5JCKNAj+MwKicxq/bRgvZdR8Zf5aoDmT5LOamQNVssphNgeI6ZgHzCSAUTPoAkqGENsSK4whTBdqx8iueGq4A+3MLzGt6eAaR9FEHaJNP4EE6mWVBcBJ+8me6PnBA6yLIeINFMXyCmB91GdEfN/aOWVNGOpz++kAmLYtir/DtiVUWfpfii83n76rfQ70GIbHq0mkENWEhsiC1sKow3cV5v5YPfOxLzeVLvZjljn1EYsX2sUDssp9kT050c4NQEAbUYluCltCxRuc5XTRVJX4h2+fSY7/gwR27rAbRsfE8Jq5YJOS0xerV+22iFXZFom1kyFAgMfcm2CHJe1mznNzZs1Dr+RGarHyhMvdy8oL6hHrbkOG53z7nm9vFHSzSgieagTdUsXZp+dXiNu2CIXowJnzhSqd5IrMqkscijk0gEgMdxIjZxbsAX4S8qD379cNhcZLiy5I1WKv7GbF5AUJQyUWmAsh4XJQA1O4M2elKqF9lxf30tKyjMMqSplpGK8uSbcJ3Zg0nJsKUIx0mfPwTMS3iC5M5NxtKshVc9NFxEemD0eVW9XJODisUtdCB8ZXNnnhrnW4Ex/RGS4QpIvGh2teEka+zngq3U9PRnGJUOLHbuCMFNzSrlg0dyI/9Fb96Y6vEqWdG4sCM+ggwIzjAYQjZ/1LJs7jMyRn8JQHlfpVeXFZruUWKi118G0FamsyjPKXuw5iFTmEmePTJCO23BVKpD3DWg1zZNiR1zE0df8nDZX6flQp1CArqN225qDZTndRcGI1KSLCm4Aj6HZckhPt4iZc1tGQhA3no1e47mNmi0P+rg1ZxtadZf33JJDY3dtJYU3RrKKHdDMhPHDU3jPk95JjqC36QTIEKlCJWzrTOQNeCq2765KNsP5rBVfZEUk2SXtZBcaMI/svbPqDa1WcimUUMtILDDCHBIqK/Uwnq0xGe8L0BjUFkC699zpXimZW3IAQ7D78xtFxFAAJrtY49VXKabZUDXuFpWoIzIs/ZGu0QBEP5AQSkSYoUpo6JELIBAjC3UfdpqzilmVGBtgUoQl1Oc/7j3MN3nQQJU8pm5sJN38oqj32rgV4rB6nwc+Fe94Xw4/lXuHKxBCObcXHifGZzehvmy7/zGFTk9vNBDtpggJzr5DDX8OOvwnRJNkC8vEW68ToTniVF2vRb7UYCFpRK0nesHBe1N1ltGj3/3ZiszibOTY8kCWDR/FauB2HUaucaW63Xo42x232j5RHhMZLMc+t5Jphw8XETAIbHIdqhTQb2j23hFjPPHD7x7dWNSEEkiWJzgtCfP7rKMxDAdazJaSieXTtzP8c6OJxpeMPo7Z4RJJZ5WVvTFy7MIpIna0OuFwDV+9lxJkfb3W+UZy8e1nyx0PzoqKWiDlcuhw8QqazKNJEb3/1po0S9hwqJ1IM9/tIsqzwAbef5hZ4XZrxbd1hH288uwvm2C5m+ayzFUcPPPf4SYSdg2oe9LvnpcO0Offx7Qs0Ft0t+xUeFOl1xsZ52kVyw+J8eVA1LPSm9dx13snFviTuZlJ5HEdyn2BxrpHJO2vacfGjbA03Kyr463LQa843iXWh3KAJTwGlsVppfFqZB4hjPWCfSSzBfFknuQkmFz+aXgplYnp3wQT1KbRIY+O3F6jlI9HlmlZGUMmckH0nXkKKNW984we/EcCVkKbaGzBiEw6RCOhh8o+7vLRQ4wlTEimNsohl0jvdhtWiByiSL22ake/rKmEXu1aEdAO0guCrzweDZdUYJK6Ph+fEj0/FA5U/epr2AxcwIL9i8JQuIJ7suTWSA4A0cGTJlkK12Chav6l7OhO/Ab+T3e5660JmfbccvS3JZm1Fwno7mczhPlvcqFH6kuV/w5IuMZQsVGnpBA8AnS07xIKl0mv6IV6oJJARutCSYConP9lWOB9NDMpM/1pAqmonC0Q2vVR/hszJV2UUuYrwsfmlyLzOZfOLY4yrofPELozy+WkyFHXdUFnMzgcPzt8PB1QqnwUomUgciFDGEzUy3pT2iITucBiP91ajiQj5NjFeT3ATfC+67rJqtb0XBqNhSBYEZRfc5bH89PBZVr1bHFZdC0stNkGqYiXhTIL7qZahxaK+UPnLrfAdnVzS0E4qxUYYXu28u4XVJDVmTstfg9au51F9HHT/TMgcfsS8Aq1whDDIfZA2c2GgQBheKnluV5wRQrZuq3sWWObdqP9BWQGDhMgSDIcI6pRu7X/k3BvtYLgmvALqkA2CwV5DUYGby7tGG1GzK6KM7hUMtKprWA38VsWtIjnsxb+90eJVpYf6TOLUw5kDDV8Bz9gMcbfjWqBEezaF90HlcjVU4FJn3UziZUEFp3tNDPocgBV2bdzNHzxOqBmxhJuV4UBP/xs2CLw/jPuP7hfNK2+FvjKCS+hQ7h36i+oQuS4FOAhNPfSiRrFZU+KpJqazmmSMBQ70XNLBT8gVzCFQDM+XnAGhKofbdLaD14yhd69nLX0DQXV50W/Z5Nf/uOfOhfA2NoCs4mAjwjMkdfYtUA5mCW3PfJRtC7lx4IyV18fqgt2jIravjv1t/NPb0ztUCFb8kpPaCA2+PewYklFJprcIasoycTc04I8GRXbcVSSwrCuqMsNMsuHAnoE2lpYVwyT1fRVtyJlRHbfZ/zi3/i/F+0W733wAXT94lZbD7UCxP2NxmOmKJ7HBnuzp80J1c/a0J1pcgsLx0iVQt0kgZvoPlpBh2bukX8m+ZmLvy1kuM1twpj0WK/GzldGGt2y5eWM4yFYtnKUwOMUu0hSmDgOg3OG4V0CCghUHz5Nn/HkaqiqVg2e6K/lXQ/vk2aYYlMKoe7ncDbpAIJoCgTA/Mo8LY9c5sG+Rj2yN1Da6bp1dHp+enV7xC8LrvdFQUqdRuRx1Qvt9/2ZIs4FPl3ZczP9oV9SKqFwqzpf8CV50/s+6GtWrTX0wj/L4XEWtP4ftcph+6xfHKVS8+2RIAQr45z7hX+Cc4/PAYxDMtT6br+qfSgpFa3ACS2/+NNGsIajb2jAGpIVssCbviNvbEg/bzNkbYItEmiEE00WeLtI8r6XSWDKnxzdIetQVcvIthsXKxhYrphdT0LPMCFdzc4ugLGRojgtDgThiPthiClz2KmAo0QxyJNDNeG/Bh6kkG25VVKX2lv7bWRYtZQCenf9mXhhpqQfvSe0UIM+k13vTgVu8ZH7vntyGlhpRNQ2tsxZeYmHqIWFtWG6MJiitJbSWMVtZGC3X8mG+w67EXVcN7NnaTLVWDs1LWNbRkG1OYy9GmL31M16Q8gcKkHbDm+DYltqBOzvP5a0mZjrnTEPLxflO3MkbXsYpBhs3rrfTzyp6QbaySVTqGaBah+ctUyel6BmSB8TXR2injIBKm57CzhDL3RutyMK+bJolE+UGMW/23jX0aqKV0MTqWEvT6fh88wA8Xaf2AIsRS00dg/reTP5pV19fP+lkKX9javyYZi/kosUxz5EIopS0EseDnKbH/XjaJBuush1t6cl/UB8244i8oXl6xlEeR5MlNpWTP8DIAmfMl3hqq2bhP/YpPO4XaLc8XQLcbd+A1xWdiWxhawyWQ0QW49Medq7YZ5MhOJ09COyZjoyw7GXq5bQN/qVFy+1Zb+418aA702eJcXRSGpq6JdZAD12h826vF0tjmCuD8liQ7/BYTGUiaVtSz6y34syhCbgfwTeNk1q4A0/EWcvItw3WIfDH+/BhiIA6GO6LcpYaS68WLwZWKdY28lqdG8WVYNr5IRjGsFh8QUGBaI45kquPQ7EV4JYch1lez5KMfe/DU+F29xRfBPFb7A06OqzZkCVhPbsuZ8HQ4+JpsftWu0VgXZylbvAzR5BxsPJ9WkVowTFZ8t3sLV/jsvqr+3mQHIoyhgHqAa4HD33AjgOLpeq4BhXJ/WsS2pJR+fphLRRZEd2PWCIEwTXMjaR3/AAIxd5sSezdCxwCkB+4Ovh7rEOYhxinMQEbirRmBVnKf5fNp8FFsCgLAfSdYVx2aBkwKjCXydgXCbyN4TQZ9hTaXYmg3B2SovDaoQNzNqcx/1L8lx3vUyqvQ1hkineMVjvJU2GfLOR3QN56XUZQRLHK7zr6fq6GPQsoChfvHXBve9xD8NLTmL67zq6A13r1w7qfFsESVIRuwxIfnEx4IYfhfmdqnF3xGjlMpm0tHb2y94LVK+7G4SYZyLSUyqB5jhLBxJkckXFCB+KY9f3/9HcHrVJPibtJfQnPM49sfa3gU/XPYQdIaugwOjSVCzzBILURvR5bU12o+y5x6eRyGM5TImxEUIJRh9wB6b5+Xg7j/DCeHs8g4bIF/aEoS2M4nvV60eMLWgv5xSdRHm9WzuQirTDhtOp1iXOiG/Ghw0kqAtP0nKt+aTERub+6uNDc+t0HMhSf6LhjKyY0rs99PnnEr6ZzQUbca1yJc/Paah9pZb6ZJ7QoameEbr4ARAOmwijYIpTVb13wKQ5AD1gaCHI8JEdyEhkSBHUuVJyFJal5bn5y6Py5Z2wdJrWrOOR2aQY1lgf8MLb6kM5a6UNaZtn/PDOTwV0PIKRsM+Z7nJvlufdWyDv5Ei9iIX/QGc4rH6uBmVsRrHmdawQNKC+vFBDYLG8i30qQa+Wmf+VazCVame2leKAmeq+i2yYAIbOcXJWtOGRpoI629wloBXWSByh6Jtwtzh2dNpj//hDDYs1/mqAU6oL/DAV/PoyHL1GY1b7ESE5b57FN68oHuZQWQfDZjQ/p7lwvYcH7v+TuWzammj+SPsQI+pVVJpaqPAxDkrpS3vIBrIfAF85wYtBRryeXz82GwSnssQkV8z6O15v5CAum86JvKGJrzOreb9d2nE75c9lnE5xfH0M6Rca2ZTbcQjeNCeHwFW26kqQazom/r2n2gv49t1IVuJtfzvsAvJm9YDAX4HU8wtNCxw2dDKJEZnL5DBF5k700qjsjuh6c7dMOzzzLQit3U82R9DIzqcVmlZNX3QtT6CyZcgyMxZIJlBBJ9sVoCFMIgIH1EKK8ertIK8ACn9u6fYLn2BfJ1nv7jQwwe2Yq/7U581nULw1Byq/1nXL5DDltiqoZuBAsWbWRb8KIQHTM5lrunk5ngM0DVnLQwJWwWFBwVfbNTPoxfvGqqB+vFkHsRI94rB8kGIjxIRYkxSQkVPVKmlJyTrhGeUVFxmWZ19dXU14ammkljU9Qu7R4Y7ye0vFAzsDINp6r3vWC0tSVt7NEkgus3U0aj/eh+QcsPbITBoH2lq0wmc0qEIWarrNcBk4P+TVg/yPwx2irmRImuFNUl9gL3ySSHI16U1d4jj1shKObIUFvvZ46Pzo3okkJPIPKktAp/une2eQVdmpSl0eP84oIerKKmUAy1DA/EgIgdKjkHw12p2ye6KQgyi/rrTOz7gfBuRyBfSadbnY4smbAkJNnZ33xOxQhBDjPA6pfiIiCOcCyoP1yr5AjzgWjVptWyr0VH2HZbAvMqgLxwjkJgjWoAsvkk8bAfZwNt6R/KOA4NQUejlFdSrCgkF07X+yNPSkxpEyZZtTUES92rueDmsGxB1OcsSZWbP+F1j8y5y+Io+Tsp87bB0fy4ULxuSoV2HxBUh7/HrvQQGT1UBVVJ5n1lCY1xIPQmCMzqXlVIitU1FK05/1Tk+kGrA4wqDklPcCqCJMpgAf9E/0KA5M1bOT8g4x4hFesTV9qb1dIrpV57cF0eUbJ8j9+KklCC1+Rvmoa9Bkpi2e4fBILtMftY1r4X8fDJiP8ECtfMLWE1VQKnpowejl4mxoMWKlcTiAJ2Mi8ozMOwCj3RZkXE4fsmInV6fkIGdKOKur5vqA/EGAq2eUUOizV4wpJA2phllBx9hZ5mU0Nu9346qYYku3WVGAtCvdsy2Ge08hizMFRDbxkQxVtmMgLcY1GXu0k4DZQDF1akLbMmM9sL0WiCM+H9dtg4AnYDH4gqC4SjbzH4B9ji3dGKseKK9hbMdmyxLc+6Dx820dpz/dQ0qs76PzL0CyqNsH8y7c3MEHZ5HnLhJuYFf3t8tfaDaIC7x1QDcHC46LDD0MFK+VdDccHNMNg+RcCRPQTj58WbgN3yhCjNQdyUkZkza983TZLJ9YnQXXsoUcfUMzFxbmUg7pk1Nx1KGJegaVjvnvTRVZRoSMMX3OZElpJ8Rgsv59Sq7DlakS9veP2zqyYPkvroA2K/AYuSr9hIKzfGm0GR1KkqAACegcDanMoolnVYzhZnma8GSG7V7mv9n3Iz1h5w5oZ4Md3Z6zWZtTea/8kiXm2EmdFdoSk1WkZ0FUN5HR8nltTm5zQigYPXze2NfhqrBJ6LPovtk9ZAX9f/PTPgC4Z3jlaQO5v25b4EZYmTjwAO36bzPQwEfd0J0/Mf9bdx4FNFyl80oPZ7uhm/8xajQwmJjxllfPO/1EH1m3qYyOwkUpDE9V5PcNoFiH0CvV0u+msyJ5Qxb3goK9CbFQG+RPy+uObrNTsM5GxiXDr4UZ9kId/ECjrpTLZWPo7yDf3dHMXTeV2oRR8qiBJPZkdInO6+yizL3aSIy7ftgPD0ayiE6hFAv3YArXjqJCWMqFA2tWEC5vNjPXh4kfogZjPAAA0+fz0m2g1O35nmo/98yNpuGn0jmqtLcWjCJKr9y8r3ai7hvRhv21gI3iEeEwapn6KX1uHhh6tPY+nUFoBTzXrSHjp7iPOB/GsBclvA0eBnlUzut7gYsxhxp1LOdXtFlGQq/cKaeHPHGN38724dsRG9FM9TaYNtK7oHhTmwgRbg5UMkXF3kdqiF5nsDSEba0Rpk5fhaAQtxkR40Cr4ZIZoVS+ce2RVZDQDeBA4GkUxZSApv0v3juHtLdHWWPVBaVixFjwueN6C55QyGIiOUmazyw9+3Mt4pkURlf7dU9/xnP9bs89xo9sFDj2A1Cm8WjY5ibS81VvMcSsDTAupmEiWbhgIJdUOBvB/HF67Ek2jMq9TXu1yBLn5QRZPixk2u7sjOhpY2/0dms7/T4/egSlP73Hyl78i+SqEGATkuN4D/Wu+4WXS3zsNfasyIg5xkm3d65EsRPurS1XDhggGvbQxItZeqP93w++xv7AM7NVNYvzyHx9/TEpAoaOaFNiIYH/bu0XAP+jwutWosw6Gjymgm7iSvHdkuwTQclLknm9jT3meUqnInV8YQuWyEGx3hNZtKRXEDvFtPncVG19xNGyDZSRBR1ctTQb1l9nlxXjxJKVhb0uXa5OjxBxEwhUEl1OZKB+piWeeZ0YIiqgyFsxlfAkqSDh0gYLlKvOw3uT3kYm5x+NX7F6iSxOqy8A/Z52hOJlVKqBHh56O5X5cLSvK46+/IotAgOBPHatFxdF6yHy9inXA/KPjxgizyvRTL5MHY5DSIs38zfyZtDkxc+0ZnTSZGG9nzbSa6dUhR8zuP9vyj9IhPcoE0cS9JCRUNXpY48NvBCs2rCqy1T5rY9XeJNySo64+Ta7L7ENtkc/OWZSy4zAdRIG1Vb3g47LFgIQlAcnKYdbqEgLSc/AtUbrGuS/4WKFR8rX49yaYN5BK3GffqTu6U2ls0YsE5Ls1Q5LkVK56J01sIml0DkV8c1w03HAKttUQ55QGmbsiIb62KlUMiIH/Cs7bj5ht15cMXYXzkEpRgSSvUD0r2V2jTq1mvxyPX5F2ZdscoVJQkvk01rAYfSFtoi/1APmAHzXAabPJLYatuE4oqn7x+cbCnvuYdFHkwWk+e/6RQ7W0z4eEbcJvUrcEtmpq9FfkpxOotWy2kGOHORCoWFVCP3K4WOzYgA2YzOszK4FrDZmd/VEFAU8RPALMhfrwk+ECJI5SwSrasC2uATo5pnljxKm0jjtbKs8NLDbdnmOzooQdHjycdE8xzF1bCYiiatF1ASQzPRYYPZocUtE+UKroKX4+X5Cr9ZLpFS+ufi2gwKrqKU5DhBuesLzJbBeISJtyK6ljZfPVZgdNLF8aEx2Mlq/8Bdid16ubyIYeo4vEVPQGKu940zT4dKxbZ706rcJ8V5HgSA2FFnyItk7sp9eU2E0C55KzJthR6USBhE+k8t4YzB4+EOJsHuqqnyJfwMmNyJNwYTeGMPngof+winmAiFryEAbj/0MpyhAKsr2ITxHiBErfQRlsIncCHK+0eixBOsiMUFFmH5tCKqvcWSM9QDqRNSPFq/oL2gWaeTOH1/SOS1lZLrrYFTFr64bzU+dGdh4IBotxNaT+eJ7fJ+h2p7iemSRRe0rUgunViUQg+urpt6PwerQQONpam77ArFLGRIoFuP/ls8br+jVb3d/XiOU63X26pEsX1/eIVAHHUN7CT5nklOMbo7qHeL+qtfWyl4yUa/0lZ3Q2Q7PwRqaUdk0gZTZokm8T0AEN4po4yrtK5+UMsjEXaxXghYsSxagxQ31F3NvOLPNHm+gNjFynx6Ld+MKI8mIiseZctEtcxM9+4hEW9jbOAMgXntwRPplJQKxZuOpNBDeG2x40qvmv8HCOrM86GT6mTDLGBbcqiOtySXwB2xm7jkL8QDDCeK5utglQwlCTUOnhUwyYN+EJSL0L1KzCkUWFPIPFy5EBZC2jcRZPNHr2Vq+BQVkGKR9J/19Id2OfJagfdHjB5+4k5BneWKdod/qBdbByfSqbvn328SlK/uwo6swuNGevtaxr+RMUwe+OCwS7henpkevRauZhPVjlp9mqgLKdu6DsST2mrrP70lESbklu7xjtsqkl+bW45ImThh2ST1jimCW7We50uwzeNeSK3Inb1YkALTaHDPZ+ULhT2vb/fVLd1+RAIwTTYr7aP9aq2AyeTOtOfT1lw+VCN6S5XLx5Lw3ZvAyhtb/Cc3yT8M6f+F63VuGJkhwq3X5F8fiP+HuN2LKq/ZERTh+N1jiFh3EpMNQNysKjeUFQpPKxQ7QNEs+IQYvluS3WQ2m2DbTGLJdsS6cRcnSfc1DTLIQb6fX/HlLb+Gk4LHrjryxMXM1uDwEkyZsZJRalG9Ujf8Djq9l9QWBZJFVjv6qE0gc1bfUAOIKq1zQTEgoCc/slksdFZobFgO2R7afQ1ChpKmer8oxWpXXVj6Fry4XY8AH0Ig1kTE2POzXtnKCxkwhXPFCrZagaIzaYoY9YMEbousOTcB+WwMfxrViy4dRWNmluZUejv2P98FM9zM4UnSLZAkvSer26rfhhsP08JjiTrsF7eCZBuNxlIzILlWefcUrA1xLdy+726dDcW3hufaYN6HEYHEUuyx2VdgF/jbAQCc3ulUTZD+RnwbyylCtDoSU8InQitVj2AvE+Fnl0/VyUmjP4Bz3u5WxvKm6MOW7w//XqXAnAIbZQ+xlyVxsgxaY1Jbutc3zyuvElpONSrZF8M9VvVeBxlbdH2qDaDxyCrV53IJDnStUXWDKVjfE03v7i53PjMYxYmZkAWaAdTfxVo/Jf7Iz/GSMP3mWeFYrBYsMQZOAF4T6BSrQZBI22VZPJ/h7sfRQLH1p9BgiICARRisAb9ZPy7ROj1iQIoJIKoirGV2+rM0OaqneYMusEtNoiZPYS25tObj+Z8qR/MJBGK6xXjr5sDBV5yMXIgH2PST9rOHOUNtjDhvbagrLhTHp6GN8dZsAbGkUsPs20zEf2kV8SMdIirBqBBMKDkRF7S41l7q2ChFMad5C36n8diehskmRlkPzaM1RCoOI2AU6nXLrG8TDYDgRhbkvNVx7C9dM3o0YYDC6JtfLX3J//IvUj4aPeisdg+31Mk9Pbe5zSvCSGdIzDPrMvgSbGuwH+boyo07WnMScmrSYm8PI069bZJleoJK+c2PJnGSi/aiwDZZw9sH3QOWI/VsWWaCM4rfpDNe6ztW7VX8iXIZxSiEDlYgV05eujY8fp++lDMRm2VamNuKpGM2ac+/Gy/PcYcOCq4bt+Oxner29IGk1K/sjTV8vq7SlMDrsgPwgj5gPV3ci1Te5UWPI+0h9rWCJxjJ5Xx8U0Uy4LhUQ2sFKw1brwYmLwa0CM2+w5m/IEylWcZ4SoqmDEVrhOrcpS2HTGOB8ljbrONJWrJcS5S/JTdGkAEW0mNmXNyCdHxVb/t3rOUiDSV6VlHQMFEMlSQfO8IybsfakgiXdw75p86nLrI56z3ir9uNEyZSatvO/yBMXqdqP/R2k0zwO72IN+cskD2VaEmnzt47OuLZW/jCxlfwahXJNNQoHaAV4ok57IbyBMZRT7oOfP/9Bpn5tCRZQCWejqzxjgXg5/iveaxV9WsheAmgJocoNfNc7oejnLjNCpUA6BdkX31RL3bM8P4rE+SuCUGvftAJWtNDQwcNHxQIIpzB6U1IHO4XF5lchUGstn7hsjuaPbk3Snj7HaMil7pPCwbsS68GShQy6rHZKFmOJyi0yRCRPhrbd342zdCr0d+tlcvu6K9dHzuEJ/iu0xCJu2ErkdiIHGUmw/PRnbMoY5s3RChH+HG6gC0GtQPXRoVEvYiRz2xbZxW+I0R1CC8hcakcOIXfiz/ZngAzpFJQJw9CbqcslHuuZTbRyauvjQUr2nOagmCEsFMw47rezPX5aQ3wGinhoMTzX7ecakKThE3hcHNkiI+nnZZnIyLTeZlCa9DHF1BDeG+F44WIBaoTgXGQgAOfQ/BFq1ClaEoE5epz5klBGZ2aLUvbys1L2jVK2+8Al7ABhVr/SS0CZEb8AGjax6FDbIe4JqVIF9OJE1DuMr2SUuxbKS4qO4Zq7Neuyet4N0ONL+Neds1KCM9Zi73iJgiTZSLYpx4ZyvfkyOgQvsCc0CWPzQ7FRBd3HgDUlC5JlWtfF1pg4hYrfXFFUmTOIiSaG+kRMxSH2xRYHyoVK1kmZyHqWD9sp9TA3iK20PvdxPY8uE5XrqdJ8C7V/RjPGoJMofOXVREXAWSgQf6aIdr0etPoAGqWfAMsOXxbCo07dFEIT++5MgwJ8kjk1uYJggA9/TxC9zYwLe6PiXfID+7GLnBpRxN4EdxTSL3dzvlqyq+M9KgTUOSQrLCzYuuhbRirC5mS9f4SYjrXJGJgx7XVieQ7NfqM5yYLzIQM4s0ZO0go/VeiMj4uMyWpVp7weNCF/4e/H6B49HZwrma28MfjCnzY0WZuFAbDDvnmDQaSz6six7SnsyyAEo/Umms1B0Zzrx7hosKLajb53m7T7EM95B6oTuIOxgYsl+t6vRBAvSCGmokHdx26JD7OLIoICHCPu3kvZM/+Q4uU8wRSAa6x1trFnR1VQ6VYlaAQ3Hi6xSh91f6TE/JsaMxV8ZrXLbJY0dlYM4lTT3e3Is75KQWpNfsxJKTMUNwigx48UXX7R/Xtljmazns3Q+y3hUlCJIJJMcqx+iZRFtMpi2xBHqQGcHMV+wm9kfDVs61oGqrF0dCiMF5Sy9vPTyj5kp0dieORqHy6NMRQ5SsVbqhipACAsCYtdaPPhxDQNEAlYQVMiIowTeeMtSXhmV22fO2tIcpCnBqg1mqBMPpG+hElB+fcGI/3Z+ibbTNZt+IZ5mMkmrbbvJtMXjm2C2c+7tBIcC7I0lrbIJJKHfPjxWowAeSFIxVPD6QeaY+JFrKaVy/4jhtwfgHgxpKwtUCVXGxx5kddiBriUDJTJsnpFO4J8cx236QU45UA8qRmCo11O4Y2xGBYTCnj7xCQ+ey/uSozTP0Qd9PEfATv2YRBUccHQcXkuJLiLj3YfKEqzIqw9HNpHtrLIZQFkxs8vNchBu7f6cuc7cB8KHwdtmpGfra2LGHMXC5P3R9FgOdiP0MyF1Ie6gVN4YgqX8px4JwnjnmF5DVqg17q33i5ofIUB1TbA5ofGlSBFX0JOHS2HSIq34GMx9Hw4cnyVdajO7b16O4nXhln7OoU9qpaNyCLsVTel7cUl4BJMoKL6Zf3rY0Kd4AysDR2TvzBvxXuDYy6GTJ6hVXX/U6a25iRWz1pRyFR5v9OMn6zIhKyLQyzcaOrL3YyQ+TbZdfvPnnT4JV9FJnfMRypXI1r09I19GZl8tU+pg+4Zuxg0sbIoF+yjwUtunznEspCUhHc85j+REY9wY6oRS6yQEd9K2KcZJmeeeLf/ahgy0JixHSyIJOp3Dt00p2r1rqWahMs6K5rNA0YnXlRFknfF+69t6uEMUaguxr5XtAudblDGCkt+z4mP+6aG0DruGWQ1c/AXtrpUD1IFE3QS7egEaKNasETjqTel4RTs9QXev/hCwYbFa4Tu2Q8apk6l02fUjyXaiIau+JLjL9dQLg0HEQuhU25OARGT+a0uYmheQt0r0xhebRVeYWZWCu2gZd536R3QzOpshMn7ZuLSy7paN0NBGARl8unNcrhoUUgthilgxcXZJT/8PxS4+XKSwPpfgoYOJXywp6tC7KmSXmIXouZvJcKNsWg5h934echmg/JyrApWy2B5nZP5QA6AcL0M4aWknuI0vV2lRecIxoElRazfkip/1IWJsjg1gu+yCIFBeM+AlEpj16+qDDNMNMGswO2k5jvgE2qiyrJ1y0N+d0KBBmWSqFffs/p+ZJ5MfmNRBbkDn4IHTt+CjNs7vImVQrBYCVzxIqMuGaDXLOcKpiA9+WtZf1wvRtjCd1DpzMiZX9bl91aZNJoKJrB5YFKEJrrmdQ6wOmC0YO3Ciy49vqGDdFEjgah8oscKCEmzZ2PuhEVl0OCxfLucGxhQ25oGm3irpLoVc+SuJM98M66b+ExAzFep1JA1Rao0biYVnCzewt2aBlbJ6KyTKupXpTlkXiDnNvVAQjkfTfl2DZushQRMKtmxOvBsGkW1T1TvhvU8TZqtpWlO3Q1XA54Ncbu0iDDh6Z3D00thBmzH74oNlXXygD9Cq9HLUde4uiqBslOE97/IU0odn0Awx1WP6xwA23UNokkcVfN1HRTTMN9KqSSEhe0ZuUa+tVr1AjXvAI6kCj6wg1NgXLAslzLfNxAqhoxMC9tasO/aOtX7NPkUbQ2XqrVRZWyDJJIe8tCGwNLDGkvr0agBiaL1qnpF1GKjSatW6lntL94RO/ZJlFOcfSNLW/BEjxwAHWq/313Ho6MWf4AgsKYA1ULgDGsop/khGbgSAvxpSlRg2jizpF1XxuGUyg/l4xQd/S4Ltb3TC+3MKrbellrJNREY8USQT/0SwFRgmltJmEqrexaeq+e7Dsi9KFVZW49jksXIyLEu10i83jeK6ZVtOuZJU3KLHXHuL8ZCpHAwPn32pRR92IATD05oo+RWGkVMg5/aOaA+f5qC/quKfwfDIyt7TcE26u60Vmc1avZsXsPmWTZrWcrxydG0okT9we42XUpa6sWhCcV+xeopBybvLrYqiVLjVS/JYO5Zjs9V4ajSkAaNGDqC7znSJJV2ZlhGSRbNon2i4P5sa+1kJIdPXQSoTCedwAkSt1ZvJE1xpulVwQdyl9ajxAWSIdZ7QEizgz+6BDlJrnm9zDt+r4WeuEsYkIMV1JAi8J7xEqTjki6HTLUjXUg+UdXFVRZqBDemiHDXzoTwaTjnSth/6zL4VexomZnoziNqknMzKFdhg8pRZ6BsLVKBl7ac46ZN4Aefi6jrX9VO1+JuZLlv7fR6jpmbiiaRZpy1tDWvuU6tqw1Of1eFtI2xADvj2l1I/a9gEaPdYGd4nknKjnhoLm/ddHwqZWK/a8hanbUa8OUZKfq97pOaSu3GPd/sD7WRQ9vbZTzOrFXJdOBMUrtb0aN8dEpXxLXDIsri2mR2BUfEfR9PtEogmCjl1vKXO/WIKzbuW6pievMxZHJUgjRdyukE9OHgxFaSL27O7cNi/TSstgCA1gwPi/6uXYQztEjKXh8Ajfbg1g6fHda083lEn0VOif3F77VqGijq3hPcH2wL6RWskt2M3lUWpIlJcfqkpQOzbAHQZ/TCOYx5dxZuSWk5RwRqXy3gqhB19cd0guB5X55ieDE/mDIRfURgudjM/26slSTpaV+kYwA9IFx9JOLca6ZSh00cGqsxSwEddw6DZBG1c8ihGvsr+msWvSwKOpgIGOe7RaML5CBtSzs2pa73s/CyR7SGwqZwLS6dmh5pDVWPOEk+OMXywlJC06RUmVH326BZbAWtSLak9dMNqqcIW8ogBFmA1PXxY24ZBZfyckr1PFmOGZgvYfJWfaZzEGo5jon7eEE52rawCjDKWtdV0fYfwAKyB2jQw9JwgO0Id6BJucdWNkIa73p9wmJpkm6UN5fN6kKFOubVbvK6z45Of5GaSeQmhM+Sh+zXCl1JvgLcFErWQeuC32k3WjgBY+TQpb2GyWSicZhTYrv3vE8VK3IFK7/3n6BsI40UE5+vVRMHum0f/QbUhY0URLqRwgIeN7MRPGQJWQUmshw7L8Lz/66eQ0rgqAmSsguOiCz0Vxpj+10XmwyPMENiCvrpBy9+RB5sMJwwd1S758AikpKZ4UN+2HS7IxsAMJvk8lttkTWGOLKlIg/EYAWC1POiKt9oCBDWMY7NBqrmeO12ApwZRexRmYqT8jA7KJFbrfsFXVs/hpM2SyuFoSTrcexqgRSbOtkydJfDLpg1mdrEIO3DjMZa3NZs6A80tfR24QFGvr19lIoz5zfAr61k1yhgS3kX/+yg8z/bQN3GBR+/YOZEOqqRJ1Gheu+i+wTJcY5eYOrgMJrTqnBSBUwoVimXej9GmECWcc1NRvhpba0GoW+l7S1z83uNEthyjgKYQvUUCsOwvrZwQaVR4eVbZB4BHg3PXDZhSN+0+gG8wNHFeXgnHndEhzFEKSf4MFMp8kTDUqvLqvq/rbnlOvlhP792u6+INIoe7XLmjpuBjEBflOerVGUnXdrVlhiWRjmUr3vm7bG0cnep297OnUy/SiuY7XCE8jtM8LMlDy7xRlcDICZz4Sm+wdg8rVdzqhE/GBaq0oj+SXjqq2QSOHWffBq8ok1hNLDL5EZ//ZAk4vNLF4BPUuQw7SZNC+YtAacfuKaUFmDNmtIZ78ZjT7mSXjPTPjXDYVlebhprlTFAMMds5GrE/Yg2rbr0mk1cyjJkAqbl5yFPTqq4GOGm6QWsee9RaKPXPezDWCv/Jmrzqg7B1P2/VFwkVsc8T/5XdZbl4xvmGhTpP1t4y2TqoM5aoMh0RB5Bqu/ES05y86zYpnX3EKtNsizlLU12H5XrQh0c9rgMzJEw+vKI6a7pT0oSNI//FGfwkQjPrl3zWPret74NyKvp4jfgTC/Y+GRDAInFAHNLIgsiERLXzh1BtN2W0EC1WcjTF+mU3yL8a+Uv6KUf/0wMAktIa30+6G/BwmUNxv503OYXA0XNXIFOThXP2K5tM/L2f7OCsOdYX67NkTjyS0QbfVkVSHAmirYPOHSPmFK0d2UwNEaenDDAPfrvhEKCvWuU+6wcGEXs/9kYB1CoMZ3KgBAsmHrqnrt8IRc4lCWD1S//YurKCsRtaFWiftVeDpsqmspgd0vlECrJVSCHiik7+mBGsPV9DnSWI8C2w2m7Kmkk6e/1V2j9OZfjwVj7hAr3e0OGRVDUQjvt0DVyDoYeWgEJIQAo43EKRiHH1POsk2T6/UAg6l8OnMLR1oMr2nl7/+IcLkvb/eWBrM7gKgR/UYatiEODK8kJwlfedjIY9So+Fh/xPJ3NXLvLXMkq4N5IU026GV/0J/BFGZC0xO2eWCPluhg3ytfshe+mxie/PiB/RNlpBz/PCFiOFWSN4TRUx3LySdu0jRPKGM2Jl9TEvlGuoYXboczdCDox0K5MVjRdr4ciDrYzskfTb0SeszhSCv4NJ4EsBZhGCkZoCisuqdKFiWzj7rUjYssa9EYVI/7PO40LhND7mwmNMqDibbnr3Z0z52jkdwW+kyAnNq8LQ8hEkfQjgkTjk/Pzg7r/soTjMNbDdQXzJfJVL72vt31/qJUmgo1Hr+wG+oF6ckxIUbhZl5XzDhLqnGoYkjERSskB5wVco+CgjA+TztsxSma81T+2EfxJmplzH4GHt2sG2lq+Z1iuTAj7K7rZLWUlXrBii/5zgO8zh9CO3iytHKQP4hOVnCml0qhNmAffSNgZXVIrhekkpOVUWSKlCc4qVOu6nORR+G20GoBz6+SLrN7Yp4VNZc6hWOjqGgbMP+8UIaiNVmH+zkDHI7t3+pekF2ZDowzqlpf5B6a9b5lWsU5enz0lo8a7RIy39NckaLrIEV+sqaIBL+IaM/6yNXMGKGQm1cmaDrldaEcCv5JSedxz8Z9Kh31wcRkAyFHQd4SwsBJ97rxrICZMjwzCAwZy/Qaf15Saew3QTP9nPdrfU2v9siVetzvYGOOcBW37cIKRHJXYvWDQikCk5ODDAwMoCFCuY6fOqImMY9KN5gT9MbXZPA1es+5KmxG+pMKHxSDXyvnwg7u6oGwsDUAIpkA3qIeSjUOhap5swJS+Lnl4Y4lt8y4Hv2Y+XYEsQ+n3VliwVh/8gn9gdESXEWeILFQRpr/rsu7VthpohHC1aWdREfMVDXAAIDVCV5kKFTehyXqu1D1q3EflRhmj4Qn3FWRveqSuTZGOjAEHb7ry5xpWcXaB+Bj5/CyvleOvFrnmPzx7FGsP0RzJ1QXpvzEfm/PMkNUQslwC+l+jU1mnRgM5T9/loTiUNx3NvqKQGAL7fU60vbeQaTmYsVxpQEiHdeKBJ/XY00X+QwHRs0PWZbsqKTEWxBcHtjMICeNsRiNffJvkZno6wPl+gqBtMIGpB7TddhWSA4qCFOLawloiXlUxWZgjIDnjoriAAge2ER+GETQ2sHOC42aCgOqmF0lbBiRiXZ6nHFpM51JKSN+CCB1PNvE1v+xjpP+8WQaLttXmO+ZcHfOWaYHOmdym5w5a1WlJotpYbmdEI0e9kCVZ6Nbefn+WBS1j02uTB6xH6kg9i6r/HSfjMr093fKQ+M82YpB/JBOQ/TkCHah/hZy9GA2is9zYEQMkI1kGFwvaWuuC0WQiq/dTpaPsDVd4AnwbSwYMhfgcNHzQZkmHpmP61Gbo0ucYOWJuK/9q27f6B2Ps+6nIC4hrBaIPBUOL5Izvd8oy8jO6tpG2yZ6OFVF6bOQRISMEm8g16YrAObFt5Z0abWT8wmR5FCSZ71125m4ktO1mKOi+Yr/tQ6p218CRfxpUshMGlCv06Pe28WBtJXoAMqtrI9s4MxjMvpwzioDxRXL1yF7kZeW/+0KOTQKJttYdNRq0jv31l00VyUQJakq/C+z1yUBqN/M4caENeZvxILyXNjanLy/207T4WwgkhOacrRQ0yqDnMEclUY6cYBTjyT5UY9cfwz+tqWk8fufbr/LYl2nCnNuO1cEZdmM+5rxuXIaTYGhA+YeYIojE4KhD4QMoLhl4eAQ+FoOlSFl2ldJ0eIiuQLIV7EX9lx/fU928L9lgtUafI23Jym2Ah+Y7+b05QFk/vjCdN30AiMBgXWokH3ml/39GGFrwLmo8n3X7cH7rydFItERe+lLoLJPhQXdYiucHIUhMGiyRUT7ejBunmmQOZJ3EAk5vF6JH/tpH5wKZw0PMi0PfyGoSdgLG8DNwJ4jj4oUuEPHPUrz6tc+WnHbXlnNM2u9tKevXqxfrzhCC/M5b071GtwE1tADmFDZ/VLNiGJug1race+Xs+Mv5p0qXng4UB+OydvI8Vr0hV6Y0qO1Iirm8sw4ki7bj/NXgLt/ekcYnVW+PbHL1vFjTdZeGhzurc1PodzWv3c1yyzzSV2KR6Ajkz9DVKwt/75MOElYikOYHPzEaIL+Cd6q6pZONpBycAOFMcPFih4pcrURdiCBjaok2512j7C4uVT+MRdiaUjdWFuSYfoL137VlR4sF7MEmALlAAv1GYiqdpd3poIPU1CfVIii/9SNvbhLm3BFh1wu0WF901AHHGb7CUZ/8CLvkNLZ75JYFnYpVYZ/kc7dl3MU0slHJzQbinRrBkoI5WyRmPyQIyPdqSTjwIbpdNUxhLs9y6p2BSVjli6fXsHpr2fEa13+9AfeH0eDyKz8OTYcwFSNxH3p5rzfOkh20HAGvRQmU556TUMChesTCpEGoI0yx2npNSOcyxems0dhxuZSTw3lzZHvbQzVkRltY0rcf1/UFu3ZJx6d4XuysTP8m563MX5tY9ePP9jHF4bFRPGaGFcYbD4F/Uu+wOJlJcJXanrn9BSz0cDRU50rxCpkve4o3XTbTQfQdIqzt81WYIdoB2EURDSjK/f3zmEvIIRTMhV/dNH/OakWmFxzbHbUDKOxcCV1OTsVUzyOnvosWNCzM/M/JkrjJBBQQ/QVnEzdTtNIYqJic3CNWsQOcE9jPwPCHsvwbsReFINrRPL/rpdvzfEBdIjUZc5Af4Pj6nG3Gq2q1puRRzIjlAk55ErnH2rJIg4SUTpECPGxpxe8QBS2xkYkWWnX6b+IJ3mRq66DJ0ghbuqPfrT3P23q9C5uma1ivabxjwcboiTY+F+pDB2WtVaSXdKWxPooCtM+rGv2Kh/IuHIBG4H/zBP0slYMSgexzDGQVT4bq8IgChOBvi+ZBUWlEMKnEnOqi723jO3+1liEOLjjc12nKpqffONLIGijAovkXqvhsOAQX6V/ZXisS6j/egJCPz8VjAgVTWRdUF0kZVIugRJ/NaTcM0cR22OKmeQbteR/3oKGW4Acl+pIoulo7WqGshYDmb0DplLqF1+DytTEDErojMT16Za+6VkORmGLFSyDlNfdMcPRZgBzYNwYmPAaKYuQfLIutaZR80NYkHQ4i5WeeyBkKocSW8yeimJel+46qh8ddftzATmF/wZcmM9oV5S8Tb+CGvu7CPOHU/jDvGLR2+PkVbOVuDRuSvGNCLyUhx8cYxjRQSmwMDfS7V4D845jPbMu3dHQGtRMsP6w5fuxapB7Vy4f/2ZAtmz4OV6g3T49GL8oGBDuSB5jaAq9RjZA7AN/zYPwDSfQJb83RnBH5gNH8Io9xrb3QUfpB3TTOrpz2ofz0u2WtERZqXB/Sc/V41WtTKlfMO47LKxIVHh5l/INEKwyHrzgVAC5WmTelrs/hvzxc+Dl/4rxIDCNXA55oWKMg0F7g41otvrXg9jh77slcFTKwzpMEaj5bG+4soiGZ42vxyEFSmYMzl8KYxtk70zkNo6E01Rxdm552xINumcA7Ec1/nRTXBv1RkQYqDGlJhUdDPdJdTWF22aY/4MxgBjVMsZnRX+JmNUF/tRH6MmFSxP5JtYMBlXAMBhUTQriH4uwIpEFA1P2NWE6ywufidetBj+UeKMUQ3oHrAGGJ2hFBguNcR8E3Tte2DhIpvY3yJOFE8PB/iUkziRbulEPK1EU8hnJjp5Xpr62aeayoHzrv4UTQ4jKtTbxtJ6Xf1hp8Hwt/inURBNQAWYg7awJzkx5TUqrUpFgjQ3fkBcHNF6cIXqlw0n/5g9w/plH/Dx9ccEh9+GggmZSnoV2sCRY7rXl4V8D7B6S69KGnmV9G3uD8/LGZwS59pxx4Zen3VHHgSyR1b+k4VjPn5OzltgxFyfcSXK/sTk0Oj6lo/jmdYKJyjS7VL6xsR6wWqsmjK/GMG9K72+Q1DWtQPlE0cgSWC473fWQsPo66HixbqyRsCLBTAWW0vIErb84p/po/N7M9PqdiQ14+8qXL3L95we2wmw+EuUp9ewKF9DB3IZL9mujs50OiFTpjJ+GWLW7+MjIJBBJwGfaqRHGpNDYyoZlRndLq37SYqEFR0HdTp7dv+oEnkhDEtj1OZp0sf1a7ShKyx5h6sFlIfMj+P5f+g6AyM9Zpp2PXivkb+i7Apfjv4wGu1M2oQx9gDa/Jk/5+NUQrahMF40syZ0NQfS4SDyAcJHzuQclI9sxxifm+vRL0hsSu0sXgLXap80LzfQYpHVOYS/RhTXX/98LlLXnWluPCsJcVw6dpJoir1NrcWa7ZD6tqmqDB+KAwKvWN+j09xm0adeFys78lhk/M2cKbdAgmT/Ay1C2luQOAiS62T11rADbpJIqGrXUJiqbcloK1CwZ9f7ZwCpaK6lJtYFdAMsv/udO0/SgB9XFJfHlH/tvsUGH6jTRkq0QLK7jc57130PdurBGpZAKI73CgZWqdnWF0e/qJ5VB8xTfg/EXr2Hd2cHfL4sFiiXBgCy3000JPdnGgzwWW4yKitdWkSzQNp1ODTs9p78s7yWVgkH6CbARV7FnqdUcHWnKqPO3cMi1ljC9Qc4QyYGTTzbRbGxpNq+niyJWRV4FNJEakM4wq6/BsnlVDIhEpVr0xWPiRpsqapnYkA/0hwqfZVSRJobHg2YBatxWOBO3NT26kAaSP5qjULNJj21KfLlCXo7oXFS4fIT1xKeVBGCvXAZ1dufH4QJGsC9RgX2YFtYfol+yLsU1TlZB8gyw94JZ+DTd7pWhHaFbJtvebOxQq757oIWL3W2AtDGdf47QtjlvKzwZQWNVFLcNhallMEWJc0QRYXcdvKC2fM9VTdM90OTfTcVlD0oph7xpzw3UEBu1Ai5+t2bbxfwD4TjNdG7DkSK3jZL5SH5vgMEPHNWnig4qWlVDUkWaD0QaqZORDRKgWwA9c3Eu+Zu4K9+RoBV6a4zScQafUJAR7zwP9pFPcuXK22tTRryCNatqKENclIUpITLADft8zJOUYaq72FpepmI+Tjni8bM7Z9wnG/ObNy0Z3t7UkJ4CgGWt4SbX4Wvtth2lvJ+7qPYrt8ApyrVbJ62wyMoScjLjpEAKDqxSCvtnI9OHPMm+kMAoKxRtN2T3i5EicMCbea9zrFEOM8ErKhEnADmj7VLmmWLZlb5o7C5CXf1H6Zj5TRTqCEYcxNheBWOCtjgna+QxCjZfdHGfjr26W2wK4Vz/SWuRfP3q0z/8dITFU1ZDz/cT5U3BnNlneZ5PLIo/75+rj+VTCGuIPVj8rT+9ZeOg2lUrKarmdNOIaLs4tTaL2ImqecbVsTsC+ZppWjd65jlRa+4pQI4Z7MnTDD+wCCdnLNlL+X5W0E6Re/+E07c+HH4RcGWoLIEdfJeK/b02IqH+j24+LOF1meATfmtK0UQy4OEmL7e91eff/9hcyhs6g98bBr0XkXiAZ+DnG2yfd2zpTGc5+jZ20f94R47sXOkjlJ4c0B3JmiFkqbX4EYw90C7AhL2FCIVgP3Me2k+qLYBfihjgDWU345g/nNdFI+/Aci0fuJU4CfOM3/O5C14mLPSIwqilAS9xQ0+bN7o3fuSJ9CtDI221by0e6NdUpUrJpUj6EKOLs3HYVJ5cQOD2ihbX+mEhmo+QNs+XcpWVUv05QPIkFd1dBwMgGDKFRVlMoJ1Fyi35MwvGGD4B9U5X8RjXRSs0HJ22+MvsG+YQkcpGmwdhZ36SVcJ6oJlYN6kqMg0QTmyX0gmGqmqAG9JbuEucTZ5m08oTyF0iN04qICEL7aIVVKaSfHiLHjenASlU7AvQZjK7ZfJ/xAD85FAn7qVFgjffea+D+oHpwLAlhBggU8XYiCVv4gnw5wt0K6CKO+WIhX6V4bcKkENHkDRo9NDLt0UtWWTdNlDceuACW79pstKXB3A0UhkRgVlnNEQmVckjOq3H0NjEqCe2pHOHq5kmloUTTzeuLGn6FbxEQ+bNH8ksqD2u1hDyVxx8riLObV5UMVcKMvvogAjD8h2TrWwUkHWEKMqRkYx70nNPYCXFOWG2rs3JiObeiWf6XM8d0r4Nh4xuM600LU/J3hyzGxJLG1RkbR5mBh4QhR3lWznlNlXNwXqWPgbCe3Mm1V5jre+EkY8LZH8K9UL9Oiht9uScMn3LWbXLNPXarawwW8A5/1cmQFWzYQagTkcPUaComepyVM6Z2OIJTrRLMnzqTMS/b3j5oweApe6RG8+C8utjrsChOFU7iYuhxBvsEDHSSUNkuw898QRpc8R+mm3rskCZ2U2ilGlWqleCQkp+0vdsiNuGVhgps7IZJZiY74zsrssw9fYKzamgyZGFM28UdSFmIUek9ZoFb8tHjBslVEYNesSRiPytJi+Nr2ZkjxroUUSs2InsngH2EBioQqbxbVtCYhJAra1a9ri1HuoMSpIsb6CuX/f8WezNrbPI9gi++rtDoBQrrDuYJKXRG9N4NopFX+eLi/otzQw1efP4flBw1WPDo9ZWBVKbFMu6T96L0y1Khy3LVZeJvf/s6HMhW7fB8cOJAqrWrFEMT30mc3zG1yK8eEF9WOBXgHaf/g7V5BTsl5yK85m7VyEAoq/a3YBd6pnCR/+U/opsCHcrs5I6SkHxm3PbUTtBC0JzGgoOTEoJO9aXWssrOfl7vrlZXTvsSdP+LOiP35Ydz6czt6WPDHswzmVt/KEeLBP7vsaelI5Vq5Ovj1QQmNbi+zGtcM6U9fqCbU68tQBB6cgjbOzqvqtz7Ijo+4xspH2stUyo26wOwo/oG1YFcvMIjsz3BdPPiFuK1fJ2g6FDEZ0JAku94HDsyMGS9zerJaJPxXDwz/slthW/fjH+Uq/+OuR4IAVBLapW8llDn5o8A2N9NNABGaKZ62M1movENhGKTQw+CQWoLS/fAYrO08AXagiewFOYIFqF5Q0id6WRd2jcSklLADwwh+jhcEXTe3BEwzDbdI7hn4pAt5lzgG7OlTNeaQgXZppYRG8c3jm3KfdeKM66YF33csXPirtIlUOro11dSJXScAcPwr4FCCByTaqJR1KX43PoLdwDxSOM2/9dgfiVRMm5EjlBGOHdSEIc05wXlDnu81S+xnR88Bbjkvuw+gaAlNAQX2oYqNGIipqlU6/o2EhTtcj/vLOcgEu+6oiBm+w1WhdbPlK1EjhQZkd+QjOT+AGVPtZ4M9CuFRnTlG/3ScQeZwCRUR2oYBVm9ky7C3TDBxyPk+CAOYhcCK5j0BdfSESsGlzXFUFF8Wj1EdFsXdD7+cZZrls9k9ulAI2hueuLa0vqguZHof3V+ESii010FPLAcnkVpqMjjd6T+YCV6OtvrrbJm0RSj1sc1S2avPqZ24mW/yZthz6PEx6DfHErOGOcIi4KUnRPE9kUcdVEO9bbkPuB450V9rJYsdJ+PTkaY7AWpJyNFEcBPX1JktVDW7TwNUG2tGWo9W7dmYtJFNv5vwltKHZXT/kim6OJao6NkjQ2hriGEh6xx3P4RY23yVX54vngCtV6dktrBKxGGebj3L1ZdfyMlwlHnn+9D0/E/Wo2wqpo3uQuCINo8joM/sPezHqrRJvfKV6zaL6PA/49Y1r2HhjELHxj59iPodYXMkaeTE7uUxVyEnCpGRePtebfEF7fhBrysi0M6MNtYlOLeMiFm7msZEUoyD+E7/gYfr2se0AvDlIoND+BReeacI52/7jaXFGjuxzd8+GFLzNnIY1cVdbIz8FHUyawmSuhMq9uwkpTk6RxzFyqHy4JOmMWONbbE17WHGzIev4E/LS2G5D3otfGbXldXwBzpExo/amvw8M9mJaq7fs6fToBIrrNXXyrNYO8pFIuFEtLteaY0PVB3QdgoQOALRvDGXEh+RBMk+sxu/JaIB0LZnZFvRoXT917MmSldeTpXeAQRZrBF2IJQkiuYNMP5LNVWUFYdNrZH5flzcx+iqt8M1WfoDLrK8mMxyfFQXMk1UsTPHRDTT5MVzYV+nGOrdalF5NxedbXMnXSbKJZihHEUOHRqGOIDfvif68IVVomopFAoGGFhP9pGMitIiGRGXongF3txGbYtiTcS/5gMragWin+qidSVleFPezVrznmSzQcsyBkcP0gi543BISmIwxgWJiYapMJ24qXvpP0lnnY+5tqpQkw51SrJtF7kNCuvr/+euOKyiVH4P6qjd6+JNpDC1iZ4BPxsoMBo+nFFQzmDXbZ75RWyA+c5nX3K96+fxBIWH9mp/6q2lr1Ex28GdsTylvNRcdZmgSarlsJBtA5KGQ9zc6/9TEz/HMR1SItU4FeXTvYc4OP7Yz643i1bOi5V8Hdl7nS4e1cDDBvz4U12R76wjtnUbahie2XFfO62yIrJG0p/DozMTeJfrvMSuQmK77EgyrmQ25uYDo/Hv+y1QWVB+TyAKQj/Kv6/3RRja51km+mQ+/6py3qP09sn0TBgx14dEuXn7XpVoZrP0HybxB6NTZVFYwSzPpjesSw9qCvHMgj4cDxeWrUM1gw5yLKaS5mDXl5Ufg60ur0pvXqt+93Yi3RInLtzkmuU3gFcrIaisxSjwH0Gf59cWcxqDWZdfs9LXeQZERmNt7dNI1Y4Z2ZWsVyEGTpvuo8GHGubaBYwtjiD0gfNw+TNjPocgOWtKmmQpbOu1w0oWvDVxl0wBUimUjR6q48NSdyhz9YF1Z3BRPoUHFOrRoSvHFebt03fOVum/Wm30a8OXWNwsJkAWDmLvhgyJq89VCkKMWk4rrrmcmeF9kkZ8C1CtFXmUOTqbrMbiPddF/l4dJ43HZwQnT9GvH9uhxJwKGSyzw6DdCFoGy/hlsfLyKVNim7Ft8RKlgMzVXoBgk4pVnUxKdVtkYjnFr58oHedpr4X+5S5WueWOx3UP5wPwcLkSuGU5weBp8Qdu9tnR7Kq3+lLDO2zGkd66lDIm07K9J9pyVtOiIIFoSYNurYZzL7wiNPmMuM5hUYkWunwfTha9tdJ0FM1z07N91h4Q6EB1/ABzHCeFbYw20dIizRSgeqJmxzd59T5ZhzyQBvbDw8OewqF83MZjcs88dYt57cpEh83/hz35FL0YoZuE5Bodmn9DeNZ71vTFTbwFhbxNl2YYgLqkW2rTnnegZYM+bcDmxQ56U2t8tjnP/w92gDDdEZbtAQurTC29gwgjHIEHkifpkFP5/xuxx77jcHoZ5WKRyT379E/wHpD1+3c3N2WIwzCkXUeBrvE4DvSJsvJar6MJ4zEx5Mu8E1QCYth0njjcTWhl2AhW+dGDkYYmtLF8BgTFIX3DGafHgNdbPifJ+qeTOHAoVIN9I6SbAEUwFwGs+O1k/q19u4VQjEGe0ReqgcVZA0ZfArzzi0dz5gbAY9uBiwSQkW/nT1RsVrVM2H97DT/IkSP76hx6EfvjRDdf43ncziZ93CHSQbmHm5Ope94SaC73DQX+Zkhg6WwSLUyCgwzgyNBRxemHBzjutyJLJp06GwWLvxfz1brv/IdRQaGK3926KFXrpOM1d/VFP9Iaq8RjtRRm3C7l9abK5bYXMMQObj6tFb+Vr7Jps6zWAn9dKI2CoCuZXJpiLuC0RD0rxYccVC1ddo/ApS3C4gtGbWQPAzSyvvjKNl+0kXzaA/t3lrPCVzD2+Lzbs96I5KpuyR1eQ+9GaMvoBhlouXnxBexEbttL34mfNqyN8ssK3Jj61NpA1nca1oka/BoqGi9vMf6sqiXDI2Z2LVL0iQQLC4aTqlM9hkBm7SWku7J6UMnckqMoT1pvjpc2x/3agMeBTYo9XnpvxTRI/73Hfgh909kqwSe1EqKCzXf9mgOkIyatE0z7+99YL3DIAY2O6nHHF8ttHULl7+DEvC+R747PxcHpj0xVAxIktuMjREhSQNEvmsdtdF7BWGyELBBfNeWqlgzpTq9ELGyFuwROpKSmn78HR+/+LgUcIZofyqgkGq1qETcTnNm54JDM1NHnzz3Yyq88BUBjKDBCakQQeqq6NPJdbIuRNkSHTjBaINte88YBjnLRKH4az5E1TKbmrGJoH6qyfBuqF/E0Nlm861gBLedcb6kttcd0p0Z3k3WMYTMcigG5ugPBXQX+f9szclsDQUs5/f+KMZad5BYS+ZPogITdbwQfNEzdCKAaaY0ETu2DOhMRP1QnTPeMDV8ieR9XPvBl0+ajG6ROAl+NuSpCyWmNSCmYkMpP0djcsMDYYZcKP2Xln25LHvXI6dyUrIqqcEEkbwGbPSJRo2UqyPnJCgp2k1nrM+jUjbTCXX2Y5e+5KbR0kdIXLaIR+WSMytx+PLO+6urjimFvG5qE2xx1G0gU5CBZp9fIQafTNzq3zH/jUMwiKnqXecE75N2OZ04nitrQu5w6pMofhTR5G/3nM4etbU4lN6LHdzT6f9vBmZbhYm5uCdqd50Vh8dcMj6fl6aYBJcRVQ4iSq2Ae6hmKDFTEJPg6Mq4Ojiy2YbfDkfuCjv4sn52mAtbeZcSb1HbRtXGNYLg4YEGHQxHv5GdEq18qrSqmCwsl1pKnMcaACehJKZTjRUztZJNZnt/vnPh93Q3K5+WmTi6lq03N1a5QabWD3Mxj3pY+adRnEB29K0h5vQ05GzphoMc0rtcQgsFSNJB+VSwQ6N95O51bX6dQ1SB/clKYw75+JyTwq7vtubuhfhFwOqUbG4UUo9zmWRiATPxX7czPPOqIZajZmz9MmArIQSkW8fcoWgNz96lIjO0IGZ0tJE1LTu1gg/6gn+k5IMVRxudIWzug0Vg7Jyuc7wD6+WDF0eB30tREIgP2OOQelrd1H2K43AKJc02PXvD3RU7+3kwGd3fQjMoyD6mpyP1y6euatM8L9MlkJtFml6yTgrtfHp3L2hGvywBuGZjSmAs92ozUYUA44ypq9uPjng7fndVU+ENeuRl8rqX64tl0pa3zcRWdGJ/T0hV4bARHz510McrwGo4Q8HP1tLIMrfNbPDXtDncGJIpvwzeUJ7hOvQ05/Tm0RKTQfwUT1xbLyxl+GaZxb8vUGcG0asQHMOppVDv1Qtg46O73FysQA/5/bMBP2zy+xOg11IvPpqLg+w3qKJJAkxfDGJ64VBe41WPl0Vr65xc8I0cVsMrRXR439lOGPNaF9GY0w4rFJa3SjTkIBj++c1Ro4cXj/Lj+nTjYwV5Oy41WVyVE8Po+ALZNar0WzxYRKDzzEkBRCvQjqIz5zzXkL4jNehQI/M8ZvZzhOGUm8iBZx5eymTLqGJCHcqRFJmfDpSvEibie3jRO1z+YLfwcmERNbTspye94Fqf1yif4mL0+gC2Qt5lnmd8eKYB2LPw5Mo/bh5Jja3ZOiaBHcsizBB6kxXttoiV6kooJTlLehLNlACeqUYFMXJv6ic1mxVGH6o50XyQtbFy17cEJ6W/VzhEUAC1unCjkcl9lHMFULXPhbVC6sZyBLXfq7W8hTWL9Ygd8oYNPUmxjpCnaqt0xLFBh3z1n1kJiO3gueQfXh8G0g/p9p+O20aW0L8tAc4AbwEcje6Pxi/BL8Bnrqxd9dLeMU4zPElJMOfRGbKRR8Pdv6wE/twwp2OuVbvCPbKERjVQ6c6Ye38Ihn6KGkmiT4V/3UbeP8tKXxiU8MsCjieF8BOVJ0aBGLJXy7P21YjHxH41IkUm26bhaM8jS4T0bOaxF3Jyu8/IQmhLboY2KdUsElH6vHlZyyXUO4N6GbqmTWsfFHKJMTexPhc/YNy538k1PPS+Bjieb9FThjuscJmlRhCi7Q1FPsfzu2J8dcUF5oUkQ7no7kNTsDpM36rlboJFNP6iSwDJSGJ6NEnXh5KK+nFQMrfYNah2FyHa26Gev0SieCYhPvujXZxTwCZ5FH2S92oJ7NxoXrVPVrlimBDulFPsfDgIJb7kD09UgeXzolIqre1WstJIoBo0/ky+VmrOcA9QK4r29AEsh07e3/UxsqvC0C3B4P5ijIqNhJChCz9wvYUBewpeEZI8l+P8OPpeYVi1PYaxtN4SL+ddfJBVIq4MpG5PAJPvWT4LPT9VBP8F/TCDQ/1f4ig/CvVf3sG6r9L3YrDeFFL6FDAoZRMWSAu4n+r9XH9tYjjbhrA2auKWfYilnE/USfq2hMYNnAmni18OMcAdigK/1owf5TuyXlSQVduvCj4T1+bDSNVorUO6EwVvt9a1BQrgYqxlfJctw0qdI28Ryu7dq96ZOd4i5TM5Y+8sRZwfaJth6sPac4hHdVzD1G/9tkdLhAudfWKOjcxF0mUYNhxQXVkHzvaGKJ4FeVsnZQ/g59RxGMo84V/9PHKbse66mUt50Y91+ta77ztA4SsUcADJJ9lttytqWfxfbIp95pTiLCldjmGWja35p1HDggnRGbCRQ+fSRZZNviIvvf+4etJctwTDo3HBzGeH0uW/H6aa8QxTyT4JzS4Q5m4avnKkUaqVIqjNA4hiqLxMn5aKaEeR8WMgYqsrZnLPFRtE3Yb/hQCyX0apRpO1koXSictmbfN9RAPO5ssoXWbv9E/qgHLSmHxmnY4i5ZH8amJytxHDxQ8FBGXSrLLP1uFmcmQaf7KWeChaybabPk9Q/ZzM9psvww0Wm2JzTsiRFKO1FwxHUjY3AC6349GLpirZic1Zo8Yi8eQhfzF0sGat8FOy+ZDNdHdHXCeDYhCcw4dvSA1G/W2TkuQWeebB0S+zvhpZEFgBLotcUJuubZpvIqdMDRuTYgPzMBn/yPedyAReH0avolT9PrAu4am8bIJ5Zjjd36bT4FkcJEvlnBgm3Pqn9zdYHTpEqXEFwRWjRUx4ay6aJryaWrt5o+X2iDUEJyI4GnLn57FL7Zy2AOh/YSPLFp2zEXGLvqdRXmZjiKDUtBSmXJHaszaWGXMrr0MQXx7X47qyC/trMmnYXSBdPmfTv5RqRokApWLx6dDUEU9Wg9hXUch+41DimNKGe3Jiwzq3XXfoG1GeDZv3BiaY2tuFtiShH95Pz9cy5tw8rUhlGuxMLHqYbFAM2l3Ic0Go0ZxPiCYPsUkq4onFaQlj654V+Lld0IaBxnddPqAOc0sEe+xDKBMzPNKXEfoqfKt/X/qfwWBVc/zSMTQrB235cejqDVDVi3mQNjXColfZD4bErfe7bsDQPkhEeBa6Qqosc25+zLUUybhdeRh4fK93BWFhdt8vVa4ziXMhw//8d/M6WkVfAD2x6TZYSECcCZApN8g2mGBLBvSiLTb8FEQHx8+8J8WGd9Q8D6BFZ6kjXgq98blZNB7rubX4OoNpFeY/XXhfpwU6vMLqYy6tHQ/JvvHHFJjQ6OrxY1adElhQnJeEFOWRqPPh8p1Vxz+ZnvDhHHhmtW4Z4MFZwtcxzU0eeDqOdEI8Qr3TP9eG9JAFDHd2qCIB4nhu8lN9eCivj0BjVoU7jHiVQANfgW8RD1JKDceWmIdInCjubJYl/tfPau3360RG5aogdjiRmOJgyZttU6Z2NdKjaEcQyZbzl3eZi5/6yctuyyU93XghJ+VaknjHuc2ROOcLMVqK0yiSXHrTsFDV5H34yacvy7E9E3MqNEGzRN9JYUTELs5VmKA2cjZFvIUattMmBsmaijxVobMdCXsgKnvMxCVXJ6uyN93X5Fq2afhw2wR3mBRQY0bbJVebsEWLqooPp8gVkDg0S8Grmw4NhgOfUUJPbMm/I8qE3CcbhhjN11YXfsKaj0vemuQQKw9PNTm+8We3WZhVKJKPDmKanGFkzxnqvEJD31Xa8pBKK+AALMNXH0fUDtYfePDhlog6Tt6T5JFZRQvOKL4gQm+xUEfsfk469VeUB7fOKOlDr+kFyGuugYlN7uo46W7RuPHcpqCUiz7GbXl0ap68UEAEvzTIw2/uakDiIEzcddnFFx5/NLo/uoHKM8iDk3BkFOt/0U4Pz/i2lVel9JMbar9DP3I1/fBPzCv9qY3eEDb3DkdIumCJLeWTEuLgLkn8prjTzedKaPqiMXwI8WwiQwb18kKvkp9M+Vq/X8FmijHL/+O9nfikyMXhjBrLYqYSkDiC1ZJWycYq5A1mFjjUP8n2d9wmGtkcliJp3zVKzYMNQUHpuNifq4tAeKHjK5t0ZiMgnPANbq7rZIzUznBDBh4p/YeOzA8LhfYlrDk6pwlOOZ4ToUTDn50aL0UFMgRYmCmmZlB51WjJBats2lMhABmz/6SGeX16tGRWVS4UlsKjq2Kg6Mk0wGPuvltiyk0DldvF5PTG1ZdIOtBsSkd/o9njh9J02+u7C10lLEpvRA7jFTwlcdP98EpSnrJNFtZ2vHn4sgriTBJpTzl3v2vWeamqnkQIbXHTqjMN6AvKmYQUbi7OCj7dY3KaTh1SPqlKxvCoPjFg3KALt1BxtchMggzJPSmsEtaN1GEgccJ99Gb+kW0GMla5psiArKoJewH2kyawmyVYqZgKXUrG/lYIc5KLVeuflaab6n+ER2vjgsXEl2o4Z/Wjik+Il8DiYwaJ2du1Qblc+ufG8TxdmHfo8Bpey4DTOQpy+iMvWn+hRRAYifYBN2YzRseRWu+W0gw/wWRW7heuNLjFlfzUiK6j0X55mZAP7hBm6+p5Itoj9U+1h1Rr/vM5ioKtYIdjASaizleFRgXEBjZrxJszQwgz7NrV8+5YHzPxTuYHAoKWbCYYMwOVntpdrUGRjL1PeD9EHkT+VejGy/obRqlCrq6UJ1EkPpedRN0008RqfTlMK7zAjTKSs6lAekCAa7L87H8x6XawzT8Hk9IRj4m9vzjMT6OeB2HmnTI7d/CLhI9+CPhl5q/SnfTC7xcmgQgcBKU2lH3jzC69oHOWBTWjNYNfMvV9Kt/yI7v4ZDlVB0veri7AsTs3a9+NpDSbWKfS4SIPTuFFRd4cIINFPYRcdnh5owOKgNIAkLXZqVxZWisHkU2olUuWqf593Q+vEZOLtK9sddpEt6CfnLbzdZIoxhAe0mY9X0fw2dR9x8vFIl10ZmZrt+sJONYVZs0Vfd2fu1kIeoRF8AEU/aO3GAB1ZDO2SeiZU2B9NuW+dXjCtee+8PsiGTBhVXjoQLjciMs+TZpqWYhI2Sul4rDnP2CXZDgOyDX2v5j5i6H46/IoE45262sBgarIe57ic8DJAwtx1WVmvvYiIrXPHM0jltBTYJlxw5aKwSdSTPPHbPBU8qR0omJGo6UbcgsM1/fqR2tv8MAzphzVsyodhyu9ZgsM4XQ6iO4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28634" y="1524000"/>
            <a:ext cx="8232140" cy="487934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57200" y="1295400"/>
            <a:ext cx="8229600" cy="685800"/>
          </a:xfrm>
        </p:spPr>
        <p:txBody>
          <a:bodyPr>
            <a:normAutofit/>
          </a:bodyPr>
          <a:lstStyle/>
          <a:p>
            <a:r>
              <a:rPr lang="en-US" dirty="0"/>
              <a:t>Eight of the 32 conferences received 2/3 of the profits the NCAA distributed from last year’s men’s tournament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70523" y="6433003"/>
            <a:ext cx="460888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Source: NCAA</a:t>
            </a:r>
          </a:p>
        </p:txBody>
      </p:sp>
    </p:spTree>
    <p:extLst>
      <p:ext uri="{BB962C8B-B14F-4D97-AF65-F5344CB8AC3E}">
        <p14:creationId xmlns:p14="http://schemas.microsoft.com/office/powerpoint/2010/main" val="4624645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rget Market Segments 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57200" y="1295400"/>
            <a:ext cx="8229600" cy="685800"/>
          </a:xfrm>
        </p:spPr>
        <p:txBody>
          <a:bodyPr>
            <a:noAutofit/>
          </a:bodyPr>
          <a:lstStyle/>
          <a:p>
            <a:r>
              <a:rPr lang="en-US" dirty="0"/>
              <a:t>Our target segments are less than half of the total market.</a:t>
            </a:r>
          </a:p>
        </p:txBody>
      </p:sp>
      <p:sp>
        <p:nvSpPr>
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ubs11WMMKQMWY5b07L3krsaT20JD06MnQKD5tJA2hZ0y8eNH59O5xkHMShUFTOWejkJCOFNDkvRytWtY2nQeAKAnpI97igH3orjEOGC1uzmd1dNpjCjcH2ZBAasOefHTQjGZK3+1lyzHhPjDnYPPZCKKd+dUOiq0tn0bYKBgvIi8fIGBKYAljK3cAkWHSbzYnnjpUUiqEpjVYTp6dHAlkjo+yxcY3/zLTF3NXUNEfsg3hgXtXHxlMvdB4umX5h7DuTCk6k52M+uiP3R2vkzXG+Ws6ySkJrTihEfUy014PiFWMyLTUqTo0SeaJxGouPXbwGpWbxorCangQlIsV6oZ2hTtIpKiRH6/yNOXg9QBVIjMscFlVDbwTC1XAoronrMCknPgkork12lhY63VAxE0x0RbYYt94s+UIf61ycpBVIbHr82crmMo9i+EoscRIHEoVQjM+mK7iGVxNkDc1cn1B1KN3ZQA5sEOrGNBGFTeaCIngUTXldaeZpW3+E8XBkuJlNDCwTrHej5fSlc2d4zUxE0NaB4BBJovkQGP+2IyX67Ap7NGX75KXxoJItj0Lkn0IlBfskwkVjSp+uCVScpiMJAFY4GHiVy/zux8gl+GpaxTy1JL4rxc1+HCX2P6fgRBEh3Paoj3ignBqbBuK1ON7uLaxFgTpQbYiU4nh3sfCYh1pAwwYh4WyTjcjdmJpVvMlSrd6wSCcVU2vmMDJDn58Bk0aQya69fxjlQuh8hrLWq6GYbmYchdRLvIsBMJFr6L/Y7cWMPEeH97te6iwQRbKt7orQS+Y3xQROJKeX9mnxsEa7vNncNjz8nYkd43aRMt5IniHnbWbWHYleUfWVazkRIwNERO3sEuYgBXa0bV/kjrLGaLdQ97O8qx+HZKWSsLWQXtna02oWttMGJfiz2nOZsI5w/q57XwbjoiOjjULGVsBDNZW71dsuxXY/Lvphe1Yd1pqwi8FzMtPdVPZkLZodFshXShITZi05b8917bmnIfF8HkH+jkgARumG6w74p+MIc79beOj9861iZ1M6V16Fn8DNrQOB+n12+P0BJQWdLhiaqGWZweq2+EFBoM9FT88MvWkxEtWtSyZ2K4N4yh81m/r631p6s5ao0eGvJSyVNmhZOZylHxkL8oHiVFsjUeFXR5AMpJlHGRfnYXpoVf6ZhT/OFLxQ03i1cljCxH+LTA0OvWhrZAabx9dCLZ2ixVE8DNbsncCVtjYEEYgud04xF2O0BoqQ9pz4V3tMVNh649SUUSjH/zaT1/JOkos4vHIF5bx7I5F/OXWdyIkmoo+3HNFfu7upzeTtRE4d19DY9O4xu1zaZANLDkpOZRpN/qqqL8/a3RKXFVF/ETKRLsGJ7oFsLVRGRGHNGhFzjLwEs/4BvdcvXaCPHYgd4+HEmLiilDVn/7K6l0201FQBGuAfMIWAeUpdY7/XlSP209A1Pw0+P8qyRAtWLKC0P0mCuFZn3qzCpFrddKd6MEpEtLZXcniZ3w/o1Ps+mWDDcA21RkfZkUrFlOwfj2+oFisK2hwbxgxeXSVIR4lIzdhvGa+4mh39VD5wwGBnoxlrkYumIrloG1+DwzwRrxKRK+HLzdrShpIm/+8JGsjCPpQ/LBuP0fM9Q7mvy0vMJb6FtLe6Dd+P4KnaOHyNIkylM3RbOUI3B3opvbxYoD8jlfX38VZunE6knSJx7ZSr1Y/yjw5cRVMdgkk6sdLI5Rqonpt+LwG1Lg5jR3fTrdrlJr8eIHQFEy+aUYGtAX5zvajsTtQ0PXskkhA6fqW4Tm19/2uZ37rFGoNnXICYK8yCHc8IH/xp6zPD3jlTxOi72DkbGZ4lX1tibR8OEAMrI+2anoC0OvHeOCicyYUBktlrq+1KXhjkIHL0yKaimDPtY3DediyZGwhftaIp1pnobM+RaeYPnLg4cua0zOKs+mT+E+uAMadLz7QBPku6QxgVf4VVQIuqmtt4F00duY2eDtkXVkzmAeJzcqVCz4OmGupebaQ/DNvwW7Yk3cuH438rVMjYYZCFgFslXVdCqu/htB+u5qx++dVtFtO+0znuJte11ild7fk6yl3TDB8W+XYtHJmRtoTfR/WTnxYtnaCxFiBcitJd0U4tOU8hMFkssabgkkpm70sm7rfvXzOs78Og8b0hcy+HlQvm5godqC0RpQly77unOmb8l4CASFUt7af0SwnoQ61TsPnUsugA05xgM/vwKblRYpQ6gMMyBKXYY4fhYhVV2gU1vtV2sKzi5yp843EvQv4RUT8tLruJMoM5b002dRU26jANLVB6qpYmEWvGvq33tPR+SiWQoQODghtGQCnDV1392CuzvbPIRKXOd/HRsF4nKjj7BFnZV7FLOApMB3jFfm7m7puGXwv79EbwLXRWSPFUkRq1NwjNBvtYO1SXCh74WH3GFMagFhGQBzwEDbE2daP4/6mnfM4Le0ADvsyyAcy9nyRoUgNMy6afGh3D4NGWDLPQDQ6J/sG/J+muLwMn14V8VJvdoV86MhhbVcRl7IIhh54Yao0KqT++2TkfJoPwO35YKLpA0o4Cv8uvrayvmiwfqJCuaPd6utoziKFZ8kltZBRpd+usBlWrxeWy18Hw4tT/9uylUrAAooOXgw3bnQiM1iuYslAJ81JYJ1+aa+Zhv4q4tnSCX0yiUSPYHK4vwLB0kr+U3qF55ZuGR9kbC+C/roBVNsNC5ywP0TCCxrxbS4cCPqkoye1bpMEHgkqQv/+D2myRvsDJUkjDyxJWnO+ZKBBoKRuECh7jhD2HYE7Rz8cwG0h6BENjb8LX6mION05JcMbQSqedI4yK5WJJS0IkQWOa015MGrgwqBDKtlNKrMcSMeB6fQht17rTVPD/on3/5ORnQLOe4LOyhl+LsfKZR83I/7SRuabmBDjEBIuNml3y+10pDhs7ym1+NsooUdTIwd+VPbrl52UQEB97KAPS+e8GcMu0I8ug8vGHorqAYlFwyj2VMhicGsgxWbvxFapuoh7sgdvufGRrI+rl0DaOOckHQDAWu1FipLLlzXadBIUJn7h7P/BTYRIjs/FB7FwUz4FFH0Wq8KWtpBVwG4cC5y6IUjA4z3GG8vM4OxMFWtXz1WEpi2EkX9FAjIQSEddMlgXuGAghVZeWyOWOjQtFYXfVimX+fYZ0InuvHKhO62bbioMtnUO34TLfxZJZNfLcioorZvm47FboQywChu7L2uVyNGNkFnAlJ1YkzVPDLgTCLLvsMiUgVMayfZZaja2vJ4pMhOo6LlClL4ujiR7tFZUGARfBISctOXwg5JWVd5cNrRjOxXvxzi3cLQcjylPprwUjXlC/AVurplE3u4uwiSpmzhiUsvR8byDk+dLQyhXzj55Qt4ik3NkcPGZ/lvY07QJJJgWfCs8DZVVFxR0cnBTJQtPT6UDbAPHLYcDDLSlu89AK6NAPCQhwlHe6Ye7D7PMFlTeGn/Jb8MNWFn/p2gOjgfHGpfAQh8z1MmHrn9Rx2+iiU+6en2U6pP0rp0rVGGkEGcRZY6GMpIu2+MNzaToZbMj4VLI2bns5kW6xnFXNzyLmv5UezmAe77r7bxkwGUQoTe0a+hbScEFsjK9GvSbz1WR2l4C7iLvteMTD/oqwwNxebQRq5PMaCedYaN8wZ380/d8AcLpPGk5aIA4y6tCrymlgGmuPa4b767UHQlvM05GZqINX51aWabsU1cmWUGeoeAEzUCchbocGceGrJ056Zd1Xw+/gxxnLjYQ6hFO84I5p1RBulSFK40VOMo+AR4WELdwEYNs1V9GE7qqZOJ2pHN7hpqDzDOWGh7fGSPb5uohjqtPFtXmo7wKpCe4ZcH6WWoLYUXYjuQglrVA8CkdeEvksF3ncC0nkl/2HMtSgLN5+P7EJo4AYbJUtA2OpE4c6S58ZfAuYUDvxzt+lkLZlkiXh0MKKenQ53zsCCk16TFi8z+6a2N/V4UwbBTDyzzWbofjFP6QrWUYAcx/7j+n17Xcl9tKyqjxPnP4bW6r8+BnAqR83Uz9vIyst6XMRLOXDMltlYrPNnVkLgInSCOhF+VUEaDq8WK5yllIOEUA0W1YaaSiTBLFReXndm4cSTttLUZlBdda3au27mcYNCqQB6Op4keEpZ+4TDzMW6dZev5s1uSFiAEKaM4SqhBLKpQa45jwpSI9rTDt3ssD+hcZY8XURF60IYtvqLV3Xf9it7EGcCB2fUJ7kdDaVEItT3PJPtvGBXJlpccPnfwWynOM5JGxJVFonLVO3JtVw+MIMyMJxNFedgInUDwP1YbpPHMsd20FiKaEaLzwY1BReXa1VQUBHd855jAfQZYR3PXxVo5vcbVCMkdUyPhwxiQ36pTzhU2b7aKKCQD7PhOb+5CMt8t1E0+fbJ5nJpy1tHlsuKkD97V19q2WWXfT5Z69PrF1L9qhx9wSdBoNqs/2z8ixlIpP8yVTxHN88zzagBCS9URF0l/KMiFNTBFUpeDOUVLjdDpnB7A+WAfT0Lye1N+TtrGf6BaywvpIJN1Vle/SJ9wQoDBREr2z/Wcw5xR9+zWidNFXqN/ftfdxT8e3i14jpO70cyP2XKxS7biryfHBCOAQCtOMz+TrzXu6JNztvZS3DRwxkxu/2Fzre1h91xBoaHb6kw/0t52VJ1tEtG3ebTrXjEKDX0NiQX4CzDuoRbY2h68xK6xvPV1AQYLSJvcQhT48VCUtZsNVF5i9jWls0nEumVZ7hC7UZUNbfcD48Rjj1UYXcTQJ2nYpp5mDdgv7oPvjuztaASUOAsDOk6KAiVjYFA1lsJw01Sa0A1aRKkQLpCwEeeI0SHOQp1b4zzqioCeO/21I3+7qs5B7QYLczCFM0O0uKrsjpJi8EGOLJ60eJChWzo8pbEWaqVGsPsOpzaYi5IUv7RgAhfOSBDb3xOQ8EmKCwxYfji2qfUL11y8bKiYxK3Tiyh3Q88oqfRztA3rrKB7T1DSgHThdFwT8/53xirRO8BOJJWgChLiFXS9sJfoYvoYj+XrPmQnw1cWtwcvmZYksosBope9ukXvg3flu6Ey91YycTyOewYKM/8VTC6BLlu6V1PKrrctPmCXhvdm3gUJ0R1d1g10o0wnHzy/BhyCswoAHhMVpEwEBFzme54TD3ATlZV9SwRfzdFf9+4ptY2+BV0uCGq/v6etLLxa6d4jgsb1rFViyqks1jYzGrVHGlYhm6oXDEI9wH/bcLzC75oiVb2WDVMITpGM9g9iBoFSTAmw02nGAofQSvHlHBtrJYVdOEKH8aiG1uLVxucU52iv+R7qyVnQMVFZa0cdNck8CrAYMZkBa7W4OYhQwKNOq4nk85E6FPMaev3L4qzjI01VoxApUFZJOBtADOF7TPlRFXeuhi55wv5EqruWgQN4p72C9yDsegJedtHDSq6Mj8u79qAhU7Rz3fLE+RYRd9sFmMWYwbcGmQJuFFZJ44BrK3LMe9RV76tiXdFKVHJ4a1zFwXekqUFvWuBw9R/y5eJ2+xD/iFjLbB1I5NrC6SquSnu350I5oIHXiA+9HAKhxZWM1HXte0ZLu6jEmWrM4EGt+OnVcZt7jxtetkt5AakANC30yyG1ttApub4mptsJaoM0Hlwr6uQSpkyl/JTLRnPDa39DcHHG7oIu9TM4L9S+vhvIiQp/QTBgt80FV7xRc7nDLRjkSoyPYnbUmkHUvvhciWVk+FUtT+puP3HenMoakTZcJe5YAzHZW1jzq/Lcd1Ij398QeNIKHRfeIT9cIGEXT4uDBuRL0wqP720tZEGQqCHhTub5K2aV67tBfBONQ0ObIwI+R+fsrbO1aL8VbiAEmisuy5kKAZ0LocLUnodOsMzRij50n1jVIFcc3T3qFsmwHOm9beA8sTx7kOaI46HvCrelkEn7CsZEqv1COwSu2crlPkjfpaDWB+KI7PzxUHNBG+Qu+6tt++vkJAyqt5BUtkHyyVm8l3aIJUSJFt7Us9zdklDp1MlsV80DTsZIqyUrud4hM2T4J2i3gbBD3WR/tqfc4+4zJ7RYssAzgIzz6KJp51lNLGpnKGpASSGxOi3uRi0ymOnRx0QR9NBQ9fJjoRqXj2qv8zlkAoESABbpn6Za01i2lnHtYBBvSFa6bDuRCj5FI1lotPb90YzvG0JCVtFDw8A1N5m+3bL8UTTLjNeKeIhr3Wn5ARto5el8CU+9Qia51qmo9NFpbsZ/Y6F2V8QnVpf5ks/2Zrdyj6fI1QsdpimHgxeYbkb01YHBuCFmMMYkNd8iRPggvn9YEnBBkJU3BCe8iY9ycVsyTycckddMxctAfjgFP2Wm8hDV/I/oOQnGarqK8sW/VI8sLS8MBuy+ncz4AcndjIZ7CBLhO2RAYW53xkEOyDrZmU6fLphu1ktdxMuuw7Guff5xt6huopjHz7FVftQ8wCAemwpltaq/QahjUgyLnbeY2HbU6lEu3ByOXXjtTV1l8MzL4a3Vp7lT+7J4GUZ+7W3rPgtTbdtZykfl6ah1Cnqr4NkK/OrWWXSeE0eKjLrLG6P4wOWk1fDLNxa8/jrRP3GQpyFovv7n4DI5e4PNiGueX/721AlGOvkRYIdzKql7bP8nR3JC+dq0hOR3I9B42FDglApEcUyG2UQqXJHq/WxNqETNn7RBR9CUu4zJP5IAWuV63Ow7MSBOV5c4A3S30hsLDhW7ZWSU9e9GTM2I66pFr7MzQOgGJw0rtlfQ10hIjr/+cIZ49PQCqsC5BXQT9YGusG6XD9V40R4+YYye4fyQUmV2v5FZrvFFQEUbvVREPJs6Buv64oYuL6uxXsSCM8S2xUGQQSZJZks3lySozPlHAz0tWRfv3Zs2PQzaacEEbdvADWdqzkPMUnYnhJS8iw7GoFSZLnMdg92MJdgsa7UUc+ta/5xPEE2HG9HlzecM4mm8PlYerHDhqc7V8VDCFJiJraZqJCTMkBSIiIN0szmhPuFf2aD1sFuM29N1Js3zX/ejxMWPDIpQr84wgqRLeKy/bqmFP+m2M1Y60e/GwDVbB0PU8gytFXpkB3HraBTjy8NVR4+VGQofjqYwhm5lbAe3AaYuQWVPgsGEx6fACr/L0P096G/tV/eqhrHZoHvpzzrZnozoWacG1Y2bEtBfGURAAJoik5ZLP0m7Yzw2Zj0x/XbgU1e2u3h6i7HGE2vRH2Fnq/2UfMhT4sNjNpE/LHpb+RTjpyqunDsope9N+uJxP4+0A899ArVfFux8tFrWHI0vEA8a+67BDh5+jLtPUxGe7p527SPmfOGtOItPpsRuFAIuGhJK8BxIF3hZbnAOtVkfTV5mJm6uML/pt9iPPnFmVqjFbKLcCOu0rwVeLMC6Ha3nK+Xc2OOqSa+AQlrwm7YVrpUDGo6/1lF5/9IVxODNXokeSgsqbpWaQ6Qv2da+ouJy2cKW1HX08p+VrfYcyr2iM+Kd8oVN8zPY/+F5qA0/OjMZ138z3p+vhOe87pW+XmlqFPw/NRGLgyFgAJJkXML/nHDh64IdtYPRpagdVtSjnPfaur59jWNQhIA8yxN753pCJPdsc5tPG9eKwf3LsJeONQzOeCvU19pFffkWxCpmyqS6PyYKGuqauwq6hBbTzSK0lAvtpSq4Vezk42X2RXIGteFrwdHtLpL+bSo2FFqo03epwICLrSWSf6Tbf1zuvQtm3JCnL8KY4f7wPi5o1s0skFxt9xPHjQyMZnwbtO77vAwZtWpy9zlZpebbK7peXaQKY2xKMVcoff9SVwU5TE18qDcuVa3J4VVmskEKNQTZWWPi3c67ksZKnhQjYkrgnRycUC3obp/pM+c2ogttPcykZxrZ57BZcHiH8XL1T6Uf/CcDHlRXNp1O1RxdSGrixPQaFYkJSGqIngobC5FWMVERgCLZyHIUBgftSKWeDywFuPuHLh0kqcNGIhntAEhD31y8vVDkDP5FSN2KPylUW+7i/lRYX1xX6mGkeLPSeCm6gEvGa8V8zBDSAEXE25vnMkc5eiGCq8zl9JMhQnlB1ZLDJkw17w7pDrZN9lHq/S+f5DChA/7/Os6M77MQtJ+1ZJlWmqVnk+0/4XVYXWZRSF2pmEOnF6XywHMaTRK0cdVCSgRJ0CdmPMEECY4E1+uTrb780Tnn1foHfqpADuxjT6FLpcptPFwUZbTMbMCo3l1Yt4jFNpV/6ymjpVGaW8VBQlcszdkzGccd7MIhSiavEftgLwl4vDYQ6SgFv81FEZ0p2RGbQaZTdYHjv5tyKR6OcDgwZRgupFNe5vgNq14pqWACkR/YTsEUVZaoiH+v3OboaJed9stxTpSsIGT5o47lhdGYTE9z/tlPD7rkZ2c4iX/6whzkw/XGlmoZ7bcpfI62zOnKUK5qNS/KVnELPBbKL43AbFIeJCVNVPlALU/tMeeRcPVLIAD9jupps6Baa3n82Z4deKStQ6zZ6SJau74wjTn+cSpNGOlkbdzLw7lvhFpUSTSVI9rxZOeqgpH6h77+/RIWGtp6Ty8HJnoRl+DQYpjfMv7b8f52WXkAzPUxzDQEHZ6Y1mVbftKV9weD4uiMx4Aue/B4nLTH6CM7NFzkypwwNgfGZY+dAuAlvM0r2EcQyCK+LgSuN8m992D5HiCupsyM4+/j9YVazV8nD7I5EFje2jbSu5q9uzZ6dUBqNbdeIRnkfn9UiVnXTTneXyTQd2kWBmFWLMLQd+6hbnFto8qFK4dh9Fe7fJnux7qG0EMCMQmS8hJthH38Sp9SvTujTxUNtOvKjHoe2kvWsXCRFMg7u3Innu+7KO/u5dQnkISkSnFChogNkkYZfwhmRpm802vXo41fsdat7D9BQM4Yeon0VS7j9ih0lH7ulmJNaeotEe8Zbdv/TiGcfwZxTDgi6BcKD6OPXI3gdimH97qkr2+1/Y4WGyjVF9AnVsTzx/AQsPUKEGBEPA/kZtjzkzHm8N7WHk7yT9fzK41Wg5SHt+N0pSzFwBCQpH0mOTKvvHLbl3ccwHaAO97yeXheNUUsnd6pjlIsckvUgUxnjHzH0NHJk5UFKOhuJlmnXbkxmZZPzh0mRNK/jimV22zMsNjdvE+k4Im/DlRXqRCIM8ojL8cV7wpgJF8aoVovg43Lo7SDMou/EDfeea/eTWBIgu292CMsAPzVMbLdDl3rkLhESYiKwBkCbtP/io8jtIpxNjvS7aDqg/UVjw47N36aBsslhFvArSadSkUS27NLqrbhurPtu83qjbiM6MOKbc73wjZwOHYSRs+m9pQuVkfEHxc7UihLxYtkeg/msTFe4hNknipBTMXhAfJer5QfpmQyJnkDqcm/0as8sg1upup6M89GpjIwXoDd3KGvWpgNGvTFaD/vbX5CzVsU1xxoRd7dw8oPbe7fW2swbHmkymqRuxklE7BERKYFNegnScs3iZ8SnwSi8R1o+cRPX5zqo7Q3ZjOPTAAjST6FDZ26RA7f9CwnUJZ4emFCg4d9joKfSozNU4k+dIcgWv0nnKUQ2Z8R0G5/S932tpzFzVOuuhBJe1Kdde/aghUDIBNWG+LvgqSDHjU4ZUFIWhRIcMPR33y/Fo5gr0P20MKDSQIxbMVHTqhmy2ZY+8O3Y2Q6S1gE7ciGkeqibzYpkxbaF1FYSSV4ObeCxiZDLSMwY5644jzaJQqreXGYI9EQaLLFreWBle0CKBmyK+CqLZya2cmXnrh0vaIWeh3aE7VSvitqVvnPUJW6G7+YFk2Ufxm3vFKluB+aO3Tkqgad9+o1hgQilBvXkHt3+yl0njVvuBA4IBORpyWdIn3Adz7UWgoifr3Q7oqLdA+GfnRG/MIHB27bZohknvzi4zSfn/c5g+nc2KP7cVJp2i2Vs0OdJP1JFcEax05fRDoCzpZBtgKeTPsYqOtAG0J0ecNWkQ5/nsu/FVO8igG6JIKDQyEt0VjtB+rNgyjNp4sepVoB0mrVE3HAfzHaALD2uNrppB6T/xS1FJMGmwaDFkwr4h30P+RG2MTLENEH4w6tKEYxCquDYhSrTm8nM5MBdMzvwYPVQZCX1GviPaSjWu6+1ukC+uUDi9RgaAa/Cb4F5IAokJiK+yq7bQpyXNvdYokTw6nUxOhvfqpkMvjwGiiWl3Xmc3YBtGe1Yr/acitFAzuLlJZRrJbrrsLuzwWym1yRiKDsJ8I0SvpIAf4K0V5h01w9eJh6ma6SfsVEaWBMSk4G7Qjs1cdtgMAl8HPCbbGEXI2EnAeItga+EfY/ffKCQDlxZlmSWFuKV9Zgeyne3ayPbb2wrNwDtjqRrqvWolpn0CTzsNmJ52Q1PLyK3nSbmjGxzOc9phleL+G0SWJRBKtNAbKwym2P9Pr2bqvdykTPCzKpxpiCNS1qSGoniwzQ5xSuq25uufZjQ76nrJbQkCheBTD06wwq6WfyW+cr5Jir+8L8CygCIIdxEyIUC3Q7EXuqiWtG8MLVf+MVfMOK7Go8n7OpEGX1v+Je4uTjpK6hzA6NF61LXsiCctW0dd9EPLQc8wkLfAUqwYCRucdPWXN1RWoaGr0UBzetX12G+qJ/Puws4L3cr46Q88bnlKbG54u6bYjsKuhA792XdjXRcpsiOA0oLqks8cUILo2FikH50MJal4a8MCMYUeq+C+JnzSpoZ4OM4gOFgvfeexm4rwECN9dKuv8X6yWxg1TM5zKPCRQ0h809cq9wWPc2xmrGTSXgg/zl2x3QIBbUrlBIQv9/++Z9gZMvLrNc9PpuJTyt0EgF3aGoZl5r6IQ9GBzqjc73zsX43v5nBSFh/m5UdpkLIlAOQ1ohztjZEF7EZBKNwyciYVOaiYpxvD9zLiV0QlnXY10d1Qk9sgic5VK1KjJyP9slICzFIWd1cNFbAvz3XA0B7fME+NUR0uCMPGIugP5zmBDsV6SQJgCb22cKIqG/dtqBxcVRky1RFwXf0KG30oyIABYTTIcWXUd+rqVD6ww+qtLwen1vqzvh0C2qzSDCRlrbX8IClHz6730vr/DVrn6M6y84dPMgjLl96Rn/dZzv479cRxQriv8Xo+n5pQ//FOLnyNDOj034tAX/sXq7WKnR9SuKzQ5MSKdRi020+/cdeINkFYsIegSq/wEZHlLVE0IhtOawQlOe0h82Zl07wYwKQgT1H6jVEMnCezgqUuuON+fge12YyV2N83JQg5OXmFscPsrHWGPXMa/Kyh5iTpdxtrzawukwF3cTIctrDZfn20HJCmPD66FvYs+yNqQOaKVbXbq8iHJ8bReI79gl8bpuAYkZNa75crlws89FyyazFdNZB41lGi+sM3V7m1XXi2i3DuEoxggIMuYxsh3o2na7EjckNaWVt6gWpwsJofaUmX+9J2gX1Z4haSKVVgs5eNdgbnda/Sq/jCwMryvok2A+B4foXdNXfjnSlikgWDf95wcUpXg4vIY9bVXM9/+pwt3U2Vk64TTfGMWEcx4e7lwqUdUxWFoLzSkr+8Z4ldyHvMf2AWtI6ZvpnIPnP6xcA2WubIpzNJcaeAymgsetW6KnKN/8aSi3a7bS2vkGwUFOG4PswaD8SrxGOQ+4dr3Y4H57eSvMJbl8YzjeLMbq4E59Ty2QOx0cX10WyTVqxIgE0ECor37QuNZUyvypvHqKDW1kuC6QlZcYPP1YDQo9YWpl0W76sCOvTFaiFq1cuBPCdOVoLm+ccMo4MMv3+WqbGCP0OI6yisW8IUKFXiCQByKRhk5ujEs9lCdiC+x0WYni+QO6yBacyQNGPKrbgL1lfyt+/FTBERM0kwfHCdO/J6CFDRpBtxZfQhTdZ0S8q3bZqyD5bzEA9uDEk4sRWQ36VWOn5fzQ02zH11S8lwfWa5VnbU4o1S1zfQKSaa36i8bMeE67DnIqW+lIjraIYJlLksxvbD4uX1+Jy3sGoPjYr+L1z6RiwY2hz5kh2CeBXAOTXJA7oiaPdr8Vlrqy7yA3E5aUoeGAA9mpweR1gdOSs2skplpaHyX8ogQUoVYYis/yhRrfcMvbW+6vRwX1LZRZgVsU4/fDbpZIYIEk7W0njWmRerlABCrVrFYy7qJ6YeDvp0q1XWPgI14pDaCaHoV5WIsn9xw8dN9fxu6K5Ri462spFq9Resrhu4Q8Dx9RmSI+yuNNC78TOmgu9tYQpwzxC+Pt1YdlxiPyl8YXiyC8HdlOhB9m2rN2nNVOcuETOPnwlcYe68Htn3tZ5oW58w2hGDwcqI6G2CdvVrbMHup3LhYCqIO08dUt7CEsv4/aMK04TSXqgv6fDeLAAGD8v+mPqBXnKsQPiQwvIZklCiAkr2mrzK0GGEWtmWaRPFVFVYAiCJBChDoStjNBwx1EQI11AzP+auKhzsjZrAyrxxBMrCWeeCYVgLbUTleAenedh8ePlrHl02DRu15xs7xvZm1rDfWSfGOMhsuMqgqvh99nrX+zOegZLBdqkaMyvJOvujEAR9V+Qeo+3xTPXIi8v4jTZOUB+xSOGvetWD5hwbdVmngWS+8j4JJRu4kpPhwKJKFc2qjVbsNBK7yh9YkKtCwIrAEajKCKbwf6z5o48g9UftoMjf4rUop9uX+iCFrmvHNhak9yWvNJyVna8usAGmF9DoG+iSufRN+yXShSlAC3Zdn2t+dAkYi1HYWP197YvDWiOntlfWdeggWIBN2sjUPA+0ATkJh4ke7mRxVYGNIQrc7aR3P36AfrQjAyccAWajQimE1mcEr3PZUT0uKGRpg4IbfrApIjYaIZ1bzeyyP+3AkQeFkqmuQ1Q+C6k3fCh2hxgKzsTh15dmwLx/8nP2q0PGx+clNhie1lh/l5aFiCzDgkkjdYH5aFTtoHBybs4aGK7ZCexE0yWBeKZR19YDH4IdZBSVl3tkQ+GDl10uABvoBMV2fd59kQpDwQYdzyFKmYrQbAGFF4mdJ2FrLg/1LHp/QDdR9MlenD078IGCCpRC3nIGmd5lo6Yb0jm0GD5D2IhSij2qwUlkE0I/OdPYWilk52/vr1hE5/rGuqSrddRNTn4Esva5OJxy3fz17qgGkZHg3c6OCOu3rUJB7tlIV1e9IbIzG4YirGg6/bJ1GaV6+YEsA3e7SQ09URtSeMSPxy8OFXmO2q5U9pqjvm6GsxWfafTuWXi77CO+F8lesjlRpJc0RctuO189cu1bE5NE07ZRNtLV+RGYVMOPLhEwxSY8kkIGs0qYgQYDnt/OZ2lms3HWml8QCMXCNw/wVk6WPEvdwnxOE041hbFpXnyXIL+cXvYpIgVynPvZLbxYKbCxISvgayBLFQsCthJbZRh8v0z7CQpb7MhaO+sPg4FnvuYhVq3ymcZb6leTxD+pfetUrZ1oMG/sSNwnFVcDBj4+28QEx0jKt9P3JiOs2Q6pj5B2RFmiQiae4dXLlXtoPsm0IoxOpBD7yTda5cIj08MV45Os8iRnrIULu/SP1y9wnwsoZZXkNGsujYSS7+Eoi4bXzsM7HSSGr5whcA9xfyBCKy195W9M59tigsOaR34wPIR2/F+thk98YppjCS/Ld3soQdBHYcL8Nc1ySaP+WI3rI4ijO2sVf9Zq7jpD8NyfWYeI5bTuHdTZCYdCF3U7d6BRYyycNDG8K5W1JV6c9fnhPsHpZMOjDsQQ0BeMJePkZtMTN4XzEJ4qNOgpAwviiDAn7rqlRiyY/FxHezGQbzK3mKRnzjWqxwZRQdvD9AFYeMgNiFXmxk9iRiyAjW3D71hfX1LH0HSVvNHtpX3vvk/qyln7ibEUh8B9ElyRryYgcNEPsdYb1B/L+b8mfCRTGnvmXQjZRaoyGIn/oh2FQcoTW4LfV/uOR6T5n8avMpUkIiJDOyW0MORJQhmjh91Oyan6LbbFj1z51OuFdbcONnpJcByb+sZTnnx7+JaAGGb8qLzmgwvQFPImvzKdq97s6xXvqgzkMUsDC36f0NQh19ur/loEtgBdUXy8WR/rSe09bxDdNu1U3Mf1MrtWTjbK4VgjZM9f4qKb2miTKLPNlTD+7P9UUmZYiuRjP2RD/Ar+YTqgybGk1yK8++YdLI0kJaKK511DA72ZnuUWvGWoAgBLr4jxtcGoUZVbvpmNcipkIFQdAApTZB+LjBJiMt2cW/45YV4R1o3Gr8Higd+QpnP7m4ZsMPyGrFt+Eg3Otwq26N4rnRTIFHyGe/NyZBQj1oS6+mZ9O6iL4hH4g3cZOe/s71G95Ta+mgbFWyw0oon/yRiHQny5lZdV6KaOdydlDO7vKpwUVV2fP72W9ISQ+6sR9TVwhtW61xw+PqPPBRICPHnH0WjAs+E2ovGTwypvD96fiqlF8ro65mROdRdsYyGqfjEhO4oa5CsD3T+5zMSfJ2FKh8SD5sYxEUMtTfNbGAXpj5jHB/CTyUMJ/4Axb2D9aKJi3iCK5RVttFM0MoZN6Zowzu4vPfMPAZ4oP6UPydesKNA/rpBvuFCmfxOaG87rRgUObw9I8pphY0lACqNZfn1MsLCPwryU8UK7IDtSfqSDM9G+pK5cAGCYxiHwsfpVuEueRSRWECjjMC5hjwVGocMx0BVu0I8pJA5Aal9T1OMrbhW81il2S3RJ7aYkxPMCDz9l4BK5Wb0fNsbf2Y1g6BbBDaSxcoHRVAReX4oHTkPChGYDVEygh0ETFXiTRts/XuB9lV/HtYLJSRkXR5bG+4y0TICtH3FGJWyaIywczVxA48hp1+Ir7GbBxEmt72x0zxIn2mvhtrzlkqRMx1CGZo9OD8neHggwPBi87jCrf0NyflzMW4RfQ5erNRJcSpSd01DXXcuP+V0GyUmavfFzhM+2Feofh031k/S0dDKpvrXfyIgQBaxBx7cy7as/OlPV2hIk+917YXgbxJsFoXaQ3bwSynyw1m+MQEfQqSRKiVrjHU2PKhKvu7f7lH9d0H0VzTZ4j0aHMeO/T+Xhdx4mEuRMKXerBnEgSuWD4+84+CyBg5qCVF5XW6Z5JxpPJHo9oRHcZt6GdFh3zunkCSNFmzI1wo+LEDOWzU265BKl7L2/WGVE4bPOTbjxCdfyX7OdzYUG/AWGbOk+XwVzl/awPH4QBzoPEzXwuE15XBMFqu/qb/VzgZlj4oz/XUAvfTl05UBfzCfLBc5fJxtHJvMHOkVxeJ5fgMzhueU6F4uOFxXoMEXLdLwJdefDaoqcd8/tFLposb8VNRu0rOi7zNwIdJxOUbh3IECV5afH1h/brYLLzDi1N/b4LmI+3O5vQU0fkmoVCHWuQd9yCDw1+lE7p0pd70maLlz2VXPo/JhfGIRBLV94gYbJeCD+YA897thRqPFdLyf0RuUNCN0oAXPuLUNIN3BfRuCAj5RO0iT9Pn+LCJ6/wKeB2ovEmxY136M5EWkVQY/IolCx7nh1xqbLrowDIeW62thZDpuIAJfak4+bi59kuSAtw5/7v7bi6Zea8mLpVYkDzMdcPfhJ6nAa+XWasZjLPCDvenX/unlnqKV+idA8foYI571eK1/7TUyeOmALSafk5hDMWktaHYY90ByR1jTPidkLjimyoZH9B8Kbasq/JvvwkDYTV+YgCMUnJY4MHUiJxXTvwzd+dTdZEzBwLD8t7Ic3bB2exLI0fL58gRINrG5rVP9jUJPB2WMkVviAlp6lERyqj9/lgSsqhN47mlncyA0t8k2DlzxB4UYLOjDNNbXz3nLK8a23mBOh+yBpaZ/GiYtMcSjxmr3wsxGbmr8NroVmrBgQ19E+w4USlzNwZrJemkLdsfAWP67PVTBoyY+2imvOfsgP1cCpkWTnGk+mx1x9GG/sMaxGodAAL+ZcFhKk+qhQ215rghzcFCheo05U1mHQdwI/rDH8waSSXEIyStK88DrGx8hUi9HRoi3sMWvLgP21qqAZhgNOcf/zD5TCqHv7k1PomdCEbbnLagESO2DNEUi2GJm4C2OnCy35JeYRetsVWb/5ytj8pu0EYQ2/H382ZSCzbTvir8iiKrHI/LnBDhBwj2zk2i1I5yeeO2bCTRy2EdL9vXdW+TYgsCziRzG+fNYlJgD6r62tico975qZyO9Dcy87yzE8Tx6iAuGzL+jFj1szW9xpfoRcee5FX20CkT4G5Hlu7PXBdcrtvnbNPd3/7MqLF1FPx4LDlM3YWZW7iNIjKeq2RIpO89KCPX3/vqbItIPsY2a4KEWQ4iyvCdncy564Gp4QDL4FB+Kume98Wk88/qHusYTFrDqR4xjz1brc4kLsMxADqmsdIkmwOzw3iSPRgP/duSg8hb9WaxNfT7Lf4EkKqE8ULy8UCKvNhtaoavQcc3RMwpmhYff4/a+DQsNtBqabWD7cbJ/SyfwakNzdYevecSkl0gXPywFXa5dENKo2mPxJBXeLUIzKtkallg7SA7kXKMPUg8G4BOdjiqEfOvD820fyMCP52yBc4Uo3mX+s7tAk4RXR7Xc0BGpeuhGaW2NnjTkdPenv1UMLqyKxfgQCrPZ1IUr4NFKSbqlGZD95biaylXp3x2F+TEW1uMqTtK+k4GSSozc21o5GYmsLoDKwMEqkofZ/16E77mqlqdDjJJD0UE1bvlPMPUGfahIvbdUBBXfiJB+WewFxJJwtLELEjuzdgPXZvnYQTKCNEVl1g5v1HMKDN2UbMoG6NQXPyU8vFeoSVmhAzkz6adshBoCSvg5GNkdBCOKwpN8/xxDRhkough7ktms4THk0Yq8MQinVFr8p3sYZQPGq1G0q3dApsqLcQwvxq8gNxkKtuVZ3T+qsvXo5f30anHxeGPoroRZhBdgxf88hmfAk9DSoZSYqsoOiRuljCv3vDRZL5BoSFksaY5JmhEM7zelT9iob5tLQZM1PTxi4K+THga8/ZoY/rpgoM3JDcb1LxkZD1ttTYQMeXdojEQKWzqa7pydURlNtweNnwc4Oa8MIGGS300GP/WqlSVPGlArCY7TodPas4Mu6Lxo3s/e4AaR9rcG9LaKLF2VVFWyghDDWFB3xbank07vtx0gdHqCzZCsHBS8FnUmUcsZ9EJH5Lmv5rFThuDGos4PIJlpEsbpngDImXXYjqqwUqpKFvVYqn75sVnWquFpkDulHBKzGwEtkvycSn6z4yEJFbybAHAl+FcUn8aI19v5VCnZe0H1bUTIzNsy/IW77YXjqds3pC4Rh18N0CUuY8pffBLaAeAEh6cvb189NmVF+tYNrbTHjk7Mvh0eepAT84ZkWU+7hLkiUP50pn40H0eq/TlFRytEwjqwcZ6mJHeWDrdkPwwCHV7Sim7Z0Nxysu5EPPuijA23A2qklOqR0sMjHDPbUJWNTOLlo1ZaCcq3NCpgEGsGQz9l4EwAFdzfqGANPIlZ4lwAZUJ6aDloMvZ836mXK5rXvBBuu6nlGdcTDgAq+nTLht3pJSvgR1Dc/eCQYiPw+fAETtFafo/yOVIXsjw6eAWDKpPvndWgEN+q1Tyj8Y8p4cXPtx8A6c+krCwnwu70bYiue2ahI6K9aLpX2oMwsHaTK7YmK3Sv1BzmWxir3IhoPLpMn7hgjebAbVct7yNBJZxxULn29d1BFO+tY286HIFmIPQE54I352k6tM/V+wwkL1e/EdRUI4N2ofKGPGqw694hX4AKO328aKV44Vc5kdpmBWP3TT44givdmhUEPgZWEFnaFKsXt99vPoU9NEKcN5UqWtQS5FUwUAjTgnDAA+ce0skkPUPJC0+Oh3qqZoQhAYKPh9xBR9gVfG4TTvTZnjLo0K2GHz/YH9n23Fio/Dx61CZCRTpDatjlcbVdrqdb7nE7fjlU4JTy7I6AfV09HmWGM/DvyNPfdzIUIrydDFViSRxJZeAJFlAbhvfjDpU939c11u8rqhU4FexCLU2JKaRua/9opmjrCFg0O0MnG00bmFvw/YDn7fuqp9FjhPwhIdDUnu/fZj5CpjApmAZ42nbatGqlHPEfyY86aSo5093R3F5fZC5K8TzkDj0Xh4Zi6gpLSjwdLcpEicUBTMw4gLyNHPaa94niPgkpK3nyQk2IbirdaAlsBg7ewq9cv9uY8H1voYWnfaR3yc/R2jnA/BMVoAIRqgCjb5iPUNOOhRJ1e/AQfLqHQKBo2/3SzmeH+O8RLyWXMWAICnfrDgkzUKeytbroH38ENLrHxAksbpfmoDzRYXVNwTvcyditcOqbxRpTGX4EGc6A49FW71XPVlQf7ATAazWWZR0im7bHiYPRu+gTLxE4AWVr2QW8HM8lQrVUs/nkxdo8+iUk+ThdAQ0AuOIGGfWUmYL+wC6u33KU9Le2aZ9o7pDsJ3RZx3AbqSptdKQcjh+kARsFqFCFRU+xZ99Wl0vZZyqGD2xkwGbt0rTS5kd96vkc+LunxyebAv6uGsX2RtJqX5X8V9HHRqHTvwTOgMuRYnV1BrBargdjacqY3Y/w7V4ZyDV5CGwYzbzt6iKqkVXu6AreuK0mUexaxWyyg1xO1Ref66/Dz6N4KLggFsANkswHBkgCK/yIbK7Qv0b/w/gXZMMhqj2ltQtA84RuuJKSDhDa/U8uRXIdpysYlY8ccJF23jghh5QPcwkvjLNhsm/YPopSPWuE1jxmQ9JSg5+CX/NT/FaRWqxnBpCYUxWpcAJOwzT1olD3kLfVNOiOwmpSgxnX8GnaLTDOEmHF7bEDi1SYVo0bWkoDYdUluawW021VPuEMnX3B5ixeRp+2FHsVRHRm/x8p42bWclVEIHU+gFj1dNcr5WJHwujbaK8o7mZwSVGwjFxVzc9PnB1cJxzQ0HvNlvy+isDLFGkVa3wCOIXyTQ72izj9B/73f1yI7tmHGuNdZwIE40ITPBlEMwdE4l09ABes28Z2uPuLMSw+12vSAcYYGNYTGFynOF0moNALLfhsp6NMp5xqvZYoZy0JrVprPGMnsps4JC4Qb1vZtMIwIFhEvKmi6SSuzBxwkrwNkTVnCcPHl4iz9NcFV6bM09SC0givpyiqZujZPnUsoPOfhu252gbPRMWYgLbL0OAHjeaTsoZS23NwZg47oUmj3bFaGBbRFvdHT8Ze4xg4VrqiT0BYREkpxk2+dhkOhNdvgo+vBWlqm+4hdMfGKq8Xx/MrMw5OHRo580dcDp6MGYmNfAsEaeH73cGASJOlRC+AJ98WBBwVdv91m5+1rRPVYsUGcSDtSAp0CgyoSEkLFj8xh0M1GBjZxTB0zXHr3KhmIuHBlmEFmW5gqo8xnaVEOKbWqZAuL72sEDuY6nju/RvirDi7MNX1uNAIMl4BQq1QnbbvnW6y33/MMLlcAIVVAuMDEdbzppimXVAr4NgRbvY0CphgPSdaEvDVGAfDTbXiYlBlZwKwKm+JOW0eeU/19Ko+I+Vnl4D/yiqTRp0pMXu7rtQu2UzMCXrrbKq1CvGgjo2Y5f93Qtu5zyNasdjcrhqCl2Opv01BGazNfGssW1WzhErl5tV9GsMxThKtOgwvBqT6sKLzghlaWfVg8hI4/ji4Nz5buf6DcqAWM8X8LohIGzYDYYC8UXJpkWs3FFDi8BW07xs3gEDPcCUdejGGM03Tq+MEZQcjsl/vkrecdtcxXOjo6RmTUKjyT6rL2JwqEnUzW8/lfCh3yU5+HWpNfB4P+HcVVtXyvpvM6sp2IXQV+IozCyTlL+o0dHYIE8nddx86ukgcYJdpt68oDcPZUyYC7eWz3BRgEj8FXNnRJ720r6XoxSol+uIm8W8JAtuSmJwvdwix3lz+npKl8i3x44RSISs70oNqKK5me6cK1/vXJME2jlH2UrEnAG+o1ON7wgWppnIx4hE/+aKOAZIKDQQz3IklFr2Pbd0M+8Si3xXiHETpvL64HLEfc3t90mJXVPiinIxBM3D6On6GBWepkKx8+S8yMwovYr2i/zGB7od6X9DZfHW0y4eFXqiwyGvH9kKgXiG/hlw27YXaPA95g+F1xfjdIxOqynekxTHZ/qZZPd2DiqXQJUizDFWt8Sq3zFH/kCoYl5/PlYDxFWACwM25sKN8qCl5siXA9uATtyqkJz865mrzFGZM+p1hzmmhKDFyvZRtTsupg6q6Te/CudzgiDXU06Rb+oObSqUI+q3vjbN43Ji+STCPCUnUK2vulqFntXb2ykDtjjQJfTLJ3bofNK9tDXL0nByMLuwDpFSYO9hes108obMdx19gHWGdW/Ih4M5L//y1YMbIglSetB5oWjZnfrDBlFX/BuwYUA1KC6QApaZA4qJxBW+5ARRpFv9gLJTVMlwVDVTNDJ9PtzKQghezpmHbQTdNcJ8VlhdkN4Dqk4PkRHUInX434zToEWzUlNXMJw3m2o18IsONmalcm5Jv5JoxUapzrWpjU0xUoG95mlFJeHxCHR4dAKMCDi5MpOEtmT78vQpU2yBJahT409GgUKocxtrlaLyFEW7IWAX+zUXLt6Q7tE0hcVeKqiVHQoNr6UOaramID7ShFZ0GWVf3aHag9/iMtE2bVrxJOAyT2Lli1dyWo1S71xQ0oNGzq7shrCM/FTz8NoNV6I9LhxowgP8oQQoGK5D1gQLfNEjZIHtQz+56ED2mX1m33nhw0B3aOg5fPMEE70b7U0b42gg95qcMeLtAeJ/ZcUJPW/tiLeGtSYbJKmzv+n4FOt5cvhrHnmm93WLX4C0HcTUgMvN4+LBJAM4uadFtZLidwd5YYXL9M/ZockzdwZjlZy3BxV2GypX23nOccP9bI4XM1saKhTF2nCGNP1o7cGjeb/dGbXXtMUCwTYsfkZ/6y104l4Wbf8Q9KzIzQPCWpjoWQOw3NtYyewtaV2+mvOs0PonWly2Gh0IXARCKXAWd27HG2PriQonE6RnGRploPYJuC9c6W0Ol+0lk9EjbrlZ81ZWdoTMv/bQrEsO0ZThxYN2R6WKdu/dE5ue61aS4OdTPTfIdMKrsNfFSpBOZ/hVCeYKnLt9dtDK1HYqTMHpRHCfxwhjT0WMTc+COVL9xHIffNgFzz1XAsVyIx28ckQ+4hJgOkQv5X+N3CGaCIaDoACe2CFxyyXBxj5fzwIPDis4Y90kf+AadLpFzQ+YE5NOyzTMy+vrQCF9FBaXaEVCJFJJ+I0B5j9ANW0fDIr16DiEErtwSjx9/nHxq76TP57J14HwL7fkHqz1iVHX06dTL/NZ7nACaxrAPPCCPj6qKm12QuXoUE7hp/jqouATFZJS0GmNmDewmQJk5yQEbtrGvYfFHlnt8rahSAUu3KN06EDdyoZAeZCcigAx92EqCU9CKZNx1tRANUmIYZWMo6KKmF8l+QWdC3jGuuVBf/EAqbVv0BB5LBCmuIXarv8g0uama0yjoSQtISikDM6Iu9kuvYkflRSfh3FX81Y/+UcKxQpXl4yZQTQ/5N7cR+mHhHstoLY/p3eyud7IjGcNP91SnKXlSN1g9CT1hVTnJjg0+4182oTeq/MHNV3JMtx3qF5FFtuIL6+IwF35NfH8znwps0e5c4l9T3XYFKYqF3n0IJqp5sBokk7YV+tJ2LK0vMI+9GyjxJAERLoLr2QPcHUh/nz0aLkhy60lLsB+Q3pFfAnWRu0Yac2obv2zte6ZtFO5hDDMfS2XxNf2edTbVHxY9bmP9bjQRV1R7jmkjwq0QaPzKDMBglGKQHdIlIf5GZPKq9li2d9FHQkVd1V4p/WLQUgIxWLy0HDJknjMltgAXAE1AnDQk2lvmg7CpsFZHxKfMZ3ZWi1wupPABYW4ZgUPBqmAXF4LjlmEqi4ZuH9Smh1z/Zo5fv7KiSrXaCkCbYcVF9eQhhLfq4wDoDja0ViY9A3bzHXfKkjLNWGWZZ4NJDaKGb767xoBzmDojkW1b2pm44st1UOjH4FH/sHTe+6uFrptWcRvdw8y6oMPaC14RaM3Lx2M8A8rNFQ4ic3lfTygSd/4Kh7mDON81zoen/sGcJJ6TuuKs8SNgzZNnN2UeAM0k6Cy411BmsnwZK3irDhdvnxSu6diPgmgQJ9zLiHRaqaPDr91xUzQVpkmd7DXdvpSDY74Yh/KhkW/U3tKMgolCUyWJh3dtS5xPa46gK5ca+1Kx+Sewl7vVxMsueo8Fw27WNK6IQ9y/RAyYL1cLwigNtAyWvdq7s+iZAYKkNzhyzbXEqAyI3xVvCUc70pVhHP9RIlJvvTmBnKAlsOJaooCjJ6dPsbc5Jtk3+Qj4jpu8WDNDAA26yT6nVlRPtMJENwOi5c7GTRhwv6JE7XEekmAug/BbbzVTHeoh5eAMblKKWZUse+MQk+feWUZN2I34QwyOb99yBlcx8QQkVjliyaU5dSuSUyd0irJLlUkaqHKI8Szpwrvjfs9lH2L+W4Gyo6NEAioy4TDN4yCJOgO6BXttqBipo/diUuSK/HF5VOtzHse+8tBQBM3xxCI95Vqk0AvUMnIdQG3kwOSD6+RQpWKxl/q3TWNTOn5TC7aHmpTtZbe8CWk6ct7KXfB4KlTWGTGb2rUi/8jGRQTRn/xpte75TFSbPJDx8Y2uMAIG8x2uiB2JhdXWS2L5aU+KFPfMaGX2MyWMvzE0t4GX4yyy6Blx1dJyfN6PM6lXO4gINaJXXlUvQZCNDToBMeGGh8GP3L7Zh07oNt5P5ifWU2ReFYKX0XoM2TTOsLqvhu+dQ0zeaIgL8c8wjTBMoXiP2PLSuXFTGlg/M89/SwD2fRongNyWkkEIu7/wMrYbxIYAMMLM1WlhQMS/Kf0yl3o3FUwLDzziXKaYR/xpXwblpGKo3CKx4tI5mqzRM0Rse8Kxyp7QvMpMyvU42yukK1FX4jRay1iaT9ZRtErh3qcBlgcbhXd1lxq56lTT6Vxq/EMvf/nu6mrxneWrUaqMYPCcXkbgA9M9g853WPMKnR3tKeiS8MgbQgoVRc22ZrCkLoi7eSbh01poUbPLG7Nhv1+5IZG7BMsx4/Z5NCOlneXeC/e5wsUp0ZjS6jAlkqW4rLOXAmo4NlUHekC7L7sdl45XgWcVTvu0AqccCfkajaOP8q3MBUYEK3iYFMPiQDjFApYj0jG21ILsts/8m9znC+C39FX/cmjhBB9GX0gEP+G0YieJqCp8xb9TM2pWpQbGkpLIV27dlGtfg8BdjAnJA4x6tcX58N9s6jP57iTyyr3u4eBg5eTZ9F+0j+UNiJOoA0b/W/lwNKNQkS0VVaTyjUMitkWviTrq5TKUURoYQ8IwZmcKVgmoy/f9kZkLbGMAv3QaCPWnpcFTA+EM4RSEN9vafKJoC3hS2t8NReFiuv7ECJRtI8raCvMQM4G8fwPDm2gBZ4pipAv34QBRDJZDxh7mH0Fi8pWdYdu3dPHJvf3EcZJiFab/gEmVBscLFMTLjZAVFh5W6k+1pEQYs06uT4unVWw23fggWyf3AgfJ1MvhlMqKBvRqsforgmkBO65pEmMwMzj80IpPO8XmWNWHapgn7hWiNCHVSbJCUAWVfJkFFNyOSc1gl+B5/sHeqINwVtILV7rFiZmgjLLKgiZY7JOhAtBs5YLsVcDLbYcYE93QyxpZu3z4f+1iC9Th6MrW7qy2TZLwp05N5jdKInYc/eK5VQwIJcWHRntwPa08G9u04zwHuV4hd9M9m6kWNEsMdAobwGv50ozdXWHWdFsCpdckV0K7lXB3lLLgWR88z9D+uh+HWEcgRouZ8Rsk3lzzuENOE6CXYbUGTI1MjDNpKWk19qbQ2el3NDxnkkL5ouwK4iznhSSgbCwrOmoVvAyzZH/1C3fGF3Ax6SohcvhbRHsrWpVdTW3HdJDUJrD+q6KKfyRA04GFj3sEWI4TbgzJPSY6V7vkkDoZH09Wu4n128EKtRlr2VebOB2zT8yR9psO/5SJClgb9n7cyj7b6wy1+z/BpfPYFzh42R9Hf7HDheVeIJBFDMTA8v1PPLrBVUCWb2bmOVGCVIsMD4j2ZHkx6TKi3iBSo83YwJ3ccmuD2UWnECHFcwHzwG4VlLyB8CXFUuduI7g1zyGKJWYrwXzBq23k36Kmufm73/zGpmxIL1ajxZVjqaGZ5HqnzNpuPh52d4FdY6HcMI1P5MOKeO2l6lsNwY4C8Zek3TwrRsjrSP9rBqips6Vv2GfGPxY/dgzEzmHjZE+zo5rxBgeenuui6rf293wCn4lNmen4bUsSwEvobRiDokPdkIINoF4oyaoSv3jtvjpeNdo917F+eh0sQmMaaCMN5JIkN1qyUnOjV0D9LsMxTT3aWdjtnwOprLPaAb0DDvLUjNNdo5RMYn8vPeTDuGusTWx++o7KMwErj7TRMEoP2N1FrZkTbYm+RBCMrjbvUyqurJ7fwVh3i8SK0J64ZBlZQGamvBhm+xEP0BukLn9qiayAKnr4Gw0wDyNcBgFHYYTw9ouqRFXnCE5wA7ggDVC1r6YgaLGS8suL9E3F4jAHGhhhhBfmc0m7SzspKVHSbFlcsMAsNAIeHrla1U0iYZE+bLJm+OEeEvxnHtueeZ3ygjqke8+eLUoPiFi+U4gWoGZFy2+4g0lrJ9leKksvYESta0743pmnHs6FPFcprNx4aXYM72eSAW3AxcUJS3fnTPTu9NOpTfpa+n3VB2eEgw41du4E8mS/FWQdfEZdY/Fw2GTA1r17xpwJSbbdF938UFV/RYQw0kIQPEHH9e+sgOJYuMuuUdnZ8FOQ5KTjNVjnrFviKBhx/4yx56XpxljFDhykuRPAwISsZqqF291gPMUl7yqg0HRfiSBz+NZJ3fVylvYdjNU1SmL3nzPqefjxd/egP8x3XqXG6nuWipRfelIuonjQUYp/jCCZkb6GAbUCsio5uF1ufP/0oCZvGWgrHOfJnxIWSNDaCDjLyTDBvEuCGkMfaMRtbWX2m/7G16cffXvuO4BGsqdsyHWOChaPZlx5Q7FmZ5TaenSoUUmdwKZXzs9gQweaLTjmgtyUovMRmWMC0VBx+kivpilqJPMBRH/U63+b5b0zXLbs7zSWAO72w6XL62enloLT+Iq6UnBGsPRpUWnfatRA+jUluYqGj6VZ2x2XasKj1MwtTtNUqF749k2eo+zF+JypiXVg0axXE4I3gubUrN7KNfTaL8T9WeLxtRZlq0maCKKNaf1yqqULexVXQhGM9yDMCsOxTZ6aS4Zi9SMrqOTkaEcq6bVoOlIdyxzLFHwLnI7vxmpxoiBNdtRNohSF/otfI0rZJWPS6sFh5n/NHaz+rZ5far2437EbN3wLic3OpXf5mMmODm6gsBatAM7PWzTxs0waR7OzsP2hzGT0omeK5mMjHspm2PcUP9e0JVGfSV5NUnCuY3EDaCYiwW8e1hR9SuL00iJk7gY6PQnmegICmfHWbykgRnDSimcNDPaPDv5A1u2zbweRX3WdjwZAolsDd3E83Moii4YufBhY2lGSZZeIdqT88+HK/pmVyDQ8iH/BUeQpyCavlfELN1UY7sN0lZ4wurhmkoWZjrhhLfThteqCEYM+/TykotcKhFqsD/g/WZCQKqEM85v9UPdgPv50BvZg/46V9V/hWwoG04sI+b+fFvyqcPbdtw/7JmrD44Pbj2KA6sNxFL4Em83tl6ljS30tlqTCo1WHaweuZmMCY1nPCIvZFPVxcdwUovmnhVtzFI1G9qZnpePrYArpAg96fPDGTXsAkvTh0KVgs8ElzSiVuMfT+4V6D4kt1h8o+cE6Zs+fYdCxAJrvVANcUG1FqoUcPAtXuFNcZabRW3vtg6g+JZ/wKqnaGh99MG6VSFhwsu7UptPe8ZMGSzOPKjfvzJUJ/MwARqGOKuESOV04zodj8F74V9hMIB0U+IaIBQ8mTGFE1Rsvdm2pDueRAXhJms3/oGEx1mWXQCAfYux2U8LvY7f952KvNGrRCOUp5EQdsFuEPeIWy6R1WW50net+O16sLZcw1roZE19CqamsTHlQ9/sQojEM8TgxPKqy4HwfCzALDq9VAKHuahz3JqJgN777Wk9Zi/LcHl0opNK/ffoRJp/VCTCcc7E3jjVgW65RW7RwS10ss2KKD0bpp7OtMge5lcWOWl5Hf/3QHD7SWw7lsVm/n2a/fYR62NSygqmLbngzh3Fn6qxvccq3oRK/tRurRVFBqX6uEvOAQf9VeFCRAbuYThX0zEY6Ic5xhgUgeUGQTLE4CZVc8KrnRWVl9A7n7s5G8Dzg3dNYzsmFtNCKs+Xmc7qQgtgdk3ZN8HWD5pShbomM9eDaxv2GRWgHE98CJ3whHnInzsC2ZpszfqBL9PUF6w92Qq2SM/MMf6i/fmwuelMdfzo7wi1bX+Gpddow0ECbKUixeWVMXCtL+usX7CzxAMpFm37f8IqEA+umYuCsanNZhHWQ402l5YFM+f/CzTZ8i4G+YYhYT8zHvIsMgzOnHNX4bAz1cfxcUDXHxZB9hlKMDbwEY+R8X/e/xp6vVPPhlwnFGF2os/calnHk0y8pTtWyFKhuRy+ZJuE6JBcAWDr8sZeIpAiT+wKNAplRp6mUdEq/6oL37Ay41YnBaqM6RP0IOwEvW72LrRRsjrLWol707AHm37l+E2eoWkM1Qoww5CptdAWhYLmq1MeHrWX5ChjE67VJw4+HJWUiOB/GtMLBnHsf0Grg8gy1Zu9vCTSGioERCU6u09MoVqjdAiJYKxGsnTcNebZNWSPBtkG+z7c1wg/Obq/ctcljCRnF16Zw1Top9bCM3qFjRmvCoYLYD0S3EH6tLUCqmr616/vK90BVZMdJ+AbpE64Rcg3TdALeiGzsLCHA9n9wTkqRb4qwqGa22yFcktomHfCDhm5wcJNLHej3Ff4wclcS88eB3Tk3NgwLuOxlKqTOl9rEe+ACBN28hC/2OrRGXurp6bptxzZbiZSTspbboR0e2C9DVxVtcFC7v2MYn5j5vTcGN6K/DnpJeMG75hIbyNSsrEqVB8eMi4LqJ0ts6Z3nQINP1LYfWDPS89EzyPE0JXGx3HNZmup0q95642OYAM2pxdeV53TM8Qx7AHS00hwnubjObRrMY4pfmwJ28N1cEK0CQj3nwxgJ3vjxZe73ofdOsltqYkZFw7cmnYFazo1/7yC4lkF56w/BVpAz8Dxk1LwzN6VQgQpdjZm+q8IAZL7foHySWu56HfvylqDefIzoqmOdiJ+8i4OMbAxLll1tzPNRl4iLfhIIcKw74G8Qoc7fN9JNZcliHc2fDiwGlDgwTpIY/ORGcY/RZG/ZEHJ6y7dOrOLRUQ+MTB4ykmC6CCdHIF4Z3TGxirFAr6YJvMZtPhlyPDsWuxIkNeciM7nMTjgDdlJjWXEnlK1UPrFIMRgSVm+mCfaD8eUstSQ+OSQ4d+JFC1C+Si+Zk3CDHtz+ihJuKO8dtU/FlOZWj2kuxJxJnVzA9x30WAwBReMSsQVhXvUmlkvfPjnK8Pg2Q0d2DgBmmnL3aDunuqF7jmYTjb7Uj61xVqzN2fmfl4ASOxnq5RcDqlhArn4LFyxQ9NGVWn4EmQ0uvkJoyVjneoTjyZrZO6ufWRQpEUTflP2MFUGSHePn25hdWWQBjx2B1WQCKizoe5AuENCa29xY8V608sQWUG9HbjiODqjlmYTTD9BtM0pzoZBuu4t4HnZxdvgm3HDoB+lmvzPpCfdbVvjlI4Nl9qBerSwuWweeakpLjta/44YKarkSovb1Ij99igyXsw7AsEEo7OPaLpdUo6AX2/hCiXSrN6k23M3Gk1cYB4vPI9JzTg/SPO4MD34lQVDe/Gdv01NEnnr0cfqMoLjgucq48e/ErniPUeVs0ayBNA9r4W62rzS7D9IJ7paimUQ4FR8CverVoj/tIIFC/VAu0/fSDX1tgzEJQP+HH49AE2tc34/D2RK6aWgQa8tcCl/WGGWFREZyPNKM6go7qPnKXdTrJXcfb/7lZnx+hqkCPba1JrItkXR/3bMtcq3PVQB3lZ0dqBAPWdMtTWg+XdlqRRprkCO/T6fVG9Zst5mHpLvz/B7tePCZ/KCnsZzjfuGl0VP4QfatQ7z2pmeBmAxTE7CxEx7fnxaZ5OF44sOjuLSsRzhiX0SVXH8sKYdwZcl00Hjq2OJ8IiK0MYZO7LnK9SX0Cpu0BJyGdBC5mpW55o9XZjiDHRNwGHKhHgDXxY9ftQ8hvcUvMw4FYtL4HzGc6foW0RohgSm+mBvNGeOC9DpMLp/jZvuYew6z0SccZOylwOxtCTttuY7AbmFTNwN8GuESNiXSWYABIziKy8k5qu8P5PSpnsNhz8JUBEezSgBnPSg+aHYEDaF0+RbHcRqyQCj5EyZ6HSZC8SDWASX2afwucLFCHhd72D/kaPXjdhH7FVoVqo9wMmQwHczEQznJWm/O4t6swbRQyv0Y1vEcrl772eaqKYgc+CgGFiM5cAbyYw+KV4ebyFHuXgYTp0N3SjF4c7onXc5tnqLhu25wbmTjz7EuMm1JibhICQHp8lfYp43UHdFosDCZ2NFeOrnl9v/AFpYnRrSUhUm9qisXy2TwxgtDj/tBZzA74rr6axCJTE7MN14YXD9FB0TAKrxKpThTsOhvSFqLljEJAnx4R6/vwNPsPdjan70N/zLmPxK2wRY8BEnm8Reqlq+wblxHkzlKhNc57oLb8rbAu5p/My4E8kt13GiF9RingVCo7fO268sLKFfDQn1wpnL8kYnEcHjCnAEirDnGjGSu/xzpAUZVOTguYG6RNFGHbUR/YGZzUYgfZQpM/3KzwS3NqAsTC071Q6qqpD/dbniyPmOjbMVia6cislcycmPbGfDNBXlBO0cElsf5G5clTJKJynmIN7NK7HGDBFF2uIpVzrlSzrn1IXhPyl7MN5BeT40jTR3Ve5WAXPNEeGvC6OnBoEbWnKho/DjFzeUjsSwm3NjiBXLH88MQtu5laA16UfjQnDjJtZ6FiWn5EOg94OK1y02HBBOc6lQN6TSwGGV2xRAB2UmCw208hds0PxpohO+k5RaosPeIsPh6GAuJ62WkT8eX9EnnhtJWXc1lb6+hc/6ZspJ1iXDN2uVopzdW6mCF7793E6rwXNpt0fdguJ+gOcUiJYt5PB2+Aiz2+iWbAECBVgCxiATpv41f+Cco0HzlnNXVw8lPagkMe/8s88KyeiZ6mB4PCpsvh0iw6Q3Pq30i2K8k0dRNJCt49K9XEyalIggKxDxcz3YmJQi6qrmyCzFXSsFTVIENopoR3xSIxsfev5KlxJ3vg7OmNkLxdMyNyYa3HcO0jcXvABcmWqw99cb1j8BE/91BMCyt72AowD3wDEi/BmlR8bvlRk2+iFW6BsZskrLOQKkNAFhCAGMVU0jW4x5K/UEqy0uyEF1KGtl02rppFU8Gn6DqVd6+svEZFzWmau8neMA6zPOt8233oyuyqlJ1AB0h+2zuU0r1830efvSpc11M66guL9UXxVk+PbBXu794rjcjdT4CFC7oqAVjGgyTaIxE8NK8eDF3Hvk2WVzR3H9JakBZQ+C1xUYB11/rizJTd7uyMqKHRR/Mc2sKvqNsT94NbRhbWc6zJVasqpCZ7kFwT6qO26Bpbbd9A+trOnwz/84eYOIz9bIxielJnLzD/zp0p4Tgq65vA/Q8Ox5G6Am/KuAU7hf6rm0pZVXqBFzzPgFUKuMDRtY/9u9Mn4HwSrCaeoa2baXHHW4IvrMX/YkLvbZY0JPTxwdU9Z6280+EzrYPx5xL6RCfgYo5TNYCP9q/mcPNxww7E0zPydyRIrMW5Bv4l0/TPY0WDbBbWGih06GgUTeac06po5tFBwgCSmPfvMqGZbDVTpvL7/UY0Lh0DLj0EIiqGX/0r01HCmiRI5iQB5lGjAoyA2hOc4+Mi2u8npNdsfMMArCAAV2yQD70d8ctPGsHsmDb4sitkMO6mIuVNKkBGwjfi3oeXFyfNPnkEWl+yFggYgXyjhL6lpGFzy8XoVLL5QFM8Th4YD+PGhYkE5k7GSrst1ANZpaWLMSK2EfelKrIQ6n1VlR8soQBAkIX14lNUxUO9p1SaU6K1DtdlnsQ1xXlR4SCaKNV2Gw/PXL4dJTkHsUNboXOaDLVqD7Xqzm7LybdEqWpob+6KNVcZTV2Ym2xUKZl7fk2LDfPWcSfx02iFUm5hSwgA4fIqbsRvAg3KQ1KGfFz8etIjOfVa9K+SEKbJASnG0jxnljn/29Qxn8XBarithiL8wdkUrTsw5EUa29A5qMwIrzA8ARjHO53UzhitEidikhvbIsl/ZAJi0VaBuW8a0AclRLp5SSYbNAJm325nY1Gq5gMYOMf3fHrQZGc5Cu5ptR+ka5cPeuphdy19GJ893ObogSWNkBB/yw/mYwXgn2zWTjLsrcqOfY6hmlFmpIRKfsE7Jsc9v8jxxosk99tnAkJ2B6trVfG2NgGZ7hPvYvkak7s1If6BmP/b/wSJUFtyv1EjAmVJixGVlu4GRLDG/jN0EAqQ0E8TkRjRHO/IMeWnA+Lt6vIH5fT+7MB/i38yhqwnCMzlaFBpS7IhkUqgaUDPCdtAg0xbjv86Eqxo2YuXjF8nkaOCW/DLZmbWKdgRWRKbkudqu8g9uFxizV8nkqlE2KJx23wG8rtVsuYeDFjup7moCJGIvOo/jPJxPuDL3qbPc8IW9EEV9SHUZtSW+hgKjGhx1sXci39I5fyG6GEdiik0+vR89AXdZ5qi8ANo9uFiMmxvQV0+0C5mOYnbEk3xTZSOBt+VQBJQ+rEwNlM2DF3ZzZNGOuPgnhEx9AdSk61lG8Xj/fJM1mdauXvjd2UxVK2rwBuG3il/nLMV2k+TeQ95FXi0ysrVwbmxFdMxEoo9iOU8KV8Uhs4woVEGdbR2Lc4JpuQpTwe6VcvLoQXbSMn7A4bCvrYGRED5IFG0Y4cmzM4NrYVrsHJIrFr467pTdEXscqBny5gvCgCi4oUG+GKAAXDh08DAP5bzseaUWYFSM9OBGwLggKsgO8BdFwiRgvZWmQl+Is55calWwnTiEOMYTN2bQ8ZP88PA5gO23Y2XrIAtsi4Hm/j1TaxX1XrYBCTNbYEImBnTHQtbF3lhD79e83KneQQ+RsPYh0r2ZpgOUtqnLr+dw1aYoOvsRBQawe5RSss+p7LGozH4HCaXLGlOVnbJmEw9taE9jaO1Rj4Hk/9nSDi34My4N1SV1Ol9lpbP7BJtccM6cFsha9yMfUC3cLOlSiLGwB/ax/zwP2ID1Re2uphyRDr0NfDsI6Sctp7dW9//eqRcuSEkdkgvLyMnwVVWdhHr2u4pyU34p5XDM2Jv5MQtXnraau23Z1/INPpiLXNllmv/KImXMc6i04qrTrLff2C9/i2IkPUNuFe8DfeXPvwDX6MpUzR+aRuntF3LjOJ3KvBFdC+y511j0ytrDW2BIJUNn8Gn1fFtiZRL3z9wAC0dAO4vegIXwNVA9qK5ZCOzFVBPIAq4slFnTDpBO0VI91BOf+rpttEm6qNrtKL7xmLehSra422IHR2k5+rVRQxpR3uVOXwVZijXQjnZpheF4vDRp9vJAyL/Mlp56Ms+/FOC1Up+oajXDqyUQ9Eyta0VpblP4lu9Me3SvW0r/t5ob1t5Gzt9ltc4mrSKVv38jb3TJhGNHknAWBQtH2mzJ+nfc4tLpsuliX29aAU+31uiM0qUafao0qIznu4oQOnm2CZN4GewPQPkca7gUuTluvTnN5SRBcE1nCvsIVvFi4098vTPmxWKwNIlNFNEcVj/Xv+WhRryH739GuCn/LImZeBVkOqQMh/+EpnyUfP8yWA52RG+Pa6Tb5tdsjBRhKzPiugudvppLMvjEy9pLe6Zmvc6qa33hj5JKjaq7MJyt1R8Stf0f8l5LqTFullTI/p5pladhsriSBBFZKH8W4IA4UmCua7CmER5hOxuHo4b0w1c5Rst7d0a4Zo2Z0sOqXRmHm9ocKvum+8nXultbL4sxRlPvBrLbcTdzWipPJ5tqHhI8CKbK0n3Uh//avce4zBRunhw7dVDsaLML7PdZUBBQWRVNW8bZiViN1EKKrWClK1EDc3Q5FHNx8LRgD/WxMHQPTQKIr5xjpYoyipLK3xvjaFcYIwL1DQga5hiO00Vkv4VPiUfaACg6dpCoJ9jQ9kzO0oFzGMHqPdTVXuqyeWqCn3bxLYAPOwLcVD6/gYbNySYXbKeDTmo1rq0e5708huFTKE0z6tD80PDbJizKVLvzqok1GXEm6S+tmGILqQMaD6WfTe9s7hldzjuZKinGkQl4fXMZnOPpSKK2KJR8Ydi6vf4SndyHmReKSkhoJV1iadU5RB6J1I2AT9OfbelTgTR0qp4tSbzHaQhQd7A/iVuYOSwZtdQ9bne+oI+rY5rU/+yMw+Dl/XYPbwqPijtDTJLC5f3zCptmDb94/I7zFL/oWHW2G8KN8FpCKZuswkc694FoZ/mayeGqCMwvUl29D/P5aK0ebY8eZwpMYi9PF8F/KnDbf/0VRPtxc61Izq7GIC/qe5LUmSCTR2Zr4SUeVsTTxmGh6NbxmPvUXNFyzp70XZ2u/0rqNe1u2JFGy4XplIYiFlEiZ/qDotkprx+jhft/UBJwheEvjtcMMrmy3rhg1TCXH5y1+LNK55EWY26F2R9eaFkZydw6LFEFatGw/wfrQaDhnm23ulwEOtWMyzZQU4WHJz0Qra9uJOI3H257L1dK2hzAbqeXV36njOdHFWnW5X4GQ0IMyXZcsE/OXWMT7qkYJSPm8j9+hOA91kNsi7ZVR51bhIvHIolD4NXTyWHdjbzi4kv5sB9CkTdqjH7+cdhT5GMgZNDi2dLEo2di9j2TxuXtGBcH2hEQHQV9ptUikMx4nD645V18Ovpb8mMkBKUhafqktY0/Kgc7Ireo7DmgWg/ydYc9e9mDgESu/Qkbtp3dpI2iA80wL6fO3VTjHJw1QKBwzlHDwditGQ5uEJVsDCsQv/pnrMRWDJ1L/vzy5CwC+jbYxpi0XiUxWezJrWLkBAMpyq6ZYqAGJAWlXK5rtCbxnhFsiiuSxG94sfqOe9oa894jx8avBo0Tig8pcT1QfyM4dvdj0uoGOzNTKOaRW2hXCsUH6uEgSmaMCyh9NH233PiorxNdauaMOKP3nw1KbalCd3N+HBRpewqgi6iMBIhP0Rntp1RzOEmvLNDjPQelXwXZyiZ3fqmAMrjx1sH64+QuSj/08AlCaWsCuOlljxJMtHdqBaScbSwSy7OXxkbIpJpxbe6SIxmRoAWT+2R//5ENsquRYqXc7SwwzkUEPtNCqiv/Qfk/cJxlj6OLcygHHRNficj+dNynsDqhEiyIM2tHOxWXNjvWdenkEPYmprTkP1FsHxCdlYf//CBqCR6He8YGHgpkVhpUvsypSfViDDjlwkf9xdu6XGxEWv6MEms/ZI4B1LmQFOv4WE7F2WRzqBnFY5G8NatiiqCQq1FO+8d5jQzq4xJyrACP2bonBm+Ry/BpmlZ+F2JdeKj0aHoie+KVOfAD62HRHqXQHfCfv7//r59EHNFTDI0VJ73FEJbef1I6yi8kl29gBK8UwWJ55ijMVW/9D54qMe5DzZlj1QECz+gQ2fVK4zT/Kc33q0t4Fa8IejwoH9rM9SYmvJWWduZZNITX3xG7dY5Rec5ZQE+h00xbiCWqHLLaGUP9o9KwyqLS5aRQXjLUe6nK6d8MhZ/L5uqj3o3N4E0YxqXaEFKl95/VfHVIr9pQSyelWM12pn3dGP+d1g6XD+bGfd0VNHXJFkFexCzZZIszeMxU28Ptt5rxSwg6Gpz3335wyPx/C/cVgDcVcpl6kVj9lv8DkIWxFlN6vRM6DUNt9B60I2ocZHlNraFHO7+d1V16GwII1+hPbQDoPza9CC/aFLLAdo5lBbm54Z4jShBVV6N7gWUkRlwLGetxq2zbI71hCyb8sIIajAmeow65OCf/AeSlvzUwo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55930" y="1828800"/>
            <a:ext cx="8232140" cy="4879340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143000" y="6400800"/>
            <a:ext cx="16866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latin typeface="Century Gothic" panose="020B0502020202020204" pitchFamily="34" charset="0"/>
              </a:rPr>
              <a:t>Source: Company information</a:t>
            </a:r>
          </a:p>
        </p:txBody>
      </p:sp>
    </p:spTree>
    <p:extLst>
      <p:ext uri="{BB962C8B-B14F-4D97-AF65-F5344CB8AC3E}">
        <p14:creationId xmlns:p14="http://schemas.microsoft.com/office/powerpoint/2010/main" val="41531476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unkin Donuts Store Growth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Dunkin Donuts geographic footprint will be more balanced as it expands beyond its core markets. </a:t>
            </a:r>
          </a:p>
          <a:p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1666120" y="6477000"/>
            <a:ext cx="16866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latin typeface="Century Gothic" panose="020B0502020202020204" pitchFamily="34" charset="0"/>
              </a:rPr>
              <a:t>Source: Company information</a:t>
            </a:r>
          </a:p>
        </p:txBody>
      </p:sp>
      <p:sp>
        <p:nvSpPr>
          <p:cNvPr id="4" name="Rectangle 3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ubs11WMMKQMWY5b07L3krsaT20JD06MnQKD5tJA2hZ0y8eNH59O5xkHMShUFTOWejkJCOFNDkvRytWtY2nQeADA3ooNdB//D3RAW7cRQLF3kHA0AI6LdqnrKtjI8kid0CTKFRMuxwOyiDG/Yt/MF0WjTG3kvdUge/wKdg33iq9FIoT+TaTvSD3sh6Ql6lN/kJoforAgnpdbt3mdDMKrIW99w20wPuKeion1EhNlGKSIUy6DiKilmPAeHtkTt6IGay/rXzpNm4iy/s2Rp5R7IFe4wF2aMJszJ3pR3OCl2Gq+gl8LNDedclqAtEAoJ3VusPR8Wz5qszRVfGhaYmdWAvIL8DXhzsjzdGgppo7qPR8xeEXHxYTo3y667P3N2DnJ5H4i7luvz0YGPHnni8ROD/PcpYYFgXG3e1oRO84cXxEmaFCZoi9e6U2mm1/IR5K7S9rQ0Oh/G8eFZWAxaLkZgBhedvXabkGWz8zR9voOrJawS2wWCn4/PnLkT5xgzgDCb/zHGU/ITXZrd4JdeTaEUnwGYfn6jv5QkJxTE06UHpkXEb6o0srMhfq1paS1S8C0UFmBuOzGwCCJGKhT1OPdo1OuXTTFR87F5Gu1iTUnT7tzKvjFGGR0fxcXd76TcH27lyRgUiorhR/edMckT1Wg+ndq6jIr1+mCRzWYLK3M3KZ9co1wfMb66ynPce0oeBvLo6qaf/af0O4a9TvNcHbFNWDORpLRUqRM4sJYPAF/qzWLW7oSz9B2QX3ibhOiMQ/0GhyBv8trg7eGoY42Jl0pw37mfVk1m9vWOxDp3NdSz+mktACdV4iZ8c+RUer5V9dY0AOQkU863nb95fU6LHPL0IqaIicTs9Qm6tf8dctpyvNnWUS+329J5Gy2xRl397rbn+dVVtbMUXfCZw7gQUibtOu/W9jMeUjAN6EpoSagY2GfMxxAp8m3S8di3K5sWxsA6JRzYdLM1jjocf6FL78lHUikBewludX36vKXY/yhbgUU26XhVu6FaV9efxZ0tN3ZVpGOnoHxuUCapp+eJIjzt/xNNSlrYZ5hX/v29do1z6b9SpXflcsCc9LYpdZCprwbZttHA5E1oXea0DkrBzMA9gNSPsL1MdQP7NhXgjgu6WSI8RvERwg2/4fuGLi2DOOVQA5X0OOEyun1+P2/QEDi4I400j4cQVJKG2KAKux+YQHLSK16zS0+vSjSBbJlh4RMcMOYnz2FUPOVdEbJp0HvAetfFoXt6BEbBmkyRzR4WFqbuP8rbmvr7inK/WGPuIR27vG8h6Zivx1wkptEBEPQeOZ5KnTGWU3QhA/AgFrdhNMUfK7tnvNQ0ns+jonMXPBPBo2bIYstdKli3BCglr9zevR1inL+ir9aFbXcLlye2xTOTl3l//++sHPZ8hthlX1MLngqqhctyDezbbxPecQtroYQJoarlrmsYiQ6aJUQzhRJiXVJL5XkF4n0XM5JEbd1e/zwGOxnjTQnTvJmMHGNgYMdx5qB40fe1uSnyO4au6+b0hbgt8hfrYZT4zvuSYsVRxvjgbjhhtfGixk+1r6jdomhLpd1E06StLyO8uFm9iPljyI9cCvtR0ZVgc3m7T8kT2BQzP+K2Ry9hc1S3QAX+k+CYtEPMMyj8UG0bAdK3dQySsETUg6M1xy2JcqN1Bec4HTfU/QgeoHH92NxUqt/V/0E+iN2oqpMHQDl9WuIZ5ie0r+rTKO7YSOSAnXBtabuj6V9fvvIqOksMXHAU3scdJu2MB5dXeOKB8T2r9E3JICmHE1zL6kbmp4R45YvQ3aL9nRwN0ezuGz36daLj1AdCN+VVpUah7NZu9G62nNRAQbIDegyHImTfzgPDWmYB/gkFwSVhuAhF8i4F9a0qaGJgZsDmjc80JtXlH8Inr9xIoT+cYyJj31HS+mhyjIx85cFj8qrWHlDnAmGB5qhTzMz2kceOqzeLO7vZrYQnl4RL2y4z8+qaCELcpjg0o/qrINGVqko3xdcR6KEK6ic5DemPbVKI8Tn+3lrYolcM1VfpRY+zFifSk/BJjDR9gYnJPNZLpXhyYfbQGAEYTfr7f6cwh/SuLUX/FJTH3HynW49CwY1+bcCuSqtLh+KSp3HId+SVwnRdZeYevWTYOF2KZvKCB+uUZQrcrOmlwbn6XYoWum2TAI/GOxiMet9DJg5H4hptCifOFYikIqv3MtIaP8o+kkJ0hoUis6HnZx6qBELJFVrG/WZCik6dVtYjLc5h9hmFSZ9S0MT14Qi18eexiokPH6iC6b53uUxWXLwVt7cGe1XdHh+TB0pwKnCY7ZofR07KkN7fLEIygnyejjxjkMbDJMuUxARSIz45PmPhHrCE9BBb6L6Wbv5OzUNdFFVKJJpu+8R8gIHrjLZnK0MeY1LhbyGPcSLv+GB2qIz/slTbXuYiIZCg1URMXqBF1jki4buV5TGmyUjjWGIV6YWjIYfq0SowXVas6ZqX6ZT/ugfsb2zcWeX0S88crgcDSkNL74VZMZVGE5IswcUEuoLmCfThn4lDlp24kKmX+ybQlyhVFUekR9coAHT4xC4sQ1Kh7EslLzLZIwAG6exKQI9yKbm9YiYZ5o7LXDfD2kCgKat3mPCKPNv4rzQrxubpVAe91uwsrOc19DyAtQEcnWceecqJudJop7F+W0ZDPDpV5NycPMAP2kGn4S6UILOmknVatI4WxoODJ1i+IZrCe7oov+EPdhX+ACYS/eDEWgRrhDp54rO7gCFi7tz9y1baMwOMjnSNs4lN/5yCZYcCaCyFlDJQgsF56P9hbLeyAK0fMx1NkJvdp+7fgVw00qvlPZRI9QQGyfdfc9b7/Ms9H/Cy9T8DVdr1wOPdvCEF0eUqYBvaSKCd2OMEuNFzwWM4poVmfU7ZjvK2eXyfzG7L6e4F+hTBl5cqWyBRGxR5WZAqhGCg+1GOB8o8CPNbJtqwYHx0OufqCALRS948Hx1AIJp7TKiqINY+dsbbdviMGMrtsE/wmL87VmxhfHaPGqsTO8HYdea7PBurrnnba+Cd/3HBt0yqVliO3hWHS0LYtGmLdfX+KfrIuP9v8OpbNh15pr0gm1mJ3d/VNotCutD1JGDFOteoM9/QUnzo6FgUHb7KotYzfiK77CRtkUaTuiihvjDmTO7nH6cyNQs4MTtTH97zfA1TqdoPhITkvtm8Ylatto2F97+EpN8DjL95FQ7sun508r2yUZ4eIb/uC+HM0N3IifUVRsAn2r+Ux8JtBtiAQO1iNRQ1R8NuKLQqIOkJycKRqajiuUy1QJCrpMcVpGTu0L3x9YLhEZqqzWtv73LgU5YhFSG9IDxJNzHrmhMT18xvdkavyKPwVJOpe2iEvwEvciUTFdzNPNf//qjLke9RtK6ap6woBclwCxoBbxwb/plWthDYh8d4AYvD9Wy5N7VjpY1SMT1hJ00b4s0xtjS5W+belxHWeCQtiUCKqhpfR/T8JVZ4oM3HdGD5IoOEc96cR7ZOwsJN44Tu74D++JuwDEiUh5qh4zKViHHNKFdLIjwJMbmB5GCVqcYmywJF4NB2IKEnhd9rZtvJ1PBodYLcg9jkhupXIBPsc0Zf+mSGDACkIjBbDnFBtqWo+AE14Y5B9SZ6E5YRe1sLzkPGYzV0G3n/8EepNPDbALph7Qc55XQotGA2laupgwaTFb+wp+WL1G/Av4JJwpw/SDdwQnNzpxEZBujxuROOu/tHh/toG+yLTGUt4hOwkKPEE7UX+PtoMMWHsjHTyJYY7Ns4fZb4JzPRdya4E5d8YmVGmrLMqHOnEOVe1/C7kI5m5h0gqL17LkTv+45mDZk3B5R/3Pp6LEOzskjvIqAgGyh9/AKtlPjUyHG3URlubdTJCbkyV/ti/3xl9UdTBx5HHYNioXPPV+DZY7a93VulLSk6qmMlyejQtXhOuC5MQD1ZJU5PNBOGaSHrXKb0dLyWNXOjbbGPYlBtlnmDNqGGSDyop9YLX7G+WM3s5/xJozhUoYtYwARZWCQCER7iBSp9XdcBmpGf31qR6Ya0i3OuMq3xpc01t8u3hMS0MySGb+DlVJkJ9QLqC+/eJuCN3IKTo6w1fH4AZ/bkgbB7cEYqywmhYWkpRidsX61aVr9OrX05qVteEbAR4h/qhPXhAKaIE659bpafAzJyM47bRyXfaD9Y/F/shSuOy8ZgUY1mMTf2NiHio0eVc3nJzEA6NJsttOq+xOS/kBlpHYGnuIVF5BvmSlnjlZTB2FcR24Vje2ha38jRCSJ4q7GrhRTXCSdrl+y8qSl2XsrsEZvTT8tEPyJ9ZL+B1iDkDFt6tg9gONv5TSWe6T8ByARTlboC74pMDy936jNLp/1TkHrwXnqNg2Q5ge48xNctCfvTiJkiVdUhuy01m/GZhIE/z7WUqe39qBRgJPViNhrY75fybTz4D7ZM+vEAWmLuERpNwRMSDqla/6YWSle+MxIpSR7RfeDXLN5NVS5eAXU8WyQXAYHy9aDa0Cqt7jGl19hru9AM46WYZaHc/hnK+Mrtc6SnmNFVi06d6CjoMLR9ZZAEMq8SDfgmfpenkUEdQfpRa1I8J6QuJEqZLcOkejhnBAlFLQoXx266xq2J8QyQtereRLoEb+6ROCcIM+JvC9rUKXp5CrSGZ3WxiM6xasdGkiabglsZIHkJImzgCCONXwA+i87CaBq409nw6gD/QrwQrvwKcVDSyJNpfxjsOvWexcQdVpbS7FtrYBOfZx7O64RI9+zRUwfWIVBTn6h1vhKe/V93XYCrWtLL6kLQcoLDFcuKbyHFuRc5f26vFP0r5IyWg9B6bZ1cznQyt/visklorSjSGe7kdrbuO8g42NIiQOgDBxT//xlzQdJYhn4BlR0L9lw3s0n0jePvIRMQ8Re1w4QsMfdYKxT+b2hkgjQQ/3mr9f9h23cM78xm3BbtwACdIocMZ9DZlp4WU0WqpXHs417BHkcD/vAXi/eNSRT6gjcaZHFY1mvX2q3aHdLY+/hEub5N9MItKt4IwIDC7h2HBUmaMFY14dvZGkoz4O7qyesaW4tPMK2kIjuE96vVKW2aH7bTCuhDhif6vCgbKDex6dyUGVX2quwzJ9AlOu082VeoVeQk/ZyT7KShwttwP2ajg2ZmDi11GGwdIggs++t82gK5v5sC/f6E59gtqS02CDB0gUkFdON98TZtxLK4t49IEO2n4+BpCkLzgOBGd14TAxscsQCoLhTxMQJrxBl13/BIwZ8D4+tFS86zPDuHWj7KyM/0upqXRcONj7y1DeM/zcaEDBlYKuyZ17mePR5u0bF/5kUFU8eNGY9rIEAer7ZXO08X5LRO3EOIq7dE4opCU+Sup0n3dbHc4zGVPTMMSfhFcEvufj9E964Yu+baSoArLOqb5g3QVkupNCR6/aKwaDlfXZsbsnUx4JSng1s7oXRqfzcnHug75Bjss65a3ldVMjsWYsmRKUOseNnev1KLCbB5CG6ejf9xcSXeyiGCx0KvjD3kKXYX0E9HyZFiccjYjpWQ1vv5dbsxiuRjwGCJsObJ9mQueOeJ5g9n8B9myz9E0hJ4gLacdUQ7xdSLfeu5ZLRgFahWQeqhnzus6TFhnlHVX7eRVPBRHvEqz19UWqfOmXl4He3/8v2jOScUOeJ1n1v0F+K3EI9Kkh/0fW+ynvCgOzeW3kObIIFk+chJfVx1A5c/W07JEj4vaZJPRlPflhUDEOCg63chb9J5XvxNGxvK7weLYUppLt6OcJ7oSJXcb6XeJQrntthvgXj52sVCQaW/xc4LLQPFHRzJaIDHEvmZ50Ee7HlNWFrAH9Y548D/UQ1Ma7tbJHiUCa6CRrLVH4hgiGdzuseoZszsQQRPAU5KGyUhIag9AK6wtqH83dJGkJ7f3Nm6DKmi36nHN0CScewueT1smRHPalsakl13dhi5J/mn3VCVnvzoM71P4cREoHG8XHag01ba6ZhatT0nEifofHSaQfGHo3peU+llpAs+R9jD7bLtpAv9GRyuqU1neO94yft/IqRXEP1mhA25LNHBa2qHaE0E5gQ+LZ+ltxoDDJqb2CpenAfPKSBSm2bF1GnENlNICq+hAwIo7onsoU2y8D2/aouuw73exFxglWCnz+zO7DcKIgsv9RsA23r6XdU1JYSATUI719/xMR8QcgTqEa7mcWgQjpKu7akHOFNUni45HniboqZ1bv3RP0T/lhUZ07+bLJgWx/M1oTI4YeOh9FPB8cJUUYVMRH1sjEimNqwS+ZMSvsueAwRw4mq5LWNqGJGgC94GlPsW8CHTUI7UOefHBPiXEQAcBb8sMptLu33ekB/3OzWYYDJfYZMNpAFp4c96/ifq97SICSJ9hTtcjEyRK4vpCmKtqSHhEsTP2nnU7f/LBdGy/XedDvlwNPrTNLZyVZsvC6v+qSrdAyBO3Eeo0U2p06MgIKgh6Q/nq1+b3gE7idEFpmjMi5Rny9xShWLQTswWl56a4p6VXLOtvn7bExF5OIlio48PjJBU5ATDOfpsXdg+ZM4u0k4/fO3ZBMZbXQPqBl+UZQua4mvvxJOaXKsjy8VI0/WjnHb9EoVb3kVXQIOaQ/xAvYcQU0WkVLOAYf/dME4Dsbjq2hcVbYIhmXvReL46tQuSMtKeL7/Aj0SGv6E3sN6WjRlHSFhXKC2pV/Wi6I4mrfRlRtLuafeZgs4iKYj4IuLYJrV++bhgIR3mOnFMb1Dgxe+zhAp/9tVp7EKo6x42kSuC23z58n/nil6M09hAGiclOCWfrDkd6nCW8Px4ZambZr7YonvzQsI6txSVBAugUQ+wqLfmSx/oPxf+8DBEhN5vWHVJMDA6COWf/Ler45h5+5Ti8Gbge3Uq0euVTxwJSpf1bAMFbWDJ6jJenZdHV3/fcVL99OErCyRbeeLFdDGym3J5FdJa1ZOs4VrDaYI5/VUaOdAp2VcyzCvXtEEXwccBVcVPzpToI/fpgYJCDnQRKjtPUbH0uSssRbIyFwRulNIWw4dUz5Vd7OMmNQmPMl1x/yUBEaiEMkQOYUyBdxXnBHWfP6bMxk8So3HKuDxQhMee+Ki4+4p9xSptXnuIoK5zVGImfi2YUKNu9icT756Ow1FIvAH51skAbhxmLk0YQmcL313QaFeCYvLMY8IAGTil0KqCPPC4zVeUBEu3vETsFWOZ3dtmwW9cThX+bvmgAka3pahOuSw9JjhNp4TgFkzeGplYQvRGJCbQN2BYFtA2BptQtaODxspMyz7iEA4ggR4rpY5HqvxWWYJ1PC8/ATGWA7HDQPeQvx/yrOm+u/kfUmLNJYz7vFKmqp7bQWhPHqkn/gQv1ck7plUubWy/H9prDwn4TgA0H1HNCZuXwnTW3Kgbcv+/uat3mwVAz/IsiERlPxWksqAWz9/zPEso/WOtwW8k8zmLVOf3wg35syUriDa266xPHYl19I36r2uhSYhesa9Uqkfo8XnmJyaz3hhRk1ngwD4G6sO8JMxlIEpO1a9SaBaWeEml0YBMhbw4QT03HL7GQ+I0htNZ4mFwvcGTYOAW9BfuVQa5HERkyVfweZxTvKcrnLkUomjsqKvP9VCyc4oetfTl4/fg5AdUMuEAvibtIXt8141OewtHoUiNxhTs9QHiZH57gbDyEoNDExAD7d4Gs2sek5tekPpOlfAVBoEq9UwPS23+ATDiYUBOAyrsiAQSJa9CdGr86lOhZJZXiXlXay15fo7qZhfkrMbQ+WYBlOOOTv8EZU2TIaCdSvCb8eQKF6hGX9Yu4Y1q0NOf6UkV7SUIviBt2dZb8dCajyQnaB+j/qD6kJJBTP7IbBSf8QdFu6Hxv/r85XUOSA81uYkmi7d1zl8nnEB3rBMZTsSG13/ivqQjX37GBAYJ63jBsBD/Fu8OYKYU0WAHfGACGSxLOA+UPrTHTK/I7tXCSwg458iekEnsbDG4zNwn6fbvCVxR5fr9MCM/sgmPxpyZekuX3x3p7aAcCjVr/Y/gXNz9D1vS3YNyCEkPwMhVfrGs1279e/G/uCHmH2G9szmSnU8rjvRe/DfRV9eQjARMe+/JWvkJLofZCyaMKn7l2n6HVNwgn245GrxUWtR8JiJTmakfufkdsVXHf+j0m6ZLw8Mm8r0vfU3JlWqujLZupHgaEjwzM+nXvvp5wAXINXb9wOHndfGToaf1NP9oTUxBWehcIXmk131PRD3s5A7WEBwI7Ei6t8fsjsnBE1qlEGddTNoJC26Nhy1PF4u2wW7TrAdqERXCj1CLyPfyn1fUPizoyoSC768tKDSJ4KH/I46nBebG3NnToi9xE/6wVRGkK/4N99pUbBIyr6fLSO/Ml7pyTjjI+QMO2dpDQcsZFI3NK3VACv8En0SE4mPKg+Ou33V+TEh7lXlNAj0ouFsJNjnMZLwSD3Wn7JbPJsIGBIDrp5gq3klFK9x07odVuuv3PQc/mnHzVeHmkFcvPU/HKJa8OFZOLxAnJP3N4vWGDAmfvJo9doJ526iWGRhBeBfDjTlFFLe29L9rM2/59IYbCftzug60rSxH2np6GfFBrnr0aTIHAQur6nTEnGVeGC8uFMIWr2f9roa+JjvOLfFRYNMzaWy8hbHJTvIbfOPOIXQYExLM6CINUSRwxE2PKfTUGSG9gF4S1Riv3b/FHSIsAk1mNxsicyAnjDacRg3VVW7bUdNYnkOsoRMiMnp5xZws1l0h/V6NuSeWBXPusZXliGQB4gWJnRbzx7VxAKIyNxk1OM0Dn9lBlyqWV+P/Utx6WFS1cZu/ikkzb/TsgPCDwNyTxAMYORM4gedVTI/yGuCd06BTUqqrjEaghfeHxSukJwfuHIXboYn+1/Kpim357aAYFV2FoTHO0E1Dqx6QJ8t9fBDiPMYP16wC4/aJQMpGpmVh1gnRl1bP/bbBIibOZ9EuYOObsDJKvW+Rr/4Xz7prKvUx+KnZ7HeyDryuhVv4fW+u7Lhgh7+ievHZWMGOirdWe1lv7CmwLXvH5AWubzWaDCPKPq+CmtCkUFsHFYnkd/KUCqB0e9N1en4W2960wtwNIWUgcd3sx5oECqpimcJOzvi7sqNkBmT0Si/Rqm6TStcs+TJtP3t3f7/bmcHS27PuxJ0cGFmggOiSY9Z4JNvGw4qXv+nhtVQCmEklAIPRUteaEqd/vklZpaw+mHPKrnOlfH/lYf/1YGMs3Y9IqX7RQemU+fxO/oV+Ubp+3DUXgEyN88uGHR04u7HyBPurS/9ZF6/asBH/Dz936rYqxZMFiwz7LbYpXYzO66JdmibotlaVmGRwuaOwnv8T15CQDtyyL2mq5U5/xIqZ3psPsHoIrRUOUH7WA7D8fWjd7zgn3nj0nl5BGE3MbUZb28JF9twJnvmELk/yoRe+Mij2fgKu1z4W4qMQt55FonhoGnxZ9hExaUq+loJSr99YJ2/PYJCjl8JySzx5p5cfR2L8Cbj+aQiNPvCiS7C/J2Q/UitbDLxb4/SCukrVU+CNCHZKHlkTTWrzfy47NNbiTFlsyCj9H75Ix4CpCrZB+Dgf+8K0MgcVYcOrunZ38wxzSA+/KEGFQC2ahXB2gyOV2cCiSnnqUIRniAEB3Beo1IkLpQ6JZ7Gclys2z0bVHkiC6j3KOUfOrZydOO5Ba5fJEZlMkXH17yzAriBl/rt0AibR3+wHBTUblx4kFJUsp5Oy5GWCf9Wdnv2YfIRFbP32UJCUZZgwSDe4zWYsUP61FG0tshUQkI4O08fqWS/jjiO62DiGDh9Z8NLDsuxDmlzz27SzFAA3Ect/oh5yotUtmtX9tobaaBHijvKgo9IL8e90rgPrv/eB7HdYt9b5AG8jNUB0xNWdTqOEUtu+dfKIn2KyN0vgwHvgG9xU5iRfM6o+5nsCBEX9IGvzIAaVY571HxnTNTET+xu6Hlk1aLacUKq9p0eOTL9lPqsE/2/RpNJ7hmf8qvPJdyuY3prJhI3abMR3ldqp63X8OpN419ibQzbPRcsYf1HkaWh6s+LRXvPUdAF8YD+IbPyQTbWpKV72fVmD/Bt5Bg4Tb9g6v3S4SKEdsYJRJqMkizAoujh3a6Cj7GybojS7NyZO/LJzRt79jqVLvsyfZIhL2qJzactxvk/qsDuUBc0vrg1CFejgu2aZX4PcWc8wfSusAB8jcbPkKZDTrb8LBLfiISbD7NNh0zKl2rgfilQjymeGNGxojktj7uBiTjMowbS0Mp8+CHllOFlnb5IGG0UO9aQR6pkUAJh4yZAWEt+XVfME3PZv4pS2/Pynhev7U5n9X+qrbtKXjntHJfVQ6X+HkE8r702qJU4lay7iHeE2v6bCFPVQ2Yjy6h+EGRhypbQuBH0eeWxL6bvI22OaKOqZGuV5xyaNaNJxBJoS60SiRiR4PNWQZOJxauG1v65oRGxqNpQERg7a3tOCiyskiBQzVQnxocI318a7jAnb8fwiGIlWKVcfSeEIKny7fM0q1PtP03p42HIL2KL00GRIypswCTxncYGpay6+SOYUH3o9mHWiYdHWtWZCbyH2RlwV7jhnnnfs8tKEg1qZ6bo1lktIjUQZ5k3i9y7hLmSW2kDsk7GdcdLXCZui2Bu77LLJJfmbAnBIoolxO8yO1+Zpfjtcpz8YAUAtJdqPOqCwXQ7ZDz9i6WXpskT+SAK43tFEoOYpEBzkMCF1LKANUgPA8nz3Cb06DKmUJBqHCOc5YEnaS9KxgBLW2Ch50TZ6jYd+8DM3eYhZzqtOtJ7EolTeN1guvjjSYozJGP6uL4BPo0U8r6EAoqIfiVU8MnY584/4/de/81LPN33MBngKWrz7L5CDExnYbi0ClK531EnCy8n8gW9egKRaNa1zk5+emgpQhbXM9MKfrTHcnnDS+JXWATutiZO655I/hhoQy4ZisPeyD2bdUeBKJ4cv+hIo0b0Yo8sCzjm2p1Nxk8HuAdn0nhohxAw9N2ni+QRAZ4mYJBShc5055aGDwF8qFZAD700244wxEeCrsYK/t2MSRR7gmLaEvy23Aa4kbpSxN6LlhNnG6Ub9Q/ncUY5f5rmkGziOHyumGJOAnHP42ludnSW8waor49/TdxdomUpIXuP+SOLP/KgBGySyQk7QE3/tF2VgnF9+kWyGXL1mMMxNkv8FbDA6VR2PN5SbkW7bYou1RrX/gz8WEzTaxRFvrbyTsJ9f79aOWSwEW4E4miPT+WGhArOgGDEHe2foIvM2zbNmn9N38aAzkIuEoSEkHDz/HZWMidqLZj+Xe66ot8++SwXyQEyujhugTkWfGkChT2qdk8Rj6OqrMm1A1SkaGGzwqqY7u8tCPRJ43GTRkWno+nozxZGwAr8Q6YQd13Ea5bFF5jT7ns/ocipEHYg6k9qpIMECfEOnSuPb2O2wuX2T4XCPgkqD9Dw0XbowSEdpPw+5HcBKRjVg93he8g5gSYZRBu6ZIwoYtJfjA5JGSRt9PVmKX2nj2D2t1QMJ/BiaBwzwpq5+Yko6di/S2i6wfMBva42zRd/VxkNGy4Q9e6F+NrfMuyUtsONcJoXPmYc0/WMBRkH07UGAUAyE+CN1CzShYAloR9hPTI60S80vIJEWmTrc4Et7ewOsHHIUZkfPh7tjrrt3BBvl7eXqZU5mG3PsMVrfpgqoCgMly0+XpmT6u/BC1lnUcyxfH7m+4nycxD0F/XYIpLfelXxWYA3vOuONRP7Oh/TVkkOVyaHCO4dPe0RZIZp4pXcgeVi97/K7LEw0FlsbjEfJzKJUXNz4XfBfKaN1PJDOmOZfZ6wW0pCvbHOHHNXHzACM8ookhXsNLahfDSUQLewAsZ0XuSSZq0qs5j2SU+7xuo6yfhLaFd1aSKHNkC8BUYqsPgIxVeH6B7U/fQPpJz3unFXBGVXYc62M3MkZKCm7AfWiSStB/GUhFvcfhbrodLferFCeuczKvyWIIC/6O8ex7YwG9djz7FXLmTVRnqTh+vqyxWIISXtHu3Zrofzp933S3b0TDOlAJ2j+1A952GBbdIzIgsBPdDUE9ZXIN+SlqmUharTyEbxZcoOUxVDI8VB52IVCxbCW7U+cXHXWOtjdk5YgonJKlDGZw+MwXSH+kUmXRLmoGJM1PfqforaSeHIuZ1KWo/5/Qd5ADRAGm4HIyneA3n+qE1aI+DiqEeYbEd2PAaRQPAV3yH3SDr+fkZA2Dl2e7nYTULLUCRwAwO9WZiZloiZR6m2Vx9KFkO8y27cDWGFVqnx2JJKOossE6cnrki5+PZLBQ/ibJlmZQEzqQiH4WBtRCBkohf33RoMThKpYCA6ynONYwKnuHy+Q80nl++vfvPASDqZmmOo05BJ5zVHydgQ7UX5e5qCSwP9namVhz92JBs8VVI4AT8fl6ASPpNOxzpsk0+EcaWCfRPcH385+zR0Ji2v1H46hZvLmYGb35xRvNqFvIKkjuFrTKRiZTgXPZSdHpAql9Trvcq8ZTaVyccGiZTXHcES0aDenTwRQSw58KxreKYa0N+QNkkIWK5rqdU2gSg/3GI1Opayw2aDVSpXkBKXB+BcQTGAKwyRr8d9SqLNsVkBR4cFF6aZHOO5NbG8HsPr+FYTgTPbIUkL+Hx6pOKL5axYy/r8ShRUnpqgoHQrBdOhtGKKE0CqpGB40hMfrx0pgCiyhcoPjhwwHVBq+UXP3DYd4i9+m2i5Y9eXWK/XzXkiM9Wi9dR9Svyeutr6YWXfXyyScga4KiKFuiL91NXMrFSPrhuxCulNRyjAEPkWu+4GDnKMAplxNMiCu9GKxh6OtD8+RJb+sbP98+46p/I/KOE4jwP/0QM5SGZtQILwya6cg+30XFxOPb/sBWv0X16B7aAXsNVTBCcoraJxkE87k3TVUFta+Dz6+2Ds/Y9mighC8I9Qu3TN+T9xaK7qFGNu621WLSQv2gMbS7tAf0nhPamfHpS9Bw2j9VxfqM5Xekkf5uJ2ROBblN0gxgwfhqE7oJOe/ycF6qPYISfVVYLwrzzmPod+0Ib5sArMX4dwthcglM/rgKyrNyrOJwUjhqVlZ0ZHShaVaOlo0XxPLo3eb/2h4U+UJ1aYuNK+a/PD16B1xa2U5QZ1efbm95L6/GN6yLmv2z0M4izcBDwEDll/qtudybT7IyBIZ++48TEYVpB9c+Op6WreUTlwGXmifxbQZEZyeYNCzNZiZ1BSOG5RckKwi1DjIpuSn2KAGQLF9FpPeSkzI/GByZ/gmlpwkoWQ5fBdjxerTeD3zNR5ExBPTvhf7ecAzsGLT1/QfoJQZchWmp2AuIluxzjSBmJxuap2FHTcnzFYGnNKeiXsk4irbzHyU2BbJQbbFF8Y/NtGjpNJPblAatApOOOqZCTsyY5HNXKx9Sk7Vt5H+jWOP/7a63/hmBgJNGl4waiQ2MBeUfEfiL7pdtG2JHiGiQ57+LFU5mxKbR7ox+Yr+LhdZssn9y1jD0o+eif7c1OlcEA4AKI+YbiBqRrxAO7Oh50dsKU/Y3GxbRHjNawQE1zud/ev82/hgZBt6MZx8UPptBYYpoDaYVX7w8AkUH0j+plv3EWK1QB/NaneWk1hvIsGLjYQ4CpuUWKoLXgxmR54x1Bw+BrzMirBmEJm6Zal7MBV48tEPOXCRICOHSMxOeMdUyzxczucHTEFLbssKpI+dd8TmBRLI9sZxM9LJ4w9w/5WivUnQlVL3IdARVvksLS++tejlt6x72NjMfKtypxBSRg3GJnejHM+bBJFlMl7vwzDgpWCHF/+p3n9HgR2SoXo9hO5lGDdF5DYpWPEV1ENE+wxnixznwDK6hO9RQe8zE6D3Kf7d/3zndK2mSgfBr/S3t3peQygX58cl49Mf9ck9C8If84knj0IiIl4P2CAk031/Qw8dlv83/UnP3IvY+J6iZJZ5L/MU38fVRH3tbc+KAu7xxpSCAbmDuCywlgSxo1Icby8K2ZjSMDVV9YpqjNMzW/1B5akVktrYUheMO2sbsPHf/jsoo5V8Q7pBSpq0aDJ0jMfDm0n1nxb/nwW6Q7LQdzEXUyLxBtIKsFrXA//UoEtVuy4JANmfIWWH9M6Z+GzGJ1+vwAXqkNyVrv71KO3cvMQ7U2/x92Z4je9DFgrnFT8zjTNFragN5qGtwT2bJbuQ0Y1oYtpa9U7QcY4MuxjOKSjqZBHiah+6o7oiDeMGYbKy+UHelA7yrrl/jGwJkR42R5rPHDgLz/E+Xmadshegt239uLgGlZ/jsd1FD4VMfOlW4cg55RxWpIJeUdauIY5jy1nM1rOxp2SazvpxQKFgd+DmkaTiebte47CDnPFuEw0vFEHxdnZd4Q0TsfP4cC7ZOweBXlEm/1mp6SotWpqvonU+MV7t/t07VPNPLzud/4owoGJTEUvJxUfQ7eFoKfZAWu7jgurZ8PVIiXYaf/PUVNgWlkHkJt/6wIcJfSK3LVLJ7wazxeDaVObZktLMqSa6sWZ0+PBGDrlK88abfDOELq6zbBXmmAqrGzi7fq54AK6glqPDO7ChZTG45ofDaqIzHvb8fQgfNMBp5Ke9jbP4qepe14t6CLLSqRnwsxHkJyQeWv5h6wxJod04gMzBXefZFII0HglBFdvP5CHTThGIXKlNsEQ7Bm7tT6UkmdgDIsIVfVcwy04pMOtCle2910Eg8VsjBBZr7Cn2k7D4w8ZErdlQWE8Z5gq0b2M0NgLD53CFtSdhsbuXLkQLUhRTqRvDam3NWVcKr8xIC3vMun4oAl84D6NLC0F2uI3VTL3lgQnwQPGupCcHnF1nWSMeIU0yd/s/VhNNguZ3kfjentOxnNgWY5f9YNp44ou1ahZ3efubMIi5AQR9fkyOgTLxSwGTTVkYATC/p5lfY7JGOtfqdc9VtetsBwI0hpKjbYXeai5Z+/z5xX8L+Z34/3LIQepuDmLzyg6JZMET0jmggdJZtLiLGNJcAAMD4MZtP32zdawVCFJ2Uu+mWGwEk7BnuexBXBfnsXv97svpErmqdfXF958z1DbOhZ+zJzkfvSNTV+zfpjpeejkgBGZz3Gbi4T9HBcUdeRGLLpWs+UNHf7aapYipZJaJIQ1ZpMEoAzYNGpp3ZSZiLgCVH7K6RI//TvwnesP8IauCAYpOIB0tDUQS2Gq8wOCzlRNpp87H7Tk7c8XfeSfkq4+WNHaPj+ua7UbPxMQUgYmqjSminZC0QI7O2TYuooO8FuBgraNF0yEYmv/Wi3CAOEs2TkxEy1+LvSG0RMp1rL+sjr7SU/e+uHjEa1gFIDI6w1G1KOGq8DCVQU01bYB9cZ9ogO4weyuovze/oeIHGB6XFvM3hnsmbf2czxSWhx6ggQtTGDWfuhg92URj0SNfV2H94Q9x+uPREnLsH+9DhjS048SerH1tW1TrEH1BQOtPsstYr1qsSQqjJYIl5bwYL/dQydDGnuEuPvMIDAeo24RX1p4+REm9o1n9/3rSXnxaPGavRdA4sWi3zJarlQGUGfU88gfVSwNu86xe2pAgpSJ3awDOlZR6XXXPYOdD59Hwn+pSybAWg+Ll6PSO/0Ak4NmIquGulnSStKt+Q5FbjhN4JxEX/HJJG4LrsSdYFBQ82u+Fx3qKnaNGpwF/CeE/9qOC6EVz0skbTER0weFOS56RpxKuk0R3H8pJgUFb824Cx01Bu2hLszJgHm4G86m2stp3OzNTOmcv24L9zIm6ylH0UmaZ+7EOCYnrqPh8HADYroYWn01TyB/IdSyslbwgXaZ4JLSduMkZ6OcUaYLSt6T0T1/xEG5N+zlU0PB7eo/MbSzyHgMUWqbfbZsPM/84McPFgPgWRa1VPPjWWQCfN35AXFhGvxyxb1fH5yGg2Et56wFvu5m9P17D6gs2szr6+aBHZ3PbgzcqYYvFJ59E8XEvzFk3BMoHDLBCXO1ZFhW6s/j7PlO1/vEVDfjHvEg64rfl4nYZhz5ycPXXOW+gv4P2K+Xbk4S/jHXI75zzSvJLUzVJI8sJXx/JYJfwCu1aSuCSGA43togFMHATUBSr7us1J5qPEYmfPQuO13LRKMDpY7r0hMyFpqCLj/BThvIud/481G0QuN8zv3bc/Sw3WtVIwRjQrTfZwNcdAiF9JQi4IL0LWxDTm/Q/WkE6R80TkRX9ctochC4VM0UGZ/Dfvd4sWaM7e07mUALvOWv51vSIw4LvvyJr0oFMrJH7IeNZi/VFf/Bu9GxQj5WM53CyPMqDeluTK3/aaqeOolCa1IuZdc8SZL32qHiUEWh47B0lZWlbZJP3GWKJl4svgpHXXDU8kpikG6rz+mnt+BhTJH4tPF4CIJoNVTXiuNMQeI6ZH4fbgt4pnjxWeSalLUBwyvYg3pc/gw8OymipkzTj3ro3/Qm3IdvJDJnrtDgUHejV1FpLekxappPRo3PKl+q0AMvdUFX0ql2nlxCcMPgzh3G4WT0Op1+RSD9CUcChElAzu5FrLf51AmvNvXy5KfQnqCtCsv1/HHUusFwUdtcZf/O74v5OUuClhAsxXwrD1QH2WK26Ee1QB9mqHow3I1u71B0OH/fTEuC3+Wym05NHjLkEEaewRQZBjct3akIg2pfec5k4vW0dfzkV13eXmv6XD/oBUvRuSF7c/oX909v9kOASXTPDxZjNPewDPwbukafoSw338BsZZwvhTkX+z1lG/lIeyR9JxotYDf/dacgCNf9b+pyCigfAHf55FvYzXgrtX/0Mu1sz5jpUwiOYWt3mLdZ2EOT5Yx96HLH4e912WBmwK/aYTzCAC510qhvXZx20E7Nb1FSz4Af2vsWIqlydTFiyhKnrcOY/E7VD/HbwPyG0hDfbbKMPf42pbRaIYLZ8WJN9+RyGGPgkYjndfdHH/0g+7qKjbKh6QlaaGuY0nR7YHA0WANCMilVp18ZGLvD6VMCuYahLP9X9z9ynXlEFzGcgxsC6ecbTxQeWKiw1bwaEHv6ayifBHtGoveja3rogtAih0FoZuDoifuPq2gOmk9LP9McfasqIyTd1pOTFZhW4zapcLzr11zzBCtUcDIG8BeTAGDU8GVRqi4zpP+BKxvloVE79O4CyvBUiq3uHVxkyV0U9Ie/L9IK0p6xQ4Rpp1af+S8smHhV0b6KX1nWBu05s4CerIO85LxmHURFN0LhFQgrU4PKkPla9zr7JIHYKwllYshQkvI5jKLWHCzgk8WCjVdxESmXEjhtpgyrnfexUn9O/v4C6BA+bSSKwUGPUcX/xpbOCUOm+CrjsTuT0FFZlxqMdxe/U+cOH6IdeiCnIRuJmvmgy+nnZC3g6p1YrDv7BBYPp9wtHJ/B2OPTy8MrrGJPhypbfGYcnEjw3CULDARMPFvNzAMm3PWD9B5IP5mtgARFuQbJ9iSjRMDAj8GWwSXMlXaUYK0lsNd+ceXQR8tP3D+v09AU9b8CG/uyBJk7DDKuGNxiEBJSpIyCZ2RSy8IqDyUTz5PhSzun8gORE1GX0/f28ICqCGQJ3jwdTqIitKiviiKkbwbXxudQd6h2VNpXVC469SbD0XK1uIb9kY35C3zsdE9EPSQzXDGwR9PWU5Be50FQgHmXzQhkVAcBTGjCMau/Eh4wO1VdwqahQ7zb8rI1VVxr7fbWL7JMsf4B1QctJoecQyetUM5ckziJTzPSaMMr9PFQBago4nrQRPZDFbCkW6dJS8row0ncRfTw1mPg7ZflXlvkU/VavGRVNejRlPv0lf2aAO7U/McewG8EF5jO9oLLl575K7shC7r0R7HfmC7sk86LLT0sgGeH4xFJtbq5CzVMuzcGWwA+F4BzvIgkvzMWmuRunXOgesrcLi4oJDFDkMbBl6giWRNGLYCwB7ThDSxN+Ngp41oVv3Mk2yoddVH1hiRccuHmfUcGCAt3GmosjCoynSWPYoA8tDLdC3TeF4VyKjiTfSR0svD9GrqP4uCtd93PquXDoaPFwo4fnln+EtO7I87BXx6BH1O3PJCg1aLXjIs+KXUC4cEQ2NqgwGJqin+Qpzsd4MobT11MDOArYymbCnj7+ke2toQRs7cBtBw+rOeHvqakqD/Vqja4c25jGFXY/OR6mU7Nc2FNSsl0CRdcTEwuupN2oz3GLBtaH+UElcPFSVafCA4I3F/B1AvnewKG643lGrWUNkRQHoOg58fduzEEpNHqUCeQvTZo3IWYo3/FyGvZzoaEztHH6ggpFVDmj2IJR160UczOIS7FnFoKeSXnvheKv06pHIUKO0HTqOsI4AhJwKMhN9K4tN90BoXDn7XpN/okhglvHXtVrpw5ycMFIWUkUH3DBmQTURxZADXpAe34j81j6Plw/0UVSosv26UbVOW3CODT3w6I2hKeS5vgjDnM9VhGk4Z6M0wqfXT2+PMEHUTGK3MqLkL6L9YFN7wLB76Rh9+J/DlNCokemFhEOPc7BH4brPQ3EVUK+35S25pRmaBM8GY0O0cOuSJgE0oT818FbkOS6mqplg20/rRwOR8G2xv3PTSAOYdRcB7zbtDpbZNS6B32SBZemHFmlC9qzRE//zVRBxLBqdpfTGW5fmKY/XBQmAyO1cmSURmFxcY7171Vc15ik92JB633tgxT5wkw7uyLslfHIrKA3HwT51uFluVgYmaUzo9ar/DGUXVoZ92Qkc//aXxGZMaChepuB4Utc5Bp2F8dS6z52G7vZcMr+ovZn8MA0WLYneueXzOuvJsTyxYlOLOcvKSt+wRZbZhASS9VplzChhRzb+bsG7bagk3xzHEk+xWYo+Tiu97vag2kqeKyb0PotnzrNh3JAaCkKd7BAAkjCqSAeUfwhetI8eaDKUgOpqo10LcdM2dWCC7TkYkIyH7f9Yz0X+jwAZk42dTDK/KnHL7ZU6RazGqpGlw+NCmraKG5uqJyJ8P4vuVk1c3OlxZGVFS539OdtxrzPR3ZYVP5Upo92s84DtEGKsdtaSPZZs9SyDkOf9qERtdtQfmqRm6lCZCE1I5q11w2OHisF1TkdXL165ZF7Y2KfZY1IlR+k5G86xdDVjOa9wTL1TIOsk0ehcHctwRWeeO6m3Bo7bc3H4wm3WJL4s3uYRrL9369ydgvcM2gseHZpayYE54lAeK7Uin8nVzwrZX4n4TShsyBXeDmr+udqEVbHSA1YjvIkdDrx3YQ4fjglbdxr+cbiA0sTRg4o8TJERoOvLPWjsXjjPsrDjFe2kLQrsJCMG/Q7OAeZmkFy4axfl57xNuGYLqtmTTHGYxGR7zGD4l3TiXemJgGcMn2WGlLX3myoP6SYlVh1bTWDaFqrBW9gqDI5ay7yf7Y+H3M6ygpbBhAnro5x//fmSnVtM0Zf/RsbdvQ4U/Ryi2TNNhTjlsrjPv8R3RY21/f7c/lbnpEjA5KQxoR2L/JngWR74F0jrxbfjfPc+EWjIkL/s06awly9kO61spnxP53oFRMjF26ZwEXPIEmthKZgXlaZXMVL4NpYoRulWgwgKUUkA6pjudNbqNu2GQBxhQFAkeUtT/I/eIgmExtiD4qJ3jm9zXTY0fdpB8W8y6qFkRVmylaLwA5ydjwcmi13dW1l44nzficK0bSBrrIpJz9LdzdkRiQAQE0BvqOin7aBrGMAN9U3QitkTFOFvMm+U1SwtwEszRz6Yt8z/jDX/PnLtsv3hPr54RE7rOzXELOf2Mjl2RQwRCLzx/C3kEi60btIIxM7VANwui9qsNsH9zybsUgyPe7PQ3KqQixNdc7ODTd6uJxjQ00egCn3XVjGXvwWCx/A2YQZV5IQ33ZTdSEf4ziSK6WHVepCPc449LkNbe/pHXgJrgvnwXcW8tFHEjvCwu0RtvD8EtUosrEyWAVzKEdtPdUZ9wDQC2yGclftBZCnOtPz9OvcYKzaBIbzl7wXkweEp76jgQZFVUy0ZDzSfam5wKaUdqNqKN/Av5kGJGR3Cqbb9Zqehl2FENGZhU0U2wgyKvV4/0LGNGWHXJRIa4eEeqEsWuuQLCeIm8v7innfAxt41e8WeaaSFEY9B+JZH0/FNI90LxcEtrQ+74+Gz5mcQG+x3OtqRpFx23pW+62PlDqEmkOLq4JINAbwCbACidWbtPIcqnHegUeiClX+HGsTv6lyL0dwpl9ah88IMRHffXpt1CmETavurbdUPf0FFmoWNzkhJBbhF8YzKyC0+t7jJhRyvvpyhTB1m01lgKy5wrhGzXmJyc8QSdi7DU1QhZwQDcymX6exswVt9b8Brw9Z5wjiZ51b5xHFvIazb8SSpT2NYJR7EHRs5pMEG0b84NsEK+r3lrTnjlFg2UOQmnwaXcnTRiJHlP54NbKPsC5BUwuyjtDRPaJG+zYYuyZTBG7FwiwK3lG/7yk+ZH11I7k0Z6cE92onEq4PGta/lBj5YznD+4D/dzMcl8v4fJZMOPpNPRyx85dWcCdCCA2Zy9n8nJu+TTRWbzUjCbCJf6yrzXIDu9iU5LbyWeHK89iqyM9kIZ6DQeoKI6uhrHHLnWrGSdGeMKx0m++FxpwMtRn0tomiljjDl58577SN5Q30ZWBG9M+poi2qfDxiv3Eddoqq3wQCtw5lyPqpmIz4SzTMBBWe//ctrZdJXtUtnNYZ47Qw/aBYjh3cBbp1fM11G2Vbe3U8QyyhR0ZkRs8xE1+2nIZDn5px1BwokepLpEXoaIy7G2DhrkgF18G9YiwdXqolUTyfHaSeJKasVC1Z+/thETMkg2BKgC+VSm5WvryOwoVdIFb4eGUmwBjKglTtfbHYvlWbRRgx3i/bkJSKrqI1luYh5n6ikuPLDLFtQe3FvUNgbMPLTBnBykjgkdxTGGGQnjRDnCI5yleslectAID2/NexFLsVO5JH3y+kV/T+eWuEHiGveFscL6/iDrgQwmhxtbflB/vB+5YkFthPSSaqpH28E9twF4qd7bMe6x42gPkx9jYBTF+wICMxjn+bYp0plHn38FG4i9qK7Dd2DRkj6AmuxvqXWrknXfFOnF+8bKfpUxfxRUiJfl0cgMO828xK4nc6sR/SSoILDvN5qym72lYtbziOVZsXfSZjWitICMcQf5OyHXDc18aja6H7664/JwU8kDYLS0yym88gJwUyPUwmGM96n624LYYhQG/fqQHGjdkPMoZAWjNuVYcfpqy8W5IFL0odCP3dGFJgFIiHMAObXW3TnevR3bYJrjtKZBG6PoiLCedd84IukIwX+/Kgwd4HXSLwvDC29/UZT9WlWQNrexauvgaGHjboq2LyTYeaLR4iRgAgXXk+xNo7j4CoTZjqRgMALE/gt56LYv2w3jHVXi28d4C0mG2Kc/Lc6YgIAHCFH8hJ/ldbCkY0xdMqC8J4RallI5JOnNE7BVjdWQ1w0QLU2sIs8aED2Dfiw+TlqBPTeOBKgQuRhuGWhQFWdFSXnlqWO8Gmwxa0/6eAznuWtGOWH7v4QPtFa2U6SujG3x/nJFeJTQUmZwbsXhxtDGU7dgAEHWQfuJ11jnX0k6EEiTcglk1+pEMR8XOPg1wYDU0+WC7kyXwl1nMUJ5qZjkKn25XnIH2edcH7A4WmM6ZSk+21ynUiqkl/8Kg2U/R06PpohIV81zvSO4DmS1X9lSkYdsEinLTiNeDWSDJveEfvfIKfO1lORqe1dc6oxOM5SkghnIKVsM3ftHaQftthHQkwOUFOX36jd9L2gNLrN/7z0D4LZkdNvZI9tY4rpIsu42M/n/IndhLWzBIljrCnCutJLwvAFl8vr2HBMP28N2uKQo7MCPZh6L4RjAbAGXvkU+7XqUE3wW3I5iKDcGgcI/bDXVBG+OtQPjPoaaE+2vv/tYV2pb7FKEwuv5Aj2LioNMOvstOC9tMNtjOLJn6RpGCCgC1v+r7jU9IU3QFLBj1JSCKee4h9vgI1g+aUWs317+ErKK4DWSpGwdK68aayb9pKoPenlDoVgvzGQwusuxzYI7YQLvtTa4AOtOu0wYQpY9vs30YFuhCaYOXhdXU2rcPz1MBEEvSvTIWUV9D06c4UtKLOVIwyWT0dFJl1iz3w6SSFtWi38QGXZ8/CdwkZ6x+4Ybvl3ums/RCMaG6zEc1HMEQGqos+JHDJmeaGyWXNl4UImVzN0U3F4ys28F9nozGoUkPzqiH+KeywIcst1QMy7HzkthYNWVpB2vBKGzYg1t2OAFsXNrvzxuSkgbf3v177O+OPRUziAikHkilYJIrzd9l4omd/6tDCBTgFbrjRtRmS7BdAiRcTRpO82Vr6p4r8g9W7j5Yn/ReD9CJrVqRFbmTCu1Q1KRdoyEDjMX04/4CbQmIB8UEIx6BzUstXep+lpkKAu7/2n6IYQvsS3hwKJnAz/V57wfrU2jSrifZbCC/Zmmb2n3zIsgAs5aSfR6C/RlrPiQ2BZ2cgBwmoBoOPw0PadBszDl4yILei9nHZ0X0HYAOhQ5OTFmYK4cAt2IiB17saldvh0EoduSh4Gbrsq5l8XGuAt0aw8P2uIJy0CuCdmy4+EtnL8SKHRE+MUh0zM17j/QjBo+X9DkyYb9Y3gHfyfFy+ELHz4GuCG2uoNVfoMDPiXNn2j6YVHS87Cf52mirhCYuk5I2v1jp0gs4GKyBOfVMQo1lqQmk5oCG9Y/q5bQqs2+vD2GE7qmTO5rdhF38NY+4fNXZgn0B2JqzE2c+vsBlVlvxg74iNiZLZl2EermK8TlBYoMf/dPQOh19ksBkFBjd+Oxchej6LxilbLaxXgRpgIM1i2D4acTQFTf2cqeUqCFskgRHYN3gfJ21zujZbBUq3AE6CQeCU0BhO/xoe9h/ggFvUBQi0UPlC/P/ou/M4kIAuzlKFFk5cJRTZofELSwUQ0xJH2HxrVCANejTJrOKpw7KTH5aJ2M+8H7f6ZG5QKKZVexwKUkBieyoSLYbRzHFa5ATm6lJY+kP6Pw2ttwMccQBiSKDI3EW+GsZCZ4CUUY+milLVEv5B9mgsq+u4e38SiTrJ/I1XKC4J7fIg/jks/Ws6YsoTxvcv4jYCiciNN4x3UwoPlseYlImQ6OqotAsleTu8PygZp9oi3OjsXPWB5+x0akR2qPxeJ1+aeafj6JhSkmbq8VnQK3KQ7UVMT2jCdxzoEag1+qYKgwGq/Wcci7alpGW3EOEMs+bvN5iX1B82dNfkRm4/zWrv3Grsu7j4o6Wmh0QKmAE4G/ODgoH/YVNoU8bs+mK6foGq4cetzmLIDyzcaKMN/g65i1PCqDaqyVTF0FI83+AvdFE2M3sJEXxQCf/V9fA6uC3o+BJvbMVUErxUSKU9pTqMWjt34/BATnwm805qjo5FQXbAiFX2p5wOYdrZX6flFvbcqZ+VaxupkRcttVzp2LfO9DsI2h6PE4KNJyYtmAWGspE5MUXoFWHTUy1pv8hcq3pA2NFKve885/9WrJLl9ExuhsUX6W+HtkaLhVDAqZtDt1sIBtA/wEQTbJ63vXE/BrSgYqmOua2aL1cm4hXy3lqFU66AA/w8HSjzCbkuNcKraQ+T0cKt1FWouvb6awNHdVXEQGfoWOzFmmA/5H+rcmmymv1HnfWPi2X1Hm0Y3N1YkyGLc+KmV61/bUClpGqxd+RaxHmQqYv1lAJtno2igJ/YbDRK8RKELbF4L7Jp6BAV73RzEMRy1nmFKPnlDkyhreFPqL4vK5SVtI/JWptsphqFWWSX95HFjhcc+pEOUeMWMwh3ayoJgiEZ2ng2EkBxiorp5mZ8146HQxeBQtxjAwiY6EO4IEMuDENrvmDYfd9TvBAiOH2RvIu4hefMNolGGQl3JX2JnUx5QzfG7HehCfBsxB9DIKIjo9eeTbuwuu9c4fKaGpk+snEEl1iy3RtTp2NAR5aMa4p/fvyWaOV7dhURpAuyeYTmypR7g4XEYW9bF7qnFrigCEMsTUnGtmWoeq8xKt8yy8/d0rMn6E1D+FkcZdmyM+M9aUUau+eWrTqSS3NC75O0Gp2tR4rb5oqf7Xm7u37/ckZ3nbwtgEfGJAkDTsk1/PqIgLUcTchEJdLl2bUnkQPsAjPrPHKoRn03bIh4kBUXgDSQNv0xDnHU9wtw7mkwYpIh6k6mzIKjzs8u2xObrPpwbDS+ouOSDhELKkdvK5OrLKx9alwTqzQM+CmRCKdXOp0y2XLhu/KCpBCSRXLWanyvZet8iOB8J3Pl9nC1QEaekPyjflv4CtMdfodod9kxoJIrDQmm24sJ4L5D1HDDwyTwNi/kRrABlNYsnpOXdt0n2nRrrKb7/NlcJMuiyv5WKZBW6IIDTb9OoHSuuzmhNMCyIAKN7eJb1qwwBe+QtyUmkHxFtmjSJmm721rZkrD60ANLS6BK0F5XwlE0IoikzU3df10YUu+lY3IPrBltQoLHJTOpsKw3SySQha4q+HNOlUAfcCs1T5cOeVryVvzJw4dp6GDhBWKD5NNlDV+fmrkSCiINRybLQ4/iKRwfnLeE3MZbGcR6stTSgLFl4AVCx7q/7WAGn9IE2gcP+3Z7fl1RLbNQfJ+sBN7bK3IwbdO7Kvquz5x+WFUQmMSjS9sTnP9Ym7Mj9HwjAJn1eHskFFvxoxPHOCU7bqkyC8zqO5DP8+OzKaz0kqXMJh1bxzKu1vZZt3p5QmKnsPsN30zxG6BoBbJCKJ1xN0dtyGPrSORDo5aaKEB1oo6IOitQwFfQm+lO/Wmyh+B8e/9UGHVOavYVHHr5G1hczW493z3600kZLata/dKFe91BjOM+E8tW+sfK4U8dXK4rjdXNveqd3n5o3ObhS5+k2jVd8ABpPPjMCQ1b5VHTwoq2d46shniIQmU+d/5eJToIbfXlVGvZYH2opNtcca/epTLErMBNi8wY/SuHEJCsIw5S6Lxpj2wAwkZD1SvY1607lDjSsRIzqaXj1vmp3TSPCrkneAGnEoohOkup78sGLn4eHeANtItWcMrKLOgHfajM6jmMalDe5qC0nM7VK0Ptt3skOWnin2o+Sgrys6Gv6TLv2Yw6SWm9MaJzw2NBVGCM8vpn6APEFW/dGlIf7TiTtCzdivhm5bB64y78447Ihc++yemsSpntpQgiiskvzEU/FeSeL0sVL5D0y5PnXFlSrwQtvuwMhnXQgw7pxMWzHAkHETxshMfdzARhY2FUqx9sP+efdaTPW1IkgKydEFsZCVo5GUT5+fF3m8NjlWZN9NLzd/vxtvYQtmwx0ovTZHAEMfJWXXfYzBJWW6G92SG2FDDfoNqvqdCDuiQURFOcxkg2p2yYGEYQXQ+ox5zL6a+gs2OdROtdk3yCVl3tUQLBszGwiBUfI4bMUjzv0KUxEnKlBJPo4eDOVjECM0NkFMKi5wI8ctqYmVirwaMm0Zl2q6eclVbQZst8NsZcqRuwO1yvw++dkrIQq9E9Ie1BYod3YsF6hZosXt9hGXuQxsiqN3r8A19/dddhTPhwGn/Nnjk2k9vK6ShKI5wq4lSQ1zd8WKGvJeJHL3ZKYG7V3kA7OCFRVzQIDmse8qUOGfEdBVfeNeniR/sOievcP486nuQtmOMCyZ4gm6DZ8HZITfCyAI15DBjW0Mc9HTsnNMq6nw3ei/9Ih1U9CVLGXmdxkslwWt2m5+0S+r1vReZAywRfSZXAoB0usoOhGZqhCt/j7oHklCZR9G3mF484O/Gdqs21VWsDhcshefrO9BPf5vM1ZGBFoXSJuO/+txfknvA+zO2jswtmqlKIFUGt7oKNSNHik0dCrJmB/atd/q2RIsLSKGnen3yVA6/CH2RPU5FcFY8A83NPDymz1/2Sqmktqt+SI7ZoTdrlwwyD4BsptfZ9z/0VGdHtkaRrnsolmCzV8hWrLHC3X1nuBs5EiOnfblHpK02teB0kiphJ9LR3msvegWd1x3hnEq0rq5u7BWAlU4p7ZcYrRSNC5vS5ZXrJg2W3wmidWoWfv8nSfGYsWat4An3lMvUeCbI6s2FLpoZdxEG1vUQ5Zskrn2rYl99UU58SC8BiUpPYj7bIdWqnmUul7/fHXVKR3uwe5yO/4xvxH5q1FI9rcOpEMAJBm+Ct/44aVLEEO+vveT410yMb3Sf4p5lks1CZSy1A6OFhG52Yqhkjc8UMZLRCYpD4Bq50nxzqnCkXUsfsNk7KDJqjg/7egl/6lKC51QV9IlyOpsdC0X4BNQGis0u73ClUXwnDmYs9q41pGUF93IIei/r33SOKnzA+8YfDA9s9wD8AN+WzxuiNmNbq0IUx1+HOe9YxE0IRStK1JIBLp/h4t2XcGvlfuNAxZKBBMh0vqx2OkswwTn9Y2cKevYtnSjoZy2sDDdcm6gBAiA137aahedS353aqTEyhjslAh6wi8aBGJx5uBbLNOsrkqIoanz1Vn+y87pPNN3wvArnnf/2XVWSLaEvgDiwAFCYZtejD1ewlxWG8RqXqozot4bJvRRUvlfWW0GbElQfqngDkL2SWg7N8NoSSv8zmaer4ZeUHUpQKBCYK9s89g6a4XUVpJBUBVAYHjiUFr45CkVvm80G9UIGHHz03RiudMGsBc2AD7I5AU2gEhZTgSA9cTGQWHh9kmm2d0slxfim+rIU1LbkRGTHi899LcN2C5b4NHub8cA1MChBrwKnTIgHR0TKv42MDGynoBanb9xQfKIGKNYqi2DoDzXsR9a1Eucg5yIjERG6hZUEK8VmjiGV74ski3wxpAzccomAPipATlV8QVfT7QrG7kLH2aE98nS8fxFepcVMNjkUQXdELh8hFWX8VNI7DzHC3DacmjMq9kIQYftvQuFFcFjTB9CqtGxKrZn+byGiIXctYxRIMFmc9AiptgrCEq2jZg6mvd8nYX86YDV3gA83Y2Y0JqKDgOafnmj86oE0hknWxZZSXe1BmqPbLSX3etuBLSHjCzPBHIe33YtOQ36X/MzaUz0fdGD2QGPBil6oAI1r+iD0pQ1N5Rp6QEJyD4+bvffuKiTs0ghYhGIVHq0jkakP1wPNYXqQILarX95CkgZMBf7XA7s4D+lp3vF7dODki87jUNg8xouJnwuSvpfYD2IdvRIXhJRtlsmsNxUKouq9+LnFKxy12c2uxWmnlckST6l4lN7ITh5xYRIRlDWjQrwaiT8MxHJYtD04pAa1fnuwDhWSX2Nz2gSCuYrtuXTyGTDPFdx3q7RM47v2C8/0+YMvzRotfwLUT2SbTSczInuO8kdmfasUslEgAnRS5q4LMVEuI6uOrHdx2WhWif+tUzocC7PVkEmRuv/ozdSrfNRYNFDmUo5/l/y87V3S50df3NewZDswg6JV3c5evaS9zYKwLuZR8nqlO3zkHTIcsKcoFsgzTsCoOwoXhjnqRzY6qe3NXjthLptw7/KNgyfpjhEgVyeGLKIchAero5wECp4Kj28qnzaOkTV/cQWcCiY9o0nsFmkrYEhn+ldLdU51UK/FupWg2FHoSnNm5maU0Y3PyRe4C5JcrcJJvaI0PRPZnEcM0Vg2yUC3vtD741qhVzRX016x7OIL6Itrw5HyzPJKq1zlE7UTqaBVtL0e3jFU29i/p64Qd40fU5PhxsSu+qtYb2K6xk2btBdbRL258j9xbG5Icr3iEcq+yGMa68JtZY33Gc5E3ql77GjTsJKQ9QTFjHlBDey720kbtDhYXvC3UwXsLZkPeFDliS4de8fQ2UncB1A07XV48tlQRC/iDPD/idMR9JJF2hzO3PPezlOl2SP34vw6xSvqGZJU2H5JXvmIBDAWf7z2u1IS2tcYsi0duEXqjVy2xoiGoj5kZZjf+TcHxqnPlJ9BLQpP4A1h04A6M7FlbE1tMP4oWxda7hyH+0CfZUW9zyQ4IS/004FxCeUBcJQsXMDN7run445KZwCCOv+RHecjIF/TLUDPRiXeolnoPhW8nYtoyigIM3hdj1YEecxaDR8yYVXtITGjtvzRw1EcdrP1ktRwmOXt4u3gwchPJVs7WosurIZESd1R9K/sTHm9jikY+kzr4kKZuUB90qqkLTz+g3nhO5HPmtLkcU0+VmE+2ND/BoDX+8wKIPYFnMvRnY8Fenz3pzU1uJS2Eu9WPQaBunVXXFYN848MqmaRJBGwguSyuAV/y2EGSqyW2zGjRX2Xeir7JW+k4YKnWvxrO48GJeMPwfEKuUSq0NBoOe1OEfGAi5BSoYf1zf20A3r1PYxfNoxY18Tlins9ISj/CiMh2o0B6q7RENeL4s4rnrtEI+oz6XFnCAmQxwe8oVwNJAMAndQ/mWzTJWhq0DOoNnSUltue3IODzY3y/dLzup4e+3z9yw8TutxSiOKteImJBx7xd8ru5cTlLPTa18t+hbqwS0JyeVz+tdAfh2GThRAcsCmesdZwjlS5pq5omCFMD51ZDm8B4EE8LUhx3NpBx4qs4olBDwj0KdPYfKXvWeCc2gAJv+xpAGBsUCfaxf3TwyitPzSj6pQK4eFvTb7ToEqt1PPibLLQ8W/7OBKxqYYLpzc6MxbIYmtxM4DDhQanxDLGhUl3gHgJ6XptaXp4HAdfBVrOrvp5Ja/CG+7tCCy20q7xipqbsPCY6w8cDVwwtqvPxS0pwf04BUTTCw0+WMWFB/gH9t/FJPSPTQyNQmkRdKUAKdMHfbB0qGEhnpfy4NCDnLDutgAPA9cMAboLYOzNPmWeXbjP6sxaIom+Jv1+FADgCmVQbF/tcGD8NiPWt/gAnHTstpQ8uaEuUoC7YizIYate2WkHbfP0uX+LOSWLc+jwYpqg5kcq6RurBo51DW1xMi3o7S1TzFNF28IGJJl2ypGBu/UPyqkEmoVyKebcjwqx0Zms2dFKhegP+MUWfBlolevr8Qf6Xrzj4AlpFJJU9W5rOJeaDKM114Yyc4pprhJK46Ap9HYBNlDSeIzseDQaZGSPWqQZREYkROrauB6MMWAOmmGubI7BIdNImbFsoVjOLo+rfOsOokXbJxz/xu1R9ly8f7n2B1ASd5WeyoyQzAuPaake8oat7Waw1n1gdnJf5ELHpfKRePuCSuCSNOtR9ZJY9RIo4YU6zfEqhS+eUHk/jU42VKhnZbIDo1Qm1lhwb0XVRPiCf4+UtbuqhEcYk7Z5wLwe0i+cxOKs3j9oZEp4brIdhFe613bTXip1EYUG8Ib7KjAZqBxBOR2BE3019R9fwyjiku1EB7QyKfVfEliVY2fEPvHXXglURTkhbwcYzWtYcm5qZvic32BXe2KAUOJbZnU5LOP2Pm4iMRf76HdIuoL98/gcSmZtORXAousc2PNXtfdB8Orn36ep6/LNUgxvPlDYcpg/bM8KUODzCnLPnPMD3OC/gFGErmBdZut5FIAewtBISfZA/5wlbNYZxpHQli/Nvg5LpJb0XHP7yKF47+St6lUW/SYvVCXeXWFylPMVMghWymZuw8fxq/UTx0ELvlfII77BhCO2QJ2CE/e6c3YR8+cdP79rrg5CEY72o/8gSAt+JXl6+CqFUmiXF+nBXO+ImgUOpg0INY0dmkNL7Ml6YikpRJKMsLS5OoeKTMwCKauyeMAiy5HGbQnY9U05c8GkBsoM11N8GsWbi7pFadrhn86Jgp/LwfGQjy0SYM4Ut4ARU9EUaHRzYiXIHFUSNyPshv4zYgIm4tgIWe74WgRNS8j2T1YUeGyyUeNjgkui1ANxgvlFOctpiN3C8Ej5HbaiZpNOjMMZpDr1Ri+l7hWc8Sv9LIws2iq3sMLnAFjfRxbmcgW/28kHjKDwDZ4pQFZn7DmAXFR4Ewk/HUx83ReUlJD+Ce7GACovG0JEG1VCP+T7uncBQCAxWCJT3cj9TdlmR9Qjekvv+GYFc8uPGFA/Geq9WarjOqIPmQv17XQI4ji/jRTick1waHL2fleSnDIIN1OWmhVEsGM77VNqsET9FJypXb75LJrCOgwNOE3aG/9ZZjwITj0a4WQr3gwSjiADwcI/koE5BMTJwA4/OsGPOTUrK1DlRgUPSE52Skw4xggOh7F0TmwWDm572CRTVx4qZUsstqaOG0dDQ30QGb/8loKgb0iX1gbFYqAK80SXJL94mZT/P3IqLd5us8eYOz20cJYhVtrD93q06Y5JgfxV4ZUeFNnoKz5VKAoPvPjDqGFYxj2aifVkihGkVXxwY+Nm9bxSv4e+ii25Wub7KASCMqM3h2Kx0pNY04C/d7Ye6jQkTmR1U+R9u2eY1jjqKE4BQJQewwEcekMaGv5dsDzNYw3HLu/2vao3s1fqtKKuIO+ZpSN5S01gVn4JN+LvtIuSqeDKy+iLf6GAluCZkxONUT9vK26RUBjfMkHiml99cFBf2EhKwpFmrd53Nb6KPzqQfY8BKneZdwFAeEfKEMoSKQQIwJoTIbbbcnUXSXNhvZrcAUbFLqiDQ/r2juH91cvhR/hqX35MqECVCm6rQtO95B4S6H/eoUY51vjT86fQLyH7mc5+aKX2rbT7rKokrlsWZCzeXrbeAzRvmTqX/kh2UU25xC7rGXf2HfRv4iYOKOFO6BvzCMg3pbUwYFkApMYDfweAOZNYF1g4HkpaMKRNdPSTJMhH75p0pI0IPSdUjLNlNRSfqdV8y3Y2feCjwJh3JRojH52xhF0m+FW3ZT4DdIeDo+1NNKiMHjmSr36nDhhonPMduIAAj3sxMNwzqvGSSdcXEDCkUGPhrk1xSsl3QWpIhyS0OYcK51ubza00CJ7LiXWVBIAFjJrtbKUu+Vkef64qyTNycnlR46vyz63sYcCS8ViFAQVi0VycO4glM1TKyvOQG+frvPJRbPT/g5eJiMfGOa9OBMXYsLThYl1alU9xRVZzmst8yRCrZEY6/XqLufrCVopAm9tSOweOwG8prmYNwnDcPI0Fb2T04fX6vkLHbN+Bkw6KeYySCRuHKhug0RmntmRyxrOnILlh+qnKPHNEXTRkjhN79PRp4W+S4ar0XYswBsLrcxp4nlH4vuXVl1YTwoSTwJoeE+qgKm/v7iPyBPoUsh+Ps5+2mMlQfXgBJILd0//tcYWWnhgEt40+4VSa+k37vnMI0chH4U1tK92s1prQjK6l6lkafrEPqvPZPaJaVDIeoPyL62J2gs/LIA2fnt6uW+qlxZhDTcVAckVZ2O6uUMwSVmqGj//6Pka21b+LOANMsLTMfdMs5m9DCKZfmX95orlpJhPsRu+vodYPmd1ouVX242kB4c8RKKk78FU4OsiI6vJTrztKO/4SezkJGYlYeKnlD+zNKmYh6aYHW4HZEwUDHsWUgip3MzVPRlF/StniTrkWg/4AaWVZnkE4Pff8pNTS61rUBtSIKeUnuvl3HMq4YWzW6C0+EwgWUFXFttK6t4wJ7IC9o3Om/8jviCcvq8QtCrCx/dkczxO2mrhB1nGcgwnC4EMoK5mDQzhboMSt38w4W9Tr6beVMisUS22m0ZgrlU0a64Ke/E27x1TES3txgbGKTLAeJ++00sYS409Bc11Vkrszx3+wHaMkHWG/MtrX778MtardHz/XxDEgDGj8/n07/n8sG8wdQN+HoaCpX3UPZHMb1CGiltJYqBFR5WFKmnLwyb9xIqdNLZP9q7WdaJ4Y7pUt2dAjnjW2vMVo8ZeEcpvr1AYFiMfkmVMbkBexDe/yOBpovr26YEgGZWG+4OBQRohqsaA7Trdo+Xt1YN0fHmKGmiyxn7/qu3ZUy0Rv1qYRPucOcpj3+a1eatma7mbgm0m+2sJmUzrXSEKDYOSBPQULxLr9poqaXSIiHvBtFSPyDhobx7qCb2SCMbqerqqzJHXLADjPVPz8VjGsso/5orWQWQ5Y3VJW3+8nZXcwRHGKjk0WCAwsCdW7HOdTHAm1sbT1v4ZWrL/gj0FLoix2d9wmUejvxlJA0cFUqUf9qO9+Vatxkj+Z0WtoaGMpcRQDrrdgbLQqLQe8tD9nXrgbNJby/hIbJT+8S+TnYR/oBiT0m1xAzR5uVXBaLqWWaXnp9GiZEmf0/CpshM/nqtYIxpPeTDdx9aSJiy+ue9VrirA9oOzjF1lsy6+aqa7hL5iFmrMTMbZSuNHPdJrD0s3w1Xiwy+L2ymgblvEhiVJl99P/UsHkN8tYbfK0C9MitBysOLAeSLa2xMuiyHQJ5OnKjwe8aqwZPC171rBOx+RHkW85EmtC0WB5z611IpEM4VO2ozNEDbZeK8rWA5ZrWMKaTpF2cpdju0cF6Z6NEdSLs3bbIsTzMCiT7jDPc2sxpSeC2Wxg/8Up3mQXCWAdW/IZDwNIwxoLFnFLKztUoFSxtToXdJMKfJSu77OZQXwmNq7Gp0y5bfCN45EhcdlCPvANmvDu9FJ2QTpLE8WBlQFkmLpSApRO5Qc+WpIn8V/ZSHtOLmk7iwD0OKWEW9KnY3RnLGR7g0OiDclrWpcrY9XYrkkj9HWadyLY2B1hmpF+soUDnCQIcNiOYGOx3aWIW6LoUVEVkBXDKsFICtAZ0rnvaK36TDS7++FcMQtswkPtA9HLX8cQO6pNwO9DO4Ygwiz183K4t27vMETXt8IGNuCXjwfnLvSCfKvQtJkS2fe3JzxXMY/vlTTWZH53RelgFp3K1sSxzPsLVa95dzY3c+zzQW9g1coXrg1ne8stjRPcySqxNFVlk1O7ztAS2JPc8O+8WhKscRbTjDndJYTDudJmMUamyzyWA0iYEBfodKkOF2HcliPAEhMRaP6JkZ8M2YCEw0ksBnvP+I28AU7E/uWq9AFXxTANeyYSkOmE9DGlbfYANYLWlAtN92tN7uOSRfliUos3xX5NTynM2zZmgDXAGnNm5prsdq2WWuu326Y96tAWs7kMb6/u+z6FYeFb3mJT4sftorepIsjZUYbvrYpTVIGGDGd/lsMbPmDPfk/4ISpcdHE8NU9fPGHOXEIAUj1cS6cKUicQhrPp8VnBYxeQEwCdBiudJGC9y6S+g+0aeJbYv82idQIbqxV/b7tNDONt8UkSg+2e6SwBGEEmBcdMaHuaQTIa5Xd1qQqzF+3GWxTgSbNfsHPZj4TE5NZUo6TkYr4yJsrdG3p9xtXPR/5xvMH+cuXooz0uSd7jKG5chYGLImWVzXPjsH0L+cjk9wvIGPtU1Mn1KwJIDd8EHeviOj4utXxomulVy8JwhVg8njbbnM5r0TzJnswalRJmQAMiGPTw7WlpvQhrAz6XlINQsHG4+MI3+iwyUyAOILsVzd/KdlkGq4YO/CL6AjpV/jFmEj2YbQaK54Imgymw1T8B7+e6nat61daEFR+GK6MAhbx9JtatMf8OS2PeHFFJUYfLVZWME+kQ5NwHjf6aOANTJn+wnf4fZfRsDFf96PP2QJShmlGMRuSgFQpAwLrfVLplrOsWXevK8N7e09gl2hwuCz5SMZnAV8Qqo0U8AXjoR/clUwHYEWbX2rd7ZID62kzY6J9Tv6ytzVTGV3urEdOx+LE2oz6aVGyEPclLTn8q5ch/GwCF5aGc5+ThFyrxJYD0SzH1WaS+xo3sDPccaFZQ2ycCSuulqdzAAHbaRSOh1640VGOjrTaKf7/ojwkHDQg3Q0nas0OKiHfI71yOrAXCuXI0rpGM4NBUXsIlOvEo0b0jUmp8Jf1FmkEwp9Wh5lI54tsaHIEn5zBqxsWvNcef9+/gp3A1L2tPkV4J9KsmRLEptbfyrDrkyQndtQA7r2ZU8j+okqYBb1TuWEeBn0PnYSjfjJnHz2kRq7Akqu6hTVucb9LX8j836V+/66lARFiCmaA+TJAcsZe1VHR0xueXbAnvHfurv5qn0H3YViAJbxcQ2dVvHbHSZ3ax82yiKDkjCOv7Sbjs+1vj+3KaMntWUQeMfxRIrqH7bUyfIrk6Iqd+tKRNzfnzhVU6HPDFFVXZBA+IBKs8WjEvtTmzIJyvLbUzWnZequF/yvErqBx9sVzNAQPZgsstXeT7W1ENI2w4EFZa9Y0+C2+rA0qDbkR1Q/3LZoAFJL5demA6az4wu+EhMKr9qtA1HmMO19DC689WeS/yfpY8Y3cx6bt2fxc4jtgbV2+MbJBVWD+0/NlBUzGQB+zsWt0SEoa8J7Udio2ubPfFFVhr8pUjjpHhye6TuAdCyvfObMsQ2XV8XE+LiXcW/FQwjS1YpZDdxN+VC3Og8Hx0r6Q2orEwI+lpv+iQjFdMQ6fpgRi0wFf8n0V5XwpSyCxjW2jMmpm6X/vKYN1uUiMbi5FlSW6HDZyJ6KyYkEqMw//hZDVC4vsvRHcqaB3BYSpHWmBY9hapW5bAZWJdp/WbywG4tLlTj1/jo7Rl1fBZC8bFmW4g3akGRmMd9D3uDP9/58JeOzG1lecQV5SCcbiNLmUKVA4BH47evNZi1tXe76Fe9OlkpytCTBj8dQENOnxitAcynlBP3heAOWNp1aYDhUz3BNe401+2FHdlFE8RXV17oSpzdLJwspOhdw7QGRkLVQbS4WH4Ww6cl/OZc0B/BMGWFRMGcIYUxYoB6i99/JjO4+U+LrN8sf3sQw1ITypAHMK+vMFezuKd3veSqLtcSpb0qleHKsqpw5hgmB/aqdhjT5o4aKFr9OhkGeEoyFAek6KagAhPm1vNRA7le6QBapUPbXkEO0Ztyh5hmDQAjiFsfQhUQKZbYSJdd7ZgCviI0eM5DfzrGzQvIIiEoJ0U6izWTe9znUHYDXa7s4Gxo3G8+SWiqbpl63t/exHW2faPf05V1K7ufAocFn2MtCGkVqLkIQgI21XErcMABdHFINbeuYBC93p68T0WOCMPztACHoHAienPullhpkN8CGa1p2C8pLxURjYRCQjl3hsS0+nxuiYSyQYh+AmEnSxltqIXr1BUUucVVpjiLiWh9jhfxZww0Cor/HxD+qN8NWmryw+Nwh4p5UXMInnVLjbxed/eOVup8ne+svNNeydyDolBYc6Cv/IYo0TKk0v8YJmEJUGm9SEwJ4TzUkiMUO0O2NIio5tLdYII6fr/OLAuJ2MRUZakL8g8xa+m+4yHNWOBl5hqJFXgjUK+NC3snewWFbiYg4qf1F1Besv6m2kQdcB3IbxuLpOXpphZx69580sR+MO24Zk5YhWp0Q0ccD1xxPDzFkU4d2kxzEUuDgk+QxV8Sn7W7TU70huAn3yD06WI4TmDRaKkfUXGSu+MGeaDSPu54zTKt3JcJJatZDX0ow/ru3Z7+9jhbnZ6nTzO5oWFQKuOO9t8QBg6hFdOzmqNaJB7SwNFBeXQLlK1ouRu1lqNnQYusZ534l3wdfH5XxnM9x3cf6kO7g5qhpBpzIRgMUGfkN1kgLv6J8lK6MBxtUNVFmgcCjriN7hXWvkDV1hHn/fJ+CMN4EqDr/BjTdv3Lm30h5abCBi32zx8FBXmQ6PbOxdFRlThz1yXTjWOB8YCpwpWBoa4o9OE9pw9BnDeWw5wUA6794rpn66zzLToMemT2OswF3xQ7Vt7fU+uXeqOOB5F3VJKbfNCZY9GEbyq6MBZ7OisREUZONO2If/kwComHoWKet3ZncFQ1HBdj07d/O4Tie69tM35o7XWV/GZu11F36q968QOje1zo/dVu3YCpOw4Yu10r3B14ST8sh/k/0ulopxs9XSeJo5e7BpX43Y4KdNOIOGh2sci4oyXDdbyB69kZYS9dQ2+xBFAhsRbm89x+JZWzgMWZmhcSdYB8n33rC1aJ7vrrxTEdIDiTFoJ+APOMlKOB8yo8M6YPJ2HNWhr/C9lB1ztCvOE8gLaNxbXfvoLHl2QHyGPe2hHFVM9IsxXTyzQADXbkiDqDXX4H4eOUBM0SriZOqRnVqXKb4dZnSjjsEQrZGG0Q/UKwAJNuklNwWGnb61fmCgUnTqrbVbt0zJRtVW4p74lLIVwr4bZQvM4rYGMCmdZmr72Lyw2/jAljhN54qxmGeCahWCBbr1HC0SBSpFn4I6cRgLPc4/4X+KXwQLPFqp595qpRu0+6wHXtUMn6bS7z1L1hP1ein7wUkh3mYprnzMsTUEMVtvaFYlSnZioFoL1zMKA9kWndneG4+wJgFKET3C5ZelOQ/AOcYPA4Z5eGLn8vX6gWc02DVZNxJe/sfBL42nSRzI4CgtQWqDBxM6Q0mA6ohuhzc3/wE68UO9RftsupQlENNmsNLRSSjxeeY4ndnxTX7FmHwbo1rmkqh3nMu0rwuXwR4wfGfF7NWR4F38AIdUlgt3Me9TLj0Goobs2qZ7lkUZCgjl2y/TDGUh0tPkBL77B+8nDTy+YoqCq7xWOV8bxCa5cEpApKc4QR1cBTmMWHBcOT5UDPLgR25romZVYTSztvYVilzlC6Xbjrrt5jzSN9/VdOkcET4SIwnW2GBjE6s5QV9vPO947jHL35F2+Ouyc0HTD4jyicj+NXFfCKKqXeOUxvZGVMgqGuPBajZgAuuK0Fuhuv/COt0mY6dYWFw9gYjmXBr6QI9TM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835660" y="2156546"/>
            <a:ext cx="7546340" cy="4472854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24969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pple Revenue Growth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Growth in iPhone sales and in sales to the Chinese market account for much of Apple’s revenue growth.</a:t>
            </a:r>
          </a:p>
        </p:txBody>
      </p:sp>
      <p:sp>
        <p:nvSpPr>
          <p:cNvPr id="6" name="Rectangle 5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ubs11WMMKQMWY5b07L3krsaT20JD06MnQKD5tJA2hZ0y8eNH59O5xkHMShUFTOWejkJCOFNDkvRytWtY2nQeADv7rwmjhj5ayLJuAooP8wh63e/+Ob/mZD0GMiYMptkIigIqopSHb0pUs4CZ3iYOSUXyy4sS2s3xtMLCVfzg40h9te3aCwO210HOdgfHjfMiPS2HXAHB339s5HtFhRibZ0L6I08R9RUmej0qidqbosD00/e+1R8ysNxeuT0vnMU+U/rDYPq0qH+1bezCcUhrSIZXsDP3N6x6mFXP1Uzxlzj/AcqkBSuxHpMVsYUwIukUc0J9nPKjxv6nQ0RPCReCVXbu6cxqj8wbUTRgiaJ+mE2EEkXHwE0QSQ9mVuRMRtDd13VZSVBYls9YG0doSi2W6QTd3hBx1fd80lbQUaoQ4OT0eHF+yc6QIK4iStXlyKAUNDUHlqftgOCxYrzjg8JCqbLEYGfZIS4GERHU20NAuK+DvKH0KvzrMIWInipNArJFzwseLHP67aBfvX6e6Bef5AonrKsNGIh1zyXguE2tG2DQyxxI024O9i6QwZJIADPR5aGLqLRQTwJeKN0IxQyKQDdL181vxuNRgNOv10xwrfdSC//Jle8BOn1d2pPUP6nTROtfNCmI8rx/HtW0YgquNzONGt1XQ2R5iUqTtM/rJs21/2tUgxphlqA17DNsgz2gsNdK3pYxulOCeRVxCRg8lmHehjINbWdN9YJKqfG0VJPJa5r7RYq1RW4MuKeEbtkHaQpL6NU88Q2Pv3dN8onPEKDY6Ipg3WAIefx4oOCjbxO7CQ5pT1OtTMU6IX2JOiP3SvsmmSz+kAThNJKuml1WvL3kUApcvy5c8H1pek/hLCFXqN/lOyZpn5vJA14uIx7K2RlaY7/PuRkQ2Zcq/kHMl+l0ElO5XCbUHw/FGEpORnnmL0q0bocVlhWSg3nkDPDVPH712OruiJRtZv8JHYO/m3gl+5g2cfKlqzlQ0tHOaX5lfVeudSftEfR6uDeHfq1poeb+qXrpfksc4sfoMGDvTkger0ioBxJL1MoWVddp5K2X6DWW0tuEXQHblr+4fO+JtlCE/wXTiy1mXrZXOYYWSBbQdBP730bbA3VSnx0VbESfiCke/Hi+RSK6u9T/ssnjpz81EQyenkrEIimO8ByYuuAANRB/+0Lo76glM0gz21iX05fLIKsZwsQMNADp7SPLjseY6hwW01Of/A05CYpONfn/djlUNzpEFoCFpypwTEAk9nJE72tdv16uRWvS8fqLrsKFYc993FREH2Wd0b8Yha5zKtavC8gFveUPNhEWwgjyOKsKPPEMt91kUiU06pBs0SxkU/i6821mbxNw78qB05pbgB/JKp11BplncmhUViTfhwc6+jiNZT3gJ2UPe/YQ9WMV8/BVZiKRJrd9jPb+OuPON+a79SyhiaowtjWcqANAeyl5wyTrZY7GLBO4FBKn7AX6IlSYAMraGWtf8HgkEfJzl1/bjlXPLZcltG/iMkj+wnpwUzZik40H6VkeJG4MGdoCuKuNnNsTQExuNVQq3efx/bP70ixikqlmKq1+T+LldFs0urQyC3KN8witv/AJvai+wnh+FglUXKNtmkixNyu7GKd7P29Ucfp24bgdWfKojojvhPBkSn38VhDTtgkBSAkRfEn2gHMa+WJvDCPatxU4w5UtgShnaFNaxfzGyigTYikGigvrnsDnllZwqlZHfWrTVdv0cPvHwA5kEqyJiIJq7Nv//SIybBcw5eH7kBLG6/10BBbCMvB15zlJYQdt9U2anuBB/+mtr7PlqNbm3OK5ugtD1ZFMoN8XFJMzhBTdWVkumD96CN4QoUNxouHJJC8lE3L0kL56WB3Fr7Lv9lQfNlEw9Zq1a7zi2yTotq80a/hxrafNB00NBoJFT5HSnS1Jr22FIEQWD+M15Z2oOTY2jK4TZtkkPjlLBIg9ftWxXUa5Z4fXAPiAinxBW41RA1EbhOXzJI191DgM+DraHTxtcyPBKpzjgF9NhLsdwD5AEKt6ihtMEPeBdnlqK8hvyqPakjxPqSaqZI4bzCtlUAaCOxHrSTExtrVlEn6xshjOQh7iR6kz+UpOQsgeEnH+n0iXIjD2YKE//F0DUj3yaieaRSdAPSFCtZTP+rc22xjF1yNSQby087qVhjWuYYyOwSrUju067FnwYI7ng4dh4yjJadc6fXA5Ebb9jcjOStA40SESPTWoFcqnNq+LKw0/GHtE9glwvleU5SWJvWAV58dV5IR8dt8eDSs7wyP1bJnNtl7QXItb0IRn0RxaQTzIIzzLBneTPDlgTaA6cT4nDLshWTUeKOWWsS3oLlNDLrLpz1HG8W2XcZFT6qBV/PNlrcAS1tsQyZxbc3J0Tqt6Tqg9vQGzsrdJ7H9My5q+hZOXZmxCyPIDh1A6kk4gggcmkQzR8LQ/6oW4NJ8XJ7B9NpmlD6nUBGoqU5AyFW/XyB93CjBUI09VslAdImJcwQB9sqqhgHXfqn1n0FcwzsEs8uG44KGND/P85U1qec2VCMLG13/lI6+96smJ8m8r2FiCtAmr6cq9xAI2QkXmkX2pjHl+IJhGLDAV9bnMxaGOFLfnq+OG7sh56nnNCbZSu0ibYlV+fjl1IMB2W02a8jCQ2UT7L8Np3zZkKvaybpIfdTXLPK18EQIet5I5FqFgG2j8B67FeBFRcM5cTDYxnfY3f6uHOIOeAiOJJjUwz2P2ibitxXSllKM6VoFXaAU2SHw2STwbe3MzHS/cafmqZFTylEWhHML49qPE6+31/8OEcaZzBK87VA19JNBmWfjBI/Td44ZuUsvvrcwPKXaH3hzPPB1GO9ltWCjl9o+dqhx2qjy0V0EOlp5PZUp/sX2smFebW9ByB1Ayx+wEMhcyBRsm3758EF8gezCfIr0bW+BhIccF35WgaOsLgvI3sDMeTcFmrxzW6vuQADtNXKJlCeM1Ptm+q2H4YbgnyoFnaYLlfEL2xvSgQjJXmi2q580veFEhjoq/5vTIvKdn+qSM+U6krbywd/in8sb5EzfTJJRM6gTfRk5Iu1cpvB59vf3T5VRd0SgjXLK9rkBae64ldw0xfUC/5qkkrHlGI7OntoVPZrWX/8cA0cY2PD/1qu4MP+maZpphv/tbA+hILwL79Af5ZoXOgEngNk12FEYMw9MxhUZSL80i1SXSEkVnpR4zAM5auUbeJ85qv20fbBftbYDv5oeqYGnAPBSDxjUJxOKx3JsTDuayrrWIebqwUhx2lOS+/vGkJ3HMgBxC/kMsQRKOqactYT12/9Uww+EK8QjeucSe+cXZ0gJ8k92k7lU/5zsHCOzgMDgHY4c075UXlmL9ODk+B6WywYrhZ3rxPW7IhW8ThzA6jOIldEU/jY0KoaEZSvcZnw+TuhyRgErwwPDsq3CPC4i6srD7XtRinZS4nbBgAEPCOHEWMUDcEammO1eZVgJ8LGrXWO14F1M2LzPfR+p12b2MWsO3WTgDU/JhZC5qadLSaKlcopMZtNE+YLC+Y5v/AzBIIN34wmizr2KR3LnnwZU1jArTESjI4f6CGT4nREuiobtzKWL55NlxjQfFQ7GkThFFwg6gNOjg8QNsAgVUUDDNdkk0vsONfohU/nCumRv4zW4SaZaMCzdcQXZy03komF2/G4D/VnVRV5ioZhBcVMOCZYQEKj5QgSrcSm91xeBVtjTBM5Uzr1WhmFciLIt9+wKkJ0NPnjqs1JXF6wIXgzJgVyqK3BPAFWNApcI6v0XJ78g9AeaQUr67EK2YzB8hMhS9n2kd9MEEC7S+n4iXqQ6ifzpCx745x08sfawfSK/a/q2pzl12DLuDZNIoubV+vfMY4JI5xgJsR4sFiM2nYQ7TLNKAMoOm98WvkAalJdj1EMgHNqh6uqd8D85qDMvpKBk7IpuFR+G147aiHrqNq1SKQT+4+NqWvvRZpg2c7y8V43X3OYD4WUhWDTBmpuXJEw+xRogqBp9LSpt8+vwdEb44j5tsK47VUZmPUCoaMthhm/cdxabXwUOBSwVgEaXSW5BXWsFwgYTOKu879NUbO6Uc6tibW6TLCnKcG4l8laBDKaZgeAoH+BO4+YwRGicNx8+N8px3eL2UTGqKCB9AdBYoToo56fgp/wIOB89qwqpc3LlLiYhSh/ARTrBQEuz6GffQKmHm7D4YeupfRDMbdu0jxnfJETRVdWoJvJCmpF30mjWQuc//tm/g3BhUt8vfqURZggbk8v2GEDqFoLBuJW3Nl7/iOn9W/iq0y6tSOgVOuUrraQUU5Zk4oAgFL8jqKV03d8143+Ebit7Ej/z6CtWPITBjF6uOb8ezBGyobOQnzdnrzqe7mL/DSRhkq9eGl5w4pRJuVir0oa5yVyKBsEwa5g50QEftyiIs4bFhlmtzFvPGYOSkjr4YQyqBz60T/RYBMDGqH6giF1Fykvljsl8gjDqqpumaayEO5bmBJEkvMEgKtIjflW72V7SDl1PDqzpz0rJgX2pOEsbS5aE2OIi4vIDzq92K4kbTpcSnHOwuOArWRceFjOU3iiICu44O+coWmwiRiIpJ6EhFaA94BNWzdnbXEOqlxV019hoRm8sKZyNrLYJcbINQg8zs7+ccq4CWexG9PehnJHunjovyYpqhkito+WjS8Oc2Udts6Tt3gYbKRW5IXUXHnpLub/ZoLOxHsFA1ERvTmf9ADgwGRbOGknMJlXvcUcp+obt5lqewHjFcFL3Xop+2KkiJrpQyzeVzGFlifxsDnFvSaSECo+RLQNLdl/eLaaxnU5j5H49fMShG4PrXa4YKJwaYZjHG2Zwb5XmRNd5jQZuEf+9uRE8tnpxNLoIItOp/evUwVf8Eaq+EMw5/Fq8C/EodXaN9Crwv+y45w8tQSRR1dG05Zol4IGfrALfMgJAFv+Aqt7orTwfRI9MJfYUyFdVw7pUsqm/WiIM9/xX3Sf19GhsO2okv4uUJDudb0SMyS0oMRmsWVNwCVoOBmKN5/4ihI9Kuu/6wrzKgLONj4imShW7glNNm7SILzlUT3tlM+jFWN9eq33UPv3CvJGYgHkuXosz91EbbEMx1YlY+OVTdNkQMd7n2wqwXonP8/vgu4o0xgX6Qh+Ls4WZQjRPC8VjDnakzvBhZ4Y7Es6i6raNyRhTkEOHteD+B7xlEC0+irsoUL2pd1LYpfLkZhUw9EvTWNe5a1WuH5vJEHKIDZS9Tb1fz6DYHZccvdlLEaBAmEOBCLpTxyRTXeo5jORH/5CElDeobDF8yzsb+Mv22Qhz7RAMYViPUjhGRLvwG/juSbczCZYYZtUeNPzvM2u8s8hgTg/ju1RYgTCe64fjSo+C+FyYyGrrqlwLiPAnNaRenhdDi3NA+T0Lzc56YseLaptPwikJZURIZq6HPl1OUwbeawYcPve+o1RkT4/qih8h4QGZWl8/tRt/9uvMvcqIzORm9JUewO6gYYFHeHVpvZpKT6xO6uVo/8k8Ipjd3fVDS2TnBHcDT+Zt/seDbJWy15KT5WZdDRixGY+xuW5Mr0rOBoVtNx3qHbNkOTFvm3g61wUls8A3OkTS/JYJBdxqcv4nqni0p8RdR0crJjLBJUPWHFbABMd0d/yR0Skc+1hFQMAbw4DoSzElHSVroxOnzghZQiADdmmsjyjc8PHA3KZgm/U3pj3SvoFI1Sh6JG2ZD1bmQC07rwsxDObRM6VoxhdnlZZ6E8NrbDv3JNIkU98I3YvTLT9kiaeJ/VlTTFktR2PtlU8Q2dIOulZw3OtuccAT2wUr0Kb3lTn7Op9x/zlHIeSmbdhylkuKfx75xQvPmBbp2f98mLjPW/D6MyKYiMy8bF6itTS2+CrcORUPDvsF9JUpFLg2L35dCInxRd/xZC/OO8BJUjYa/XsQHN+iHDMZ+pBW8Ri1QhI3Kk1zk/E51YrbG9bolSrhHZuByOaqwM2FTt7Akc8pofOfK8BUTyjf9X1CN6LiR3cB82g+ZMnI3XpUJPP4tOwsZGMArQnKDcg8cIxv1NjIaQGQ+GTOK4ijmGV7FGinXIP8LIIKv8ey8rGwbfJol9R1EYS1SSkXirQDFrFbAUZr4K0MvVs2WxkbldzsGh5wIRVpfXZaRW/ut3vsGu1pghpAblw3vE4utnoNvFBZHgpfhi57t3EIJnl08YZBRNHBZN79nIaPtv44F7nStEIxC+LQ8ea2d8NsAIdI4aWzRCVpZ2UGd8UasgyK8PQmMZyTkHZpjRa3n6pidKNJX2l78NK5RTlXOlUvUaE1JfCUMNuqsXMuV4laG/Y4SrJBQJIBBJFuAFgEG7MKX2TIkh9O2RPDxgkT/w57S7npYeqoR5Tc8eBFyLXRGljS8ICVIS6HQIGO0qrA6W+KJCb4sh3Xe7CQnY7burbY7M+u2+wDbDWGm6+dF49FMGpvxQyBjdbbrg2w67Abp1gPjim3unV+BTE4ukajROIOurLoeD9dasDPvPhnUAAl86dm3T1RCle4HPIfUqnez15TGSD422jCq3s2FFcm6iMxFnrCryMftNFDGQACkm4HzcY31tXjmSCuccbY/7a94I9tFaW7tKPVBLROXiPCqLnPl7dJ6F7pXuCAvjr9MM6eMk0QNXis0HVWYJFACJGIID89r7ZSaRLSs6nBzdlkov69klFHCx60KdRwoDucdQFi7OCd4+27fwLEbW7h6iXEZA3r+lY/DBS6iK43zedBDh2/9bG/6Pami/t3FCSUvk54psxBWB0dBvElqkasonu75KIoqxpM3gofj5USfzJTMIV6xfQ+YmpyTUSKeQsv7/GIb0kD4nF42iiYydvOeFCngxa46kmwBw6k4vGE60DMrSGjmrtthHkfQIyTu1NWWg2m23hyGiSY4GoJN/+x1QbP6sURpqvXH4Si7JautVC5PCmHL/oYf0SExdqORGgUrSEh7ayS/NtVFpyRiDjr2Tr0OlRR3Ohv48AzBExogOmC8xpPw2D42/nuLaMtcUkeSoNldbHhT9G4D03IOruWBqv8/isy9ayPaFMmwjFpOZrXtU6ul+5Rpv+WYvRYr/AHtrXcprJV9djgMNK13xnAchpCVisu9l7TTKWg15bAfsqn5MdZIdbkWYPw3890CF6P4I7Lnc7xBKTT6zlkcTMeh6TAfuvaEU0lw4HsVS3DMuzAqlhuIZIqJ+j9L52H6DPP+gbwREecgLXu48zvU3hJShmNGg46g1MExfilCqvMuDV+AvkDbgM4H2bLzEUxVGkjh8eI2Id7lB/IKdObDqkXpL+euNcx8q40QUu/QzVQLt99bFk30hJFKWKuATVkZzBcHEpZtlp7GD+9/vSlJjc3ITLg5zbnmvMTOgeJZvryYejY0O28YM9TzvGpr/mJAs23+MDGCCRxPDtTOQZl0QnM/fkUlQouZwuVLI/hKJkXz5sFRekpZCb2Ex1KBWJHWBHRe7NixTK9Wivh1E5i5qAs1+8BRv224CQxbdsxzGFHSTHYUEiQCD1HiRHSnoGia0A8iaBVV6/OjTqK+X4sZUTEzU7eFG8L2chJJ0NvCZd7VubNktvLwm7E+j06MKk82mONwIGCwSLmDz76l9RrGHnpd6lL1PXzx3ktmFSMydJOAmQtDaBnqXxWeTwlcihsI8qVUjd7lrU9l3l19ruVJqLKSOxflOXvvPGo0qiZpXg0NpjVs8RKNqbrdlrb1+wZN9gp2zxqoFgNYS3+dcUPgAQBrSy2leKAsJwsy6TBS1l2jVDMVI8RIao+nZ9h1RwzJxIB1OYkNThItWktMeol7ynueTzlLKOsbgx6ETgMjhQhSH2KJoGvYFwvjknlOa05o56TXs9zPzcjfiDzXLbzMhGZWyAGatHBdAm93t15dSz7Y4tOH2T1OBhor/dWBSETg+xDzgqc7GGaXFJNoXfxws0bzUfdxsgt7T0OBjoOYGiyQN+CwCuz3Prb1IkiRCDPiAGeRwExZ332jAkVKM5QIsFgZMhHOUqwx7glN8ysJeBZmeYAUoVyU2bqHRHt8ujk3wht6NMiJEktRrVFdFhYxMeBnmuP0MI2V2fXQ8DfipnmC3ngIK3cGZmpPaHzCOb2zcMHHXzYQEMslhUi5Lxm9NxMrR4GJjrg9gnpuN4vlHvvFZqq5bAs7AuoeBBtJps9D9OOP1rVKS0ROFWVyd+9nXu+mt4o2xmysGBvjcpz2r1iIs7cFVrlIlWLmF0vRgT6ssFk+o3ekQ0TJIubrQPxRrNpQyrwv2gCPRg2cz5NYN52ULOySaYmnIKLfpzW5cE6wAPGhz2tmyj8ZUgZaM3I3c4J0BPGZ6uYdFs/w4+XKI1l/yx2WHXh1tfC/r8tJv4EMBPzlmJrWkdl6JONre3TKd1BshSAIj13TzPG1gJpzK8TgN+6gAXwYqdY17bZwHNx3Z5CstvgELPQZfB5a4rv2oifEQCPWoHEi6irHhItHbvcEBmPot87Z6QDu+wKbhlbSm0fA9c+2r5SPSNRh+xg3pv1540VhnX7kZ0RMrV0WSy88sz/qbSPoU25TOyLFwXSFozHyK9MDcHCBnPDpiieDsQDCBV3ckSWYX4aqU+0ETqs0KE1Z99oq7x2wodFICk2WNPSIKAazasTIM88mo1DtQltuhcgKvnqyK2iMBzZbhw9qzgtlu4nQCJ0Rxv5GcYM9x72wcD0TWJnTATRybnpKk020XuhLpokiQZeUBIuGuGCF1yprGXhlC7Z4gAtutu1BSH5181qq6gXQsDyE3BQZr8XDL+u/ZVvH+62Vc2Bl9uegtqqa0/h9U3XO6Bb4BAo2AU4ul1SwMrL3FbrZwRgypsyCN+Yrjj+dvUH/OMkzhfgJxgPmKQnu2U2g4UUIE2+e3ccoMYaqTzPuGYNRDnXloTzvp+gD8NKl60GCAzMWVKfVcQvLXSiseyhHGjDf9KUoQxk37URSaPMXaCTzsvB1yF3IRERdd9dugdN539qZqP//Fyyhj/fGTJZ/BaEASTm0EoR1Ic9AQDYgeJkni1qRwRHZq8xqEk5k/dwOvgYBu1orZIy80rqaIbds2ZMQVRII6dGWNfgBGVAUVOsIEDB3Gzy003kcW+DTnDDskONSPbaZFfXx3zKOWZnp3Ll+BhSB4u/iw0pySJVBn5UNS3DzSrNAQz6PApWNxZd8YVsKUDRKji6s7skeIFOroUvislR/VwgSMB2pXZjFMjpYVBE8Wpdo6IWIqiKdtqN7Bn11nmlunc9ign0ZQ4cPnRaZQq0lXQo9ECb9f7X9xgDuIcqRzX3cHa0qsorZLbncm3iu6utIqMRxpcCLdBxYdANaB5hKr+c+gC9lxmxnaEdmcfWNXbBTLZPx6/omG4OZ0yC2m0j+GbYgQ7KLeDGyoR/chFBs373KjILoX0AXoOIVOr7C4iQRCjhj74zfqPheyKP76Hp/uqRlFkO42+fYfvzrrLdWer42WF/v2UFHgxOZRX5ERYkJy1xCABkhiEIi739Sp/g8INZWaGcS0m1yxwFgNDPVGEUDzpXEJbkjhh8SRrHT+BDpEbffdz24mxD9pfcAp4eB2HK/FBmlEisbYQQfnIWl1TNd91WhjmABPDP2Og4DDTYDM6JA/hWoBiQRsVq3e18RN+WoswEk/a70AU3d3VFb/wfrjDDC3p+DKYyISQQdv5qHmRkSc3LwCadhJgG5Qu72WSrrKOoRgaouHzhC65wXSpAStlWZvdk3AdS/ZUAl7iGsUFQyV5T2x0Ym9xNLNzAGzIXkSg0tl9r8G4xtm2voioo/M9V5cOeoTDfKLENFyGoNTaFO/M94NZtJ8lUyA8Y5JIofowphSBqaS5PogfBqmCleIkLQCWzSjgm8/AyfDx/pTYekOfafe1MAEtjURSQkz0cwhNNIChuiOBqidIuFBLzheNaBLMdIDslvGw3IewyKSim2qIAEYFXdj2Gfp+UnJymej3PWPSchh7P3SJsJtYWdRM21O5TyaL103QlViGX6FlHtDVDk9BY1qSuSqhAEU4ZjK6sidk5BtZiGIJMJhscwsN1dDpZl+QmKGCIqA8amGN9RfEfZeS83vPUUkeX/65qMmobfHEznKIVO+C1YCvcvujP2s87LYEtYteHZm9JAr4RjElxTdqpVAUQrCZCsScIE94n6RRYbr4zwl7v07N9TIo4OzETzAqcaWr6g3MKRB4sdaOGHR4p4xzu0ubs9CgcNsFGa86PaPoLVT4R6N0PRld4jOqpfLeO5XjbKnssoV4fVtykkbb+iDnHGbzdPEGZgaUvGn32uXDmbHPnW+I0IWAH0CDxHogYSA8ZNuyVnJJwCo+A06GvfGDM0a4aPwo9CN4Kc8l21R9PXbGmdVpEXvu6E90RkZbRHyn6a6fiS5jh+xs7hdZTz92GdgCaJLDlFG2JWlbgja8fLP6ssA3c/PoYVPITBzTqiItoen/wkK2JsiAfscFOFuDVkUq3M92hrn2vH95o8c7Pl4rcn3xH8xeRb4Cj+WT3PPWskHZ0IubrV2shSLrVu9gs0Rv3hFpyGia/ABv+6yGFvm7yIuqgZl63kbk5KGJ6KgNbjmoq6mYEgAkl5+00NZ/brP7kZB0SpXzVFTNNCM17HvjBAk3hnpogJQIi/SYeTEVBKtiGL9aM7dJgJknYmuBZ0pzVjiJzfy1GCJqlPlaO8FtV9lLQ0TxLZIKOxgQ/DtLYWAyt74dZUxwQRLuaIgFit8JYuYlBqN0WLo+T0Z+GF+K+2tMA29qDVa/SOPJWZjbwmwT+s4djXuXZuXbJlViv5be8loDJXio8UpxzivVrcXsS+TZUhAsBVXNhNGaKeEjDl+1d6YpexHNRNQlpSv+xyzX1c1hX8fzaeZcLdDU5bNZv5IK7dzJy/hUMQ3vQCQNLlKRJX5CswJTY6YSTHSaV7/4KmUswcV32SLziidvxncj6iRXC/AvzLPjGfwBWVUZhuloJz86Oe05HJcstH7m4Gljhx/d7TNeR5rurqNbXg+hwITETfFWo/dcidLpfEzi+tGKwl1BlZY55/wALaH1cjS82xr+1kmb79U9ldNH9idXAMRu8hfVm2aXrYwJMC3qklRyZNL1+0mo3lWqPIKc+0ahaJtLl1uEvXoALZ+PMZk5b9rcpCkqiPyBTqV9+aoma6cFvXvB1yGYgAUOdmTor8GE50GLEoC/CQO5+q5hTso8lN4nqn1nfH4QnVgHBNJbrI42D0QLGKXNzw6t69Hv8/KeV+pZeLNpG76QzFH5X2RceRyxZaF0nsNbR2L3JckLIq6x2UF6b+oM9O/yfsrOgtLB+7Wost8qdIjTdsID9ARLdYPV8VaOxtfk41oKgO4/XddKs8oFI2aJRxD/AmG3DvC5WvMe5kVDyC2qPim+YMIfZp/W5PV4Zefsg79r1g2nbfVMhBn7KlK+1mlxHD9q8n9uzFeI37f7fgDPXtj+ZPLDf0bLZeVKyQnQn383/hFsG76qm9HfDbCHugATKj/tM3J2SAFIXlojkr/LkBhXZKRoqVOjRkt5DJb9QRBK80bJFbLUzbT3/5jfe5KBpubPkI5f34G6fi7a8vfG964QhoGt/j9iI2e44/NR2+jF4Xvv/WdLn1syXlHk2OVpxXmfvuKj4E5vfKab78+mAwWS/R7nK7wCrCbXoQUeplOOv5rEQ52VgMkg52dvIaW4HxiRbk1m9ZlUe20AnXgu5YNwVz/8Y1/BNNUCL9r1TMGXrLSe0DbMzniZYP3IBYyizpLyV14UZ8aAAfh+SgRRgCNNWI+/c595DvZ8AT2aZQ51RQ1XnUckE5YNR13sJ64TMWIhYgjEbYCjiS7YUpw3RgSPTozgJPT9c8Kt+ysU+kLYvz8oUKB+GutJ71bDFCgSEIwwrtJIbl1bKLubDp6O+SAntA6Hag78b8jPuOeBJZpjdaALrOPdpBdMAmkbBwjDYCYEEwqKefa7fC3sR7Vy3MTuPNcYofTJAqiSfwgPqaggGNbITo/riyXGEDOruHuYgcP0k+IKFkd/k6OQc+rR2nn2lOLNjcAA5kailHdYTo6NomUzx7roUbrh8lnT4FgC4RIKirl229T5hBIvlrf/3PI/DQYTCiIfrfKq0RtiECuDXYHpAVkQVjYHT97FtP52eTpNW6sLimY+IfHB0Bg97tZprjsKOd8PidaMiZJTqSrrTcK4O2zBcUOapFQeOUmKR1U9DCutyeGp4v5BBxgvUehpr+27oZZV55yG+zEe0w3NaUeGf1UfPy2jZeiM5W8yJMr2bnisl3yuPCeVgUWa3y7AtLBfE2qAzo52AK6fYZHewOph5GqjrRhqXbe9TMYngTaNk9vx5RHryqS7w7McByjf3gIG9RJTheuJHNx+zZshmUbLFdgdHp5ceDMtinGBhF67DoIa3K9NlIyHSj0ZJkkNtAsGYdE1wf/S2afSNKXSB2NI3dDMls3AEQlFFUHT0eAeUvnnWxk1Ww2W+YVKP9uo1MHt91JWbHyFFjvxV1zqK4dzPwFS29qybzsVfPkfBdL+L3CqS3d85BK9mHy0IkMgtK3Wz9gco8HksVg7PtJA+6j7MPGKb/Bp5eY2674La0sZQroJ6dsp7M87lNwqw/jXFiqzaTg6+9R4kK+Inamu4i2FxL0hYPD1cZoK0NNnCnRikZIeZkmh3PoqQiX1PNrva5XU+IPBbfDfL1it6gRNSRTGD3LpbcXvmkBhBj9pAX1kMrOeCRFjWghL28QCtK21DguobUCHmJxUsElkCiZa7gPuV1FBfOCcyGO8yvAD8FfJP7g9cD1oWz9ccP7JLUVnchBjHNXhYolLWePb5c46cPMhvDvbJa3ea4m6p+NbQV0x93zLcTsWk+rxqSdNmZJQJ6Odb+oQBJ1m3EebmlDjrS70dFi3iJdsoyL/TsKntz4VIxVvEkHkh/2BUDTvIUTnXrXBZ7UaY2/MV+kTtvysJE1lPZoYX/kE0hddrtQmrx/PJkt/AJOQznsGXP/MtWJKr9VIDhRbtJ0xJNCvmD3PigYaCPFaauuQuGn2g8h/7c2kRwkWReWzWYKP0a735XcVoqEt0LtL/947B/pSPNsb5mTv/aXf+UBowpjR6OSV7ugxj1LNW6mkavMJWrgKdjiJ1KTjxmaIGQ6ZBiei9v6iOF4SpRH+4m2Nykn/b/YxbUrCZgxYrOGy2iMnbcPTejhSSEXtrXOfVRuhh4QzdXy6Yc7zf5hcZdQl9TXON7ILJOy7sCZbw0WoeI8oU5zD1Z8QzpFHyNOob4/vOK7au/PHTkhvYSK+C1T9G0dF9fjjRATYijj0FvUbaAZi3pijd/sCgCkQNeMUPKiyHEr2CFtXGCRpzQYgmItdDEg7u4PtkeskEhEppKxmTucfyQkNtE5ub+RDaa+zpcg8kIoQU37vBr56/3j2xXIvVakXkRmGQ0S8Jglu4AmzmO3iAuUYkW3TVt1q3Va3WzPZI0ELmwhL6k4rjq23G6Heb4GqYD0tHZCam2QvcjyNnG2YnIdS2OBtjTAG2Pmr+n1DQ21MX31WpI24iGDrN/a0xTXH7QZtgmJf2p3rSVNUyFg1GEi3fahINtM35MMJa5WOzzgsAT2L7XUF9UwaZsOsqi6wKPJbIjWzGc8ENQHY4kHZ3x9rFBwYW5OH9NnNyL7jBzr9h9ybet9oIdAkzdLOOn95vgxp54NHYthZJosPy5luZLXsQ+SRKxyKcR0+ECMFZgvnVuUvGIdieF7zkY5cD3W48BRN/u6FeanvQSccIayqivHP6fe6HJM5eSmwL3uAdqioW6ah8Elaq/vx23+Dj67E0A0zcuiDW3sC8G7mV85F5xtsG9UydUKdSB0WWRlHXYFApzQQeUapfoOFUIKp9MTb8oANgHGfM+GMeQyp4atsGHw+OSiARLk8vobmsWdk64NiOfj+V8de8iyczZlMh/c4/WlHsAu15fuLhqIaLhd8N7tC33rcDSjQKQlD9wD1lS3vZT9UbQZQZ3ArKyVwUn1lNVN8qGmd/kWfHEv9gsK0Om3ynpPaJUXtFevecw2BWiNECJC6e2+RZlcfoSEauUTL00ecPFYlyCjChYP4D0/dhCsRDuuzlcXB3DTbeF5y3Z/TzHqL28nYn92PJD5tQ+NWAtSmuPFNOJk4hojQpEPSHgEhQRliLmoDN9cYGmYyQuPh/SoFdnMWPiFep3A74vatIRej8Fh3nqp5sWZ1NVup5zJnqprN1rLaYeVoFxZKIchKV5894DcfTwLwH5y5G009GRjQ4yVHX/ZmbHe4ay48egpbuC8KRGamO9gtTEoZypPPmnfyrDpQJnNV1IAsyQCzSrzg+6eKTSwoltTUCwb8DJyN1qXX9sm/PfMOFNCQtPYENr/CKJBwiqkIK397JFWkYv+mU8A05oY9wwh7RTwKJBibb27F0hE0XT6rPzFeFvNYWzciSWRoaaWb36+fmXZ0JUOBPmaplA0ROFyVyhnzjKs72NAr+a6ZH0lciOGXm8rN3HtVzI8+dT37vZHUVX7LYV1WLkgB1wPfkCmwBe1CkRR1M8fk4M87f6/ulHeSaVXfU+UpmIItRYOAHbXusvlIStcYmAWshWfp8OfYW61xBE73eWyys5zqhvoHBcOGtlPDOLr/9L+ZRzRJbMFc1zeZX2k6ffKKHT39aUsxCy0oi7kPrxUxnXmpafIFkWuCmR0Y0Jnt8bRGWRwmn7uDm7EBUSdfYvx0nV2xJcEJ0SM/kJts8fyhj97/68jbOfe9dtpEWoMqQwqsy8G0RElsJ6Mtm9mDTcY2lNUHQtvoGtWn+JCPSm/1LNjneWzWmud2Yo+6MzMSsdlzf1EJG4wr+WVCgIR6UDZI4QnLuHi/4gRuAdm0Gpez8uMsLmrvu2syrWDqfph29U1ePFGvKQY7Fo/oPgC34QE8rdUG0Yfm9eioLVypsJwRVmu8SDiTVWf7G0wrwO7K/lxwXtVwn3lz1j0o6YS99/D6qkx1uULzeNnrCKID+yC2fbeJ8UF85HiWS7DIGb3VFEUh++/3xteOOiy4iAHNzl8jxpW55FGBMTlucBiOsdOU2oKnyTP+lLh888nRVp5Nxj6a+65S8oEEcqwt5CgjSVWst0RVc1tcUeqLgk5BF7V3QRkHW1ygradYH2Qk3Nz0Vc11jP3tH3wePgRxMnCUT/+LyfbQZKf3pkXy25CopmLUkmv2ydaydd6ThedhmljV8f2mIZ2sU+ufz8klCb153L0nJqKQEmUtz79idw5HdJHROhXW4/po1J5ND2KbF7B+iF21TWCL5A2FA4cY/0DfNbhOXyuqQaQFRCYRAXwLp/Pd0GWBBv7ZbO/ROmP0lQ2a5/CpBvq9udqfy2X1yFi5lwLKD4d0rFZE/8KAltJQtgqUFAahkRKsXdmuwY8OxVTChER/Op7KkFzyCC8aOPXTBzDso+NLmszifQLznBo5ARwsSEBuwkg4Reu5qqsU+mBJz+WpUZS+IF7ptC6ZsOWD7adFpOzvRjeKtnnTkF1YDNJY+RXGKemSPc07oAZIyAmHJScrwyyKro4Wl350CTZrfQ61OXMPTpZRgw7PT9hVppc85vKCmECFF/fPdXeFYo94pYIt45f7Uaeo/HZeKIXc7xaUChKv1hoOOXH8tavZmw4+NmiWAmbfA7QNoOtdwYHRhmFX9r+bQ7UTh3Y4Wo5DFzcl5C8Oi+6W7Icq6ngxwCpbBvzfIXcoBKDCSJUJDpVTpHGpAYPwew/ifUxAvN9Mn+/Rtv6Wg+BqoxNVNLzCklz32ABVLOFOGvyma+hgMoJsIqm55P1uqAzGEG7/fRIBDVk9sZ3/FAdqdFIIXOgMW+97U5hR/f7EqagcPS9bdJaIxeNuaOuk9Ljj9dHTRfNTOMeJeWffLCQxnhjv2ONK4dsbKmy1Yu8DBo0lCLH+RExxEFaJRGEtXYjVFSJQoeO19aTgRCp8sYiLaywqF1QfaRRVKuEciqfNvdUXUsoWG/1G22FIMVH3RZ0dgUBDLXhu3XpXLCOkYu5eeqLIZwWRlJYfb37uU8KQ4HeRhWkWOrVwTvly/5zaUuaz6MxWHzPJ06Ew3kvcYDbkgvJkPlThSZgdf+aeImGBO1BZYyQhVPcaCJl3ZL+nISF6cTBP3Q4qXEKd5AU4iRYUK4T5F3ICiy1DRwTczRj63P4PVAcTB0duNF2ArYEeQeYoEcC2pY7RyU3csPDqYyvizAuNJK7+IBzYjf+s9/gPWMJ7Er+dAqC3FRLy+rbx74AxxEFc6u+FW7O8iF+heI6QI7YTE5oDUBXn3vlSFjdFsVzoGkS880gGs8jvSJko3a2frkEgvx6TzMuWMBYbv+qnJXQPnpdN7smWTK95gPaCgcP/Z0q922c9p/ctHVNjSS6hyZR1dSr13ezplCyVL/Gh3dx7X3zsxiuae4o/49ODJYehbEjc+kPjPOVg2azILSOt8Hw4+i+Y9MBq95MVx+kRQY4VQBJTtOy4QXJSw6LZYPuzTTzTuLPEGYOSBorESPb+6akoYNRNxyh+QaGaaMrVbhnDTfp00BhAmdsltNh/j4YeERca74kpYLRxCLDosR7Z4skM+WFnwQAsKf4YH49j9TumtD6z+kNFbdYk9zqDK4bts6YXAdFp3jXnIm1xYa8hij8I0YcDHa8TWl9mhcyjuWOxED7tONJZO0XLGtj2cLls0YvV0m1RkjK7KykRkFUF9CC1v68LccpMbKFjz2vqQ7bQSVtUMIN6qX9FAFNJ+bv/rt5RI+OYS6h7aAeYXqNQZakBXRquG0bY8MFy3rtSvZYrgzQ+pVBzHmuAEiCnmPWw9btShoBuJsxO6rUxn9w68hINOYNXjOmvqhYARXjlL0FtBIHMUsT72AtCyNX7fbCPUhDuWaHpLP4Mlosmi2rvfLWDSBomyrV/oV2Yy8ykTIGBAWoElr0FbPpTINILQHJHB07z0lXzxOIgHsDt3iaFukDl8sQSBp1j9sG1im6DvPXc8ySXMlMch/xoKEJ3LQIDmyDaGyEcZql6m/JabBUUTU+qWRq+REfM4bfpo+oiDl9gTKaajTC83soRSr0215EN0H4c5Ypv7ouB/ZP519cQ/xgTiPeh90ogA91MorDyXv6uK8EX56S0jqKfe/qlhIDH4/twv/MB/Zqy+qXXP6lD2oVqF43ONlZIunv8wjAFWuUh3McY13RmPXatXKQbKUACrrpKMHbRmRs+TggZ94YiRU0aGcJCMjPW9Zh7gfhGIVcAfuC0InkLHdCBxdJKk80FzdrJYkNNJfRYXVtQ1isZVuExAOuF1/J065s45jSzlLhqAaakR2gHCbS5gA5zhB5gqFD0h1vvTQvgI3u7ZUriqhx5P03RwkkqS7qNlQBewn1KXrv3fr1ocJbkWUpjniaF9M81P46TGwLb7W9ZNKIS7lhLAgv/qhtbAs+PqTNNgW/ookhvNBrGXQX+SyRmRrTme2XTIyzqSIbPeFyTPcouYMIWZp6Bh1T7vvny4JaDOaf5zvaxaO+qjEuS1GN75qAI7XAzvjVLV1KL2v6ajMv9KW3b+H0hzKQGpQ3Sk7RvHnQy102W0sMB8jFRMvdJk/9GTkXeGEPv8Vo7uMwdnBaWdfrQLTkZybcTt4gi575GUwB6RTVh4OOaRgHR4RpGbCurwToySYj6b38lv6Lht5mSmTU5G/Gw8IDMNe8o4KQcZ3y5ALIsAVDe9nxfQPRL4rhk64PzGavjINrhIfotZZ9rC8ylWROjw+rl3S6xHhRikVoM8Fd0rACYdUPM32Cvd+XkKVo/tJjin6q5tMLJv9ym/9xgkxBbvISlc7E0L6MxhcNW7ZbxzzRBBOTDuETSOFPSmE6V6XeTdI9alR5Y3ItRZmY3nkt407+2tfHxXf1HGsHpS+oUmkNsSZ8NjCcmxWUgqpQM4CCDTIh1qk4hQ3jKQuoA8bJQDeSmUwohYFSUwVMrxz9TNDSdz1u2P5JTHxp9ZJMjmfZboKXFAY4rpiSRjpvT9IjsYXq41/Q9eR733riO096o5WSgDrYH46e4ZzT8g0j7czlwY5d6I4jQqXQnIElJkSqsjqnnf7iv221dnDw4RF96MSSjI8P1l2z7lKRqlXvix1np5JXP6u99Qawg8PpGdGNeMdOYUMRXq81T0GNhBgUm1WRTZVIHnDHjSh1HxhQkDxQkwZGjcxPNKIxH3hjwNU/Sk08XryC3OVfyIz76KQrqtYdiIT3VCSYeGyoDnrKkI4YIWPBUx86geJIRxnCUfzHq9HBoq/J5HlbtbCOBMJxX6CQsFQRCTdTvWtSxAp3W6/IGuOBxVqwSEvRSSij1aM8c6CTK219VKPz+uREELP35mzTc6kLbOUIfmZvB/AUrFCe3TDUKGXpOyJdHViUH/4PMD4IjcT8DZ/8d+mnFKX0qs6sHRtM+kQR/RufKNjEcvRswx/bdZlDmxIaV/QSBl9C1ragXRKDiO5cYU9lcO9bSFmt9Jc14k/OUBbcaYOTnYmpCfoeGvOujxg2hrxPlTCkET2MxkENBMnWtzb5PjNYOU0xxcHWVgXo1WPkIqDGevPxOhUdtpnaBhLUVwC26W1MmnADbuHPaMPJ8sg2ibsD+yvg6x83mhkTTdR1SJ4HdPupBhJD3dB79ODtskk59iI+1kY9yOiseK2OKlJxl4FIE+eMV3bNOAABKuvdC3L5Yn983QusH3EKA3t0rAqnmIXu7uOyDFwhcT4ZWb7b7dUm/vWQ8f2hBQL3UDZlG897/ri27qHfkOqUQmtEN7yWPekUPVTQta6g76XS59GZ2T5DWQDQY2l7sYg83+0nFQ9vrq8RkHkAfPUW3YAyK+ysxNVZFNISPi8O69f6NVlE+XzNwm6c1fqkn9qm6aNZvLUFbHAgYH7CdLEqe5gNzhZ/TFyKF65GVjK8AKTH2F7P7BlEenpyjqO9Ym7axtBTDPwqp5zOUfDUpgBFdcVSmX+G2puH74aNqV6IsK9y8HKxRqir7iR+1EFhOxzRnHyZAoR0V53DARR3oc2V5lbpao5NfSt0BUgtKq3g+KGHYzAAICLdp/bxDsoOX6G0ctUioh7A6PQn31OWbbpGZA1ro6ifuW+X7hEDQnPelT5Py+jQDyZ+DuJeIiItdCTQrcl/hrTSRT5LkSCjn9EWWC1ha3xoyXkubSng2yiwctqjajazPa76f5JVRcKP+fgE1ztSyNTZfP1fX2BwQg//wjjXa5aO3ECZ178VA/Fe3jA5aRiB4RngeNJBJjMeuRJGEyCD6Q9T20AUi3WRWdg7QusFDZTaIPxil7s+YoVYAk2Ssknd1DKLbaIHNALa0EeJzGlhUdo/6XRHGrhTzx+VdGQbdD5H11eNyyBfvVBEvENMhVDUSOUb63b5g4HOENXrMzsMXEBnuxrMKt776UiBthvpMi8gWefNHq9W47uFNdAAoBj1CeyNwbneH9/A6WD0vOYNCnKOeOkYjlL3StAx1tkH1bP1LH1u1iyvLIEfbLwpf9aWq6JhSelIy9vrR3wuA9DSyVI7yyTjetK42vwzzm69/6mCC7nGenXWPx0PMZg6DyptDzAvLjGw44kgwQjJw0I5fNQh/lSC4cIvBZsVChwDLZYyqiZALeUJyVM7LB5JUfUikh9gd3YfO5yFiptza9OdLJdKuNbKmn4FTemrr1JwNYIguJmBiwkrgzy05z11Iw+6hSCx7B0jhdJ7/oroWcjMu7WW9yeFypEwHopaaK15dugDKq89KrSgSWe+Ez6xqgb1lI967sBfe4/DU2KErBHXaH32K9IxPQ7PqQw20C4O+S+27Ud9tT3a5Vsf/LEJWmXDXtXYmSzXo4RxmacSggO5wIdswUGMrmJbIv3fA+ngIKwkorLFWaOs0qflG2JKK2v8IX2KKnwClqopAXK3b/S6gveqMIbgxQf0Q1WpZeyTNHUxJ32Owj0DV49VL8XsENnfyV6HcrDGyziEus7C73M4BaP4wd6tn5JEsJQ/hDiyojvcfoQHLT4x2XLf+Fi184f0gmRZVjUunQAaZUCKDk6d+pAAfRI5EozWHt4nQYtcqUw6lhllfWyusfZtTPhvJmJVa2WX/7vCI58S902fS7vgMLxBXZRAB/PAHVAxQDQn6EJv6xz8fsQkUAidQuDRif3xZ6B7/QWMSRHboV0lvBb/zmBFznQNZSY9FmvEakT/KBQkeGI3yfXCHnwlvN1w+EpJKPdjWzpw7QO+UUzrpZPzNcCFAbwbyEngcbtnDN7Kreq4n1eB4R4BXFjJJekoXTuEGqiRJgLGVrYJfispxs5z4oJBFxY6oKUdnmDO0g78b8AZQB6q11Y3ijOio4Nl5QC22CZ9JuvjCptYw+jfN0k75scvAGy2gT2qjJHFoDTltGPsq2U2lpchv6eXZj8lwD/3Rh/63bAnRlWOLQLj1oZ9JYEqGsoP9xa1wEHf8GvOmYMdp8tDc7eUfSPXOOBmvdbanmRshKrVzDPbvZ+vlmWdvGyzFV5zmvgVG5F5BfEZWX0F3SMThSLMn1Mgoo3Tr1gps+Yq+K2hMwZFmK5DEjqgOlYcjnV4N4zWltWZZgAIMPa5YiyD0ng0YRPer+wWYiiieRyZTjkjuMvn0eG3DaX1EgtjyykWZmlDEz2UBA9NNc6ayoxOd8ZoWSXOXs4YTyoRM0Um9Uhpv/lOvjhPTf6km/Sc5RD339g4qCSxtMpOXKAvByuBSvMXFBqkB5F/Knl6kotj2b9fOhS87cL/8YYh2UUYqJDVaJrIPQ97lrN1E52gXGGonPKqjFWKrxOmiqGnoHwsqRl4YhhFia6m0lYX0Cl9vyV92kNElzCA8pU9ijrd10VckoStDz+w7kvZ1E3owgI6veuafcbAOQKcAHMhPm8h1F5GWX0Ra2DBGtZMSvLmS4YXMBlX0KTeitWATqcsePq3/tOM2f8j+DAQqzbMlehCMU+jTw+DD+OedwqidArD9oEcfodqoD94W8+nNdk2TRu0JXp5IFVpRBwfbcYeFkEDNFnCoASmM29iYZ3vb+X6S33Hld+OFjj/jNIKoWWHhj5AmUBu3V+mppgM1hP6KXCdRl2vh4wNtBz5i3jL5sp0OPzEB7ZQgpMdsfivakovJzXI9bpowQYXp9jh1+/qPsJYH3va3kgsTM13GxbX7r2tSq48ckQjjlC1VkURWkqDTOOtT5G3OblSgDMTlEUro3CuucR3+bc00AYno0456gZ1JF6Hsw/OYyu1QG0E749qw5xmV8TJAmAzuU1x+HhwGmRRR6/WLIiikhDCjraPLMK0MSvEh5UU1DKKKnCo3t+kGbU0CBDxkzvFDLRiinRX13Hm+huJuK6Dr/qmmXS/vlCabSe5iZemAUgGO4lpg+4NZbZ3kfWLWazX4MdKo1nr8Kf3ySshPZueri+lUYCsOdnAvi0b7WTJ1u2gKpTuBQJfy+rd1305i+TV0YXhQx+4sI2qm422Km9zSR1e74i5rkHfnn15PK660HeLPG234htSSwkcNYHuMm1iNC9W0S52mliktPgVL5TJPfVg3+Cuv5iRPRCTLUgPDDK4t3Ehf3iG9rnimTLZxBmhH6Q4Jwa8s1bA1H3bM+iVWyweeteDpT++k+OZf0w8XQ3uGoQWYl/3O+jYxW0M7+mja7WSWvYRGjN0MRoGwRizHquIDjDnuHf3HxOXUM7dXgAQ8kg1JzOjQDjHNin94mQLM2GElDckMGkU0SG42ZNIVGt0nDNKKLI8y9oKCyj50tzMylvyauJheQKAmVqjcdRCtbobb4p3DM98i4u4nzttFCTtX3TWuUfx6G5otqIf0hLifYnczZvz8zvzxa9GRZd+yZQ9JAP0Br5Nug5/yamlIwQSu8tdfHLi6QewxwKES6gRS9NSfMixdIFCU+KKQ4As9p0WRgimntrJk6uBEQXuIl16WGD4lLTvOPji4yPvScOjy7x85C81AAsUfpDhYliRsm7IWBl/axoXPOSUWpAHmPzn7Ghg8QG2HjSRAqhvqh8YOUmJbdy6LVB4IgpGw3PL5R8N3bqwLWUl/aE2R/b52p3Vmp+Tm6rpuxX4A9tPX7U+wrJg9I/FKQ+E1MfgZ94H++WwmG4TyLbW+AZwhyNOCjiw4pksm/6ezFqOBQIS1rFRcJMthn/WYHcj8Aw7kgRUbpH/O0Lqh+pLFc7GSEJYkNijBd32vYBP61y3RiGNbJu+gadLY5OGjIZ7YMbGytklMrEN3ufmwZQcCCP5xH+lPYoRu6DzyN9L5HJjRKsKN4SHTy5CpiqQ8o+XzznNgfENCKXdwGFhUuIQ/BgQ0TXrJouBQf3HjNc4g3U8qfnWf0uIW8c9Jl3M1hSLpV4Zyz5St2PGVw9/ebstBlB8HXuwgJQPhOn0E1JpGS5vYhI0n9si3aqWTTqynO5xO5gw4Tn5vN4nktQ0D5+Yhi9pmOv6Xuwb2/fEq6LziHditwkv2m4rnMaOb/A/t4Cji238JkBkYdrhiD6X17mvjRRYn5H0Vwg/khsnQFm1NuCjv3WQbRtCqGi14ogKfJJflCiu0AVUgd2JWVUFP9WA9Y0gLl0yF7ghqouBBya9V4Jj0z5zPQssmYXigPmCQPUv/TWqFXMOKBxlcy8y4thMnPQ0v4pZ7uy3h7WfY+Z5TXzFhLxvkrmA7q6PFjFcaFUTud3EkE74/Qg/QLJSwpzShP3LihwrMBuUmkWfDSSrCtPlJnXgdIEpwbOmD0pVOTzfG9nBrUhgGACtXA2lmbaivzQwjicQ2aAPrgvoaIwayvlHoC8ut0e34NIf82ALyhaYLjLNGaqdFe0Sgjj5vEhdPEnvO7lPFhsGg1a9HsJTm9ae5LA/UsWTmHp7eFGdS40OdeNVNrCYWM/1yLeRJQWXj6OlRj2MU9WjH75DdS6OyhaPKJB3QFLKoHvgkmpVXb/pd94+HqKoEjDVxSgW2EcKFkbX7DtGX5smqJRsx3TkcBZG7zbVLYPfrpmoWAvXZE5QRH9WipHr/LniwgF3XPwTwzlmMUJBMWRU6GbhtFAfA2IiInkobU77wceF/0PbiIQ8kOJzziJ35auJ616tnywjdnFG05111h9eaGqtMIJwYcUq+zKx/CWyWQ/9s1MCdt6SnbZrNkus6mb4HypuFWLUliO9ydY2H4JFeRwrayzFsWnocVIUR4RKNezdDg67IKH1Yvqf75B2S5BvDHUEqncynFJ8lphCAlSlHR9HkxWQqb0IwYFx1/qt1W6uxnt/ZNibfqsJW+ljgE/gpu4VPcXtRyRKU3WOTdY/N63R1zw+MnjA8nvW/UYEz+3dZEwo9/7iaccWucrcperEdCAJgELZOmz+QlgQ0lgqp+McUT173tTqq+NIEUtwJ8vo3c9TmUANE/lKWLMtDCBQxjlWmWxK3oDcFZuEBp67w1PsySZm2FXRP3R+X2uTF8NctySaBHpqEFBCU0W2pNzDvxZI8mJhCVDE8bTtuPb7IZ4AykV/TYD+ToPdSQvtznBkfwLi3Lv6qpOQVYzxqzoxtSrjCW/O0MXf7Sa9h/olrV4zVDl5Dk/ZrHonMUKCs+5sCe72aO5rQcoCePFgeXWAi24xhnuBfi6B72PUtlH8pwk5Jrry4FDpa1u97oRCEgaEDluqbwfy7BTiduesQwfUeNg7lSRsdUF3qn1iK7GGRyI4dtKRbuEo1bYyk3sScP7Co+fBGLY7SJ8GMDQL8a3iORG4/tjzCXUkQ+R1sEYZciV8dh5BvsTmvovAoE8t0TFIDWhyOT9cS4OOD3xYRxbXOsdlaIUZfJSSNpazDN6AKH1f/QGt9uDXPq2TyAEuNX1374bKfROhYOn80dDMmysSzz0PCOcsdAyH2UCduVDGUbAH/x11Y0Xho6OGsku2a0nRA/feMvgJWJdjQ1eSB4bACmF9uG+68z7eAH2nhVNGdnYvHiceVJyCOxoThA/P8MVz3Us0NZ+HsyHZvurtqtQQTOPXUfMZmQl+590cvcC9d12nujon9FApmsIEzk2v1mkvusUMG/MnwmwgHqkT0dilt0zQOOrJ2sfLBvqmVl8R6aG2uPMOxSHmSsKmhZxT7jdQjPhQnZjbrsr0YkSngfsIqDVbeUdjQJDJRE97/wII+zdBILNRoQ6+OtgZL9Z/sId0n0RuQx3EpcsRzOa2A2CRHZF5Q0uIj4YNOT7/n/MXlonKsmc17bwJxsOE++XU9gVl1Yy1mLzHuqmiBkbsHB61R3iiAJxkUdBcGNk5ZFJKoqmD4HxZ3ofbg5ofcUl/kr1Jd2Fh/bxSj1ovWSDn5TBsHT1MithbVIJ9uNoRi/aGNMfNDuGcjSigs7vrxgOCFQ1GoOiqA6Zu5TFRPMO/k/SBFakghJZuukF1fVJx9yH80nE9rAe9+9j79pP3RaQNibDQSSC2MaBnjgzl1ibiTzfK1TW895OQKuFYhyInq2H0QbtrvtzcnGupN9YeNx7bcMLKnZzwCb1WbNM6xEkDR3adLUcBXR8TdpX8kTknw0Fzk2aWaSpMbxMUwvXcLGvUcUDPHHS8oLtHwTuBNAT6VqDyUqYckPIzvvUIwHJ0Im66rxfppoluIJzezcIc53pAC8EevQ7g/m7KzQcx3q42807PptUnzVLo852yuTXii8oZiiH4tnx8I/EF/KgUGAMM2syyunyTmvPRE5ZodHrVyMq3B39Hkg0ATLs/9QQSggYhao4sKZ25t5HHa3c0LPu/Bu5/H/LhEQPismFPBn90NQPieMHan1e5iXDnlFwFuHzke/PT/8XlC/U5YvQpM8mCaR7LsN6UmW7LVKoGs/mTBMvi8Mz9n5QrPAqBnk5QgX2AE2lt+l27Iiml8JOwC6fLP7Egaw/PfGBKUcelep2bo+K0eDJUMaBXtcw0KYR3+MVFhzQxs1YM6E8ej0bxY8CHNoPOX1zgDfdKmYzRLwmkmdpD9q68GxudAPx7P1h3Bpe4pp8TpzqFYfZ2oGqfqZJ9ro+st7/CqEPBMxEvdDuE9zcCh6LGsShb3sHj1oUddlFU5H090kXavNwy/SvefaPgSYe1okHKHHm0hAugzc5B+BIOiuzciV3TgKa4MKnahS72Gu3BhrTFxlB2p3TuragOJB24aqhdsECUMl76IAlV9B75iaeLXwX8asuTynIUBiew2AIphIjyPNwTipHEvJaM9jE1spi5jsFefsF8AaZxqrcDgQ5ZY/qF38L3XBw+IrZFaKHKlhAWQJGfd8HonIJ5T6iOeFJey/rS/BzZUbmDvGOs3s8QuZ0vKX/4YWhcCUuDVYNdOtHISyxe8DyILuUT8ysPACf22XdBqgvngRf8dqUCH+1TJjFKg2dMGED6GPG3zDtG9LzkSA2Nx0FqoUVb/63XxipGO9WKcxzGCrWfhFE9uvLJzJEp1TGoTovOnQ/GevOfNQgRgViWPEPml2YS6z3WY8PF4bE/Gd3Jz7DWGWT0QWCVADyi8Yevt9z0BCZRkbjxS860zNE6tvzZEe0P0OS0IGfhRAK3yp7OIGXEX9J3D85SqQSVy/WABUizwvlJSARQt7WxUNV5uo0JzNw9OS9InmV7uhAtWTCjOGAzUXQM6+yGf+/DT0y2flGidKNnRWpZ10OsFLDU6ZE/2GzKvwgXNTBcL1SFgTKFyOz9l18puT9EMKo1MPloQxSExKjNB/36lp7pmh8pzlkRz1m2H1//HL50M2t58Bl86syQfubdEVHC89kzVZiwNXTmHbZfrc0ujVVtUkEZDQgnlBnI6z3iYuyvtnYHu0l/yIVsS9w5FDF6Ng0fIjGnyYIj2mBr8NLPT1FB2x3eRBnlABIxH/ptzmOLoGSOcRb19kRoXwMq5uwvxNgWJI8zfbTKuiNBoM5OE4Mbvz2/1eTCt/ujTV/5w1NkG6zNdareMcHGB/shhg70KFroTfhzL34eMK/w/p80BAAof4ZgFDZh979oR79mZqfnCL+XCVAJq109ejUYHLgKDpdbI5C3kt7qLbjnWTf/3M2Y54pMaempRWlYeSUhXVgLNnbIN96igxQyTmileOrdwYBIT406I6FTj0x324e7eT5kosgVzx6GSYpgbNdyWgMqodJI9/AUbfEGjsq3ppfw8HS6+65yOjXpxWkBuJ/w80HNljely6S0ZxyRthvyZejYxVttpiAwSqY8qWlfJBsIVE9vlji2EJmBUPHvanTZJhsRBfctsugHJAYrndk6/5930YZ0Wj9oqmHJWwZc1/Awf7dCrJn7QsFL1i7HgXE+hSG1RNSE9nC+9kC/4L7mw1yTIbpnCJUDjvZPQV7B6zjPBKd75DvOMhO07RHhul9btjHX0B1c4KKK5W0OKK7v/nEeyHG60n93VCuyWE8ntru19RL9kq1vthsnZqEQsOhI5DBiKo8iVcqiXJGofuL3ucpbtXDB3D1Ac/TONl1FBfKllkPozn/I5glMmcZcixjAT7grejvrGZNEsdi8kOU8VlvTfigLnSvy/mlxQ8pi+n7BEgc8XBCle2qXnb6D9M8gcN2bJoxBfgwy0y0CPoG+YGKhaGMDxuxbD7nj2wBKeSFLESvAwSriGsbQrsh1VYHC4+qzv63cjt7DocJOyqYuVq2pEcFEWexT0/lwvnhqCu5NXuEx+wzdsicgdIjkkvFs7aKpBMnHJ/I9i5FeVIZybMRlSnMNvsSHom6LSQZZdush4HDY5kt4HSk0r8ckm9meJ6T5rvhE73Bj650iN+PtsOKCXqO1YzORSbJz0/QxmUJK3Q4BQg6SLXkji0Wl+G1/t7U815I1u87e0QjTj91bbj6lr4jYzVuoSlu6l8rvQUJ4WCCagFxabc0MdZIC8MqV5TluG2CSIv55ftpUf+RBkLhiyf5nya4qsKiVHrIO/IEyZmoxkmHd/X+y+55cISr60V51xA8EYksvRw2NW7NJGzbwWWaUtxb8GNKxnoswabnibPfrH3j2GgpnnRpX0r32+yaiNSZaZr8WR/4tPdqvAY9C6ITwlL2LP3O6viP0k2R1Wflib4rVy4kCktYiXwj/2NMBL8SB0AchWoZpBLHjbt/inchrcz9659FDTPewwiDODhFEtneYwAdc4A3ZtItJwgSEbGqx+YK9b3aO+QgzC0+j6yj8Y6ekqIqbWL5V2FFSgLVMrMutU2FnpdFaxngWk3Du9TenwYDJK+0sY7Q+vfLpccERyvN5E15FUcBgZQyMBVDZC5yhptL+FIVLGf8TZ+wB5C3GcanfPTk9KP4HedkS/mlb+YhOAITfTIkd573CbU9I9UfH9dnDVQDOHnwVXMoc1xHp5g5yDclWkuOb8ohdyMTW1wUTIogUwi3I35L3M+nnFjdveALyzh7pp6YT0azn+M1rQ43LQ45C8+rJNQ/Nwl6I9JDXz8FyX87tsuk2/h7tGQqXtC5fNiLoDAaQj1rBw9OjJDfmygXpo92TTNCMp/WXXghlMKPgv3Lf1DvrWVF+8R1RUnag7q3t86bLcbHikx6NyRJmOS+YJtmRh4B+HXN5wrNDCBytUA2i/vBgthBrVNE9iCwOZdpMHhbV7IUElR1UOYQEMv5TNQ0Z377au0jluNjXVERJFI83Ls5lmGekScdI5ZKS1SBLU8vHGd5hAy6GoQzbC98dfuBjwr3izFkNORtRbVAlVEbEHkGzzz1efol0GvaS6KQOwTZD6DEMNteGfuQdOgykxnCwWKXI8QjNhGr4lgZg2KDWpDUY7hMsmWFj4QPJ+qEVOTAQLvvXpvUHn6Bg1lC4uApD0LaUrnx3hURWo0mM64sZbHowJYZQQ166XS6UqCoL75CvTU8cKoNX7KZHwAojrlPUo8gVbHxucYvVA2EuIaRZToaPzbv95rDFjhJzwuREtzrbZobpvJ0hckJrytNEtlrTpL5lBTm6ImLnEwIsGAe9OBbQ5VCBLd0uoKkRYCUxW2UdkauGXKnq3I4LwuC988AwJ9RMIniJHRi7ba/URTx5MWFecchHQ/eQzE2Tv1KEemFYh3BkNkxmOqRZeDejStWlttbNx9u7Pnpoy4O+KljdRbu7vSOlLrjLAAuduB8w9AczTz+uAdXtx1aywDFV5iLHdUXrZcTkO33ae4Wxv6pV6fRdipRByS7faH3YP0+x2wkABBphvzSMnKWLWcs1lfF5xtFqsBPxHDQpDgt8NaCoK32GgvPW6RlfqJhgf+eONScdP5XbkpsCcA2dV/BGmTsr+ptqp1z3+yu2t2cDlBm/x525Q9vQvGfiOvWceIaVZ6I32NqaIz3SGDlEz49HLSei5s38gdKrkHHDCNqRJSRXwOGTMMrJcWEAA+JcfsUvBmPjFZ5/ITCS0/pSlYqjWnJNvZH/AWoes/DhQ4TffNs4ST9J2blHZ+V4d+56BGXIasQheNSNbq/+mvvYqSNw9yy4N36PhKCkytbJ4VIRtL684R71AkwKZhRI8smjH43XYsq4aLeC76iat0yJQj9g5ekfg1as3qtA+VOAu4EpZyrl8A17IoEddELdbk0bODnpSvRw2De87kCNLGPD7x88bN0rPNsWW8+GAFCs4n6aRBdGJSXqE63E37WbxE4ZN2FgnAeUdPlDPsYmUEVBxA4Vv+f3qDecL90KyX5Dr47fkoCG2DWWn/uGD7HnUdW3879ueNvw2wqRtjJhrA6fgd3vpBWMgytdhGAppy2IpBlcFbjslfvyhrkBphZQo06EqRRAXpwNmwsvt4AWzUgx7l4Q3okjYmXR+DPCEaFdo9Z0JBC1kZWgZ36TaIvJl1wzLAzz7jRDpt3KxnRnN6zJkttRVkBQDQ0lI5lvKFV55FS0tTzz8xHMFe9sv4gptdbkrDLXt9ZCaXZueKBRoilfGAr3RMAwLK+INXnR1+EFilNgg6pqvEWJJk0KbzlkkitE1xYOkObr+zrG+nv2Cb4oExyU+V23tOErMlZ4hKMuIVQvYj5nySTlSJ8Yfdn3CK92hQEip3vaMPJy64P5qdqDPE/95FkVdxboDXoZNHUW1J0JbbvxH8dvTnWO2rzVEz7MJJKxZAciPhh+3RKpKk5F4yWyLC3V2TUlMAe7jaRFMrsurkOHrDPgak6XSExAU5QCPQPwnOGWw7+fko4D+mN9UQTxV2smH6uIo5n2QKcc/2w8C77bRnjjQfd9Jz06c3czBKReyKXtXKlt6+pjGNTA008e++D4VFWnl/7UI8UnRsDudtoU0eud/B8eUoV4zbANlPWiUvbHvZjhHu18rx+nePVW9OwMu4JtEixoCwcTv4ohuMgVd0h5i7EOB+wxPNGOsSMfIuCH21yqQVnAgEOSBztIKybSGFDVNVjQmCggTWGr9pn4Q+EyEp7DoeJtLsu8LjNS5SGQu0buF6F1GBAokbwQhfWvM0Dp51ot7ih3WHY5zjFsgUj0qhAPhB6FeYpMXrKJIlw5QGC/oQtFvZr53t4ejSdZE0xp11de/ytd77nsOqwkWvqpyA392yIvJNP14F7rLdV98mUkPRk/xfhp/Potj4h9Md7GxHk0XN2PLWXIhCYQMsdZj+vMC7EStd0fdCet95Kwk6FyFW6alllShmIcZ8Pvag3pkXmMQ7PkMpGzzjJo2Y9kPGx1FU3qZS3njGsmPmqk7bn5lINo57sjw5Ylgp6n9JsGOaboFUvHE1teFBzjp2ukt7IRQ8mHu0HUyxFsJqhSsW4tfwHH0VJrdw3X2RJ7C7946EqFYIWO60WFO0i6KGXdCUHnz6AQ7XkziZrKn4R9jLgL+jfWzm3atorVudg5xLEs7BeiLVP4NqRDE677xIL3wnVNLy7pABP1vIaEKn+KatbkE9hRFZWWDdtQcjudh1pT7RUxQVT1tzxUz77hkPOjNjGUvT66KkB2TTkvjallIwJBerazsLTPro2CZE+H0Cpou4jGtiKIzgGu0O8IBpNtF8jg19/iquzzvW8DNV+srBX+KPRH3P42VAmELBfHrYRw0zS95XUm3oeLMvxc9GwIs5pOJvK7OnfIYFhtv1G4mQXKyCZdhjXXgXFDLHq4grkpqY0bus3by/Xcrdva+fGAad441h7wkm8NXfRMftje3WCBZMxoLnq5zi7E8+wEginSL5rm/0FDR0BAAlYXBlTsbn1wOh91ERLseyZdez8KR7JYI9IvI+391DBLdtvRfIbPxoAW4HMzM9Ucm7ZKEhbeWFq8g706OiZfz044M898GWxmdtFsMAmEaFBi1be1lBgk0S1Q8JgRxxBkNrVXbtJJZckfE5TlaZFtlZiKiaw2ey/EnMnDOrq/zztE2D4y6AHcy7hEC5kbfFXmpzShf6GCP6eTiQ8jhFTBPpWrO4uKQB953OQe1+lt8Y3wBc8+3d2EEwVi6nbgCWyqhYz9tif31XLnOBnqFm6nu5FviyTVnS+iBLJPxmlpC6k0Vv7WbM3SJBQcmXQ+8eBL2R12oL370d9/uW8gB4lg+W9MJuRVqyNypcq/M6kcNegai7gI8GES/i856AL3dBJqcHyh6fKzYPONUfkMw/4uWb8l+nLJmhioIzv+1PyroGzF7mc/IBnRW1sRnh8cl0laCiegFJQBauqbhUPqWjUC5qujTMZVfJ/LjUsT9kCtDo2DMuB79dRh1F98EUnvXKKYec7ZrtjSdBO2BMedtZl92kQjDQkKRIa6lwsVSNWlbVEVnvvJ/nlfeYEfYgE8DOLHlxDYz1vNJkxafaOWCimc238Bg3hJb0zeDwOqXSL52aWPmx1TWJ9UuJgCCgr0uBeEZdXI6n71gzEL6EFMoiZ8HHQJR7jmpiHaCgQxPrbPbps3xXifQgPVcFrOVYI+1kMlFqK5+0tXN3CgNJbN4sQ+qzy0XJg94pOfWi7Kb4wOy/Mli+D2T1zsfuQ1nvYeinIN0cAcMrQjSzDigvByA0hRnnugdU157TTMvPxfHgOxcTvKW30whTBG94rx3YY1llLFFSrcNfuY+drBMZqNSwxQRRfxrRucvezy3xLuvrXcZVwdn1B9cfcNMQXxwLrR57x01Dy8rGOVHPd1T3yWfiBo7VS+4jC4w/8noZ3W+XkbwUkioAwoS/f7CCbXp7yqtyPGF1Pa83K5i8ypGsU/7HaD9Nh2PZc9Wu4GlwSswxRPFrghxg9xM5C2ful4y+q4N/ir/aXSDHiySSRZUS+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57200" y="2098143"/>
            <a:ext cx="8238523" cy="2153198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ubs11WMMKQMWY5b07L3krsaT20JD06MnQKD5tJA2hZ0y8eNH59O5xkHMShUFTOWejkJCOFNDkvRytWtY2nQeADv7rwmjhj5ayLJuAooP8wh63e/+Ob/mZD0GMiYMptkIigIqopSHb0pUs4CZ3iYOSUXyy4sS2s3xtMLCVfzg40h9te3aCwO210HOdgfHjfMiPS2HXAHB339s5HtFhRibZ0L6I08R9RUmej0qidqbosD00/e+1R8ysNxeuT0vnMU+U/rDYPq0qH+1bezCcUhrSIZXsDP3N6x6mFXP1Uzxlzj/AcqkBSuxHpMVsYUwIukUc0J9nPKjxv6nQ0RPCReCVXbu6cxqj8wbUTRgiaJ+mE2EEkXHwE0QSQ9mVuRMRtDd2fpecxGXlB9yDddHLNy179o/wM5nkSPAL0xjCmha9yiNJQmLMZ9dWXwW+sL5WQ4QXrHsRZJvjFOeWAummpd/vliRqwhfOEmJtr1IDDxEwPw3iUQmckfpgbUo+OyRQ5j/uYnOm2NkbRtMTUjIBMumT0urxw9EbNohEi4q1JQ4rq8J5Jls/I5sGXx2Ak3LaiWZn0vjm3hgg/BX4AGhkm13a1yMDQTeSFScDJG3ukbsvtgsortDYC3B951O/gKUx7jTALgBA3YRwE+RGgHHxC6iJemt7wv4UdTw2ODMal5iuiJXrSUDMKPn99Im5d8lDIIpECl4kmcHa1vGpUS1m+n0s58+S/E1NAWiQwR/QTjJu80qOHEQUOjDtba4bI2PlEItj6M+KUaSzGdiqnarpEO4dcoLAHAPB6WZg41kWh491mjscHudjOsMfIJ0ZAkeYEAq0pRJ+7odOVBPLbinmKUMInxRlEZZ/U2xF62vfZ5q0EG55EWdwZuwzYIIfxwo5bufpMBWGkznmaC+eZNXfCu7AGK010hQplGiSYsv57F7JE1GX5pLOzHvSgxzwokqfkRA0q2QmSPLjAF06YAz5L50lVpIoeT0WkBMyRdO5s/ZJUxjNEMhPhUeLnsIrreHkcaAfL392LyEbKamuy0W2rN1PDlxOtS8BZ1P8dXQlOaygfI/iT09S8/IbO6Rz67VFdvj5z2RDomVOH8uLorTKl287ddRMQPSIbKA9qrVILtbinZxAMEXvKIWZESJIi68MvBrlNyBb25Fu+x0jJEFGiRdDsYiS4ACzTkpD0mZ7QUYMil6+cQ+QC/fzyl8BpW8ykjkjFz5lohOjDdFEnoS/5/mHwOi0rpAGqNjqcDIIXWLKGU3fYegjdAsceNQFadj2xXF65PcR8Rfv1wIO+Un+BF/P5xyApLT78qD2SUZL7FiqEbjwWubuCg4szdT1YE/VUForuqSMcruKrMmbWDJTaAdD8fdAMqzdP8J8+xTedHLtQ2vNf/b0iGC8ymRb3QJH43dFafxUB4/cpSg7ErfKSqvDrdNj+QjWMN+0O3y6D9zRLLERpboTp76q4N13kFaQP0ZIAyWu50ZINdWgJJ+XM685YdHT3hcZkzjJPXKZXd0gYglOcT77v2/uQDpG1Nx0+fgFO3lgvlI71gVt8h1iJQI7myWFkwYvq7j2lKhlAxB2Lp6CmTquJi0cG6suhcs+3Rfet1T8yCk3F2nI8eBpLUhk5oXsjeE39lYfvenTdqZnHV/272ogD1P9JPWKyHsIXtAGyjhf144JxuiE8uGS0rUXFVMjo791JqQTZQT+OVqMBqF7RIRokRpZ6JnHpB2PPkqrGBbMOHZaS9cvc1ztnchh1Qpj62TrYxhXM/IZ+HwSdqkYddQXMyrDPpg5cfODFWxdrM6bAvaVtfOhNgFD22pnJbBI8EUeyTacy308oagzNLXw3HPXduv9LA6AA481u799RmNvsyX5TyGU5QqVNK22cPbIYcqQJy6HKCcM8KfLE3vUXasl4H9OFVH3TGDtHG2GONcx1hrDvk+EI4X5Vr16eGQALyb5Dq74G3LjPWDSlK6oSsXRhsc9765cZ/wGZX5rLT6ZOC8eFS4gvwVIdqUrvOpj/YTmTbbTGiR0j/Cd5H7OdPFP/nBik3V0c3Q5jfHrUva1afYd9oZMHNm08oQahbhy4BvtUEe1aDBuE5pWCh0AEfLMJad/imBWP6rcpj5KJTkZkscygb+ieXAvPah87N7bEVBnCTV7dYJBaJAQsUHN5XfEX81BQNnw7GwrbhyfyKbJcDTrKLowfW/bfyAmMZBxun1qGni8gF8p/mCAiIdApwWr7V9KCti1icFHUKOzX+s7zY3s9b10dBY29tuFgvaDdB5vytDBficRmZLZ7fH4oHFBG1kLeap33uTDr+dCQ4dVdJDDnoMbujtXtP1jlASBDje2VCGm/oBhawtiuf1sruULho0ytnMuzDhCsNpBF4GggmHP4aWDR6awyDKxlQPCp/qyi8mrrRLf734xdh7//E4pxPxMtIkG6gDY8+iBIuMfwzg/oZR0dVp8Hfsoy+3gS1UTIkbbbdSdvgUstt7aNI1BQPftBcknn1g/V75Ap/y513FjV0eDW4Kc5llAPLN0qVC1j2E39TMton4EagjbeKfsZsdBw0fNHiRpFXqrTwLaKz4a5/WYrCwuFVaS2awDoplCAcH7n8YL1qa/9abx4CxLoAzjfd1/cBU0zq4xxEpXWUDSx6Fx3Lho/1QmYW6a1WbWiBwGb6UDYaln53+ULkLxRPGL7A7cgeKexAiQ3/QThzeBrMbISU2M5V8+As47hln/F6KxaEp9ZIb/fcd5MBW+EY9tShkBMAE1ztVia6MtaOHcvJeJBWQ6ljzB0GbkTAhb4a10MXgwo8NcryAVhrLZ9DFVcIxevbxNfzdQTze4jz3BqCV9gP7hzOWMFTzovCYKiHLdNir+18rfKuj8czhPbGqwkunDLXRj+bJ+TLMNAstZzdaOCyjdZmt6oOisdw5FkTdNv2/KZRC/ZdcRk5hTiEZJEWhe8kD/s853BggRo/sfStYXFsuTFV07jqo1AKNHuA48IUt4ZGW7zsPtlQep4apEiAovs89OlHaA+or6EWBLE6Je6gtE0beFZFSVqDekpCb5EY4nScjf9E0/dqW6K1lc14PZ19P+wiaYAN6b8+wtXlNR4rpA7PeYQnB3dlu1lIGgq9Syfx8DqLQrQKY4QJYs2wMjcmr71o9tEeZJucqWLRVfHrL1Fb8djPNOrlJCMb5hFc0UNJqvFrpFt6ZLfMuqUmVrLw7U7hIACKhLf39vIswQH8qGI9ugqyG5qwAS/ywu8e+ugdU5GVc36duEUJUJSh7yEqZRpjPczJGMmFlx/PiRYfdXBkvoadI9ncI1GcTQhDnAeBFohKGv8tIHCuv7ns+Ie+jdSQ5pNPbjpf3CuA0V8FXy2T0xAACGMDxUXRjifN2UcnwjnoX+5TyL/GBKDT+/zmeBg5L2wshp6zFQOmvItfIf7kP6OGzhkhtBHt2JkY0Y2fRsvjzL+zoxWrNbeRsHQkpcJ3GwlC6YrTpemDgkWBgYM17zbfWHNGR7lhOB/51NGcUqeDbSe8bI4gew7FqoZUN9gP3AQzSubfMyKdwjRQbmNc8LY9wYnJYZJbrhFfJh8Ei7/Qtb8PdLVGLhCMkhDX3Cr0YAx6M/uxWvTRbRxP8q1c7oU2hD65a3plE/R19OGjR0cO7KydQ4oOtmHILA1Qk3bPK0i9HtT8tnn9iQoT7WHh3zt3yJxi1gos9iWKMXPRaERweE3MZXaIa+3SzlsTkEqA4IWsx49Tkx/j68l5+RE4saX2Y2REA+lhaW/l68NAR4Yse15cTBrfheON0NRBVg2DTUvnjzpMS1JdgTeHdfXuIISO2FrC+YJiVw6AThKrxecdA/LtClsVdv1425nthdGeTWrcC2kq2dAZ0xlIHhvF+nL8q2dPqaeFPNgWTMZ4Qo5moNIPMYr69WYMFLGXJvti91GWniTBxklm7at6eXLJjVjMN96ICTL2gjoZ7CM/ANhvJcDUjA3FF1J3eHEAwy9BL9I+uR6KQs54Ywz+cvvRI3h3CAfEv4PBOh3EyB8Pl8u2TpebUbdlXyQ1j5Tj2T7v/da2bFj0kU0Y7jBpMMuoGZaKcaA4z/GFQa8UnPJai9+ceHsLarMHjgA1AP3JvyejQ3YXp9fhcatq1m5SM5a7/RlU9gkoFS0ekaHORTzwT1G9cVnYgX1JnP4BHthN+8sc3wDP3oq/CkUTe5IjJFANFNwIUosOQT1TlV5Fh0iBEZDmFcxriTAbtTL1Ki2l1WFGgMVtD3yvDFJlULkYj+Km39Nkvzq5KszYXc//6SgxHO6Clg+zdfJrKz6vtlRFM2+1LOjv7+dZfI/tVfMQpPEeqNOFpnKSzNPhPBK6E4uPu0FiBN/Z9t5TTK4OWgQukz1nGV8t95DegS5vUetATw2NyPK/cGQ5LHtOUms396KOf1b2Jkzxe4XztDxis5ciiVDxIJxFsCb6pmCewmXLhICQKT1rGOCCrGOx3uordf2zTqpcIViKner6ccoyqyQvkjhOPkogH35iJOVQRuYk2gDcvoa7JfLemahxflnDlEsXDd8X243lyLBLxYwmI5c4uM2p2jOPQq7/FIYiksKLnPDQXzwIdQPWgVpo+uEcJHisniS04LL3oOrEfhoJUOMkysvZT3uCqQYYDfQGV0OSHf8P/K7H1PwSo9oPEWYmDWWirC/2ZcJdpJKfVNKpRVWOauw2ZW1kB2DaETfPMYARKBRIMDwYh/a9B+7+0txqfpr9dHUOdQY0XDlVQaSp3VBfYO+7LBnzhfNy63Db78Lnph93EsJtpBHhtlgNhRqSyB8GcWZXggOBBTSGSN784EaKEkk5oP+XzRCOOAzT3XuRFcBlkn8r+No1aYTzcHbFPyuKsIobAXfu9cIMxvGMMQ6/IqUpe73htN1ltO2ocnAR9vvGft5gtDRnIgs4z0nc2locqjMHrKJ9y0CBdXHWPSDYIW9BqXcOTtN6ADNVuYngTLhVriPfcWMMWpp5ta1WDfssMZ/OdF/wONTFBLk0hKLCDez3pXehliGQYvfZqy6HOT54TvChpfh/5DNYf7aFP2gxYnDiwV/qpB0JiaExB41rutbtqYD7mJ88hPK4FUVlymgmFROLEXaxQYiavBYeARG6S2O7ZN7dZrbBaRNe/yUtfIayL0RT0dOjcGkB6gHzJ//zkHw0Y+bhEfKiMJ8GuVF2DAgIVETWjEw2BQKg7zAh6tG/5SEQHawqWqoe5NPRKoxrgaE7Y624ocJsaXjRyHgmoNDK5IBZf+GF+jfEIMJCq1XIdKQVll9/ctz/5dfjRDlz5hd0v0pa5wpgxUrqb0kqGv24TaZ3Mr8niSf/mgpvP5GXAvGsTIKziM4eY0Nbecib7yNwSZoeWVjDbJpHISUcS5Im3pwOHMSXk/7xxr4Y8NNpjVvoFQHbwdMOF87LTkHXCpdOcsvqoL0XU9UV7XO0etj4uFprM/XRo5hJyyHVR0AVQ7fnEtGy6ip1MBfHmYlQ6PSO/vjLxUGv6diQvPQ+jmt/sEHvVq4trfV132KBZkMbY0AI846i4iU0I6OnUv6KQTDGe9PMxrABy4hmgvTlT2FBCjp6v++TyWJBeRG4Bn0i3wezzQG7fYrHgrsFDPkJTmzWuAy/P8EeGV3aRIKQB6qH3vpYXLLtyVyB+rNWJcSr8sJ60av9aiu6jC7Qmemu2L3sTghmU+Ko1WYdXgcZcISFq1LNaYtyEGkB6wxwdfTkxsA/hDGUEH3zjYH8B+6u221oPSjI/kZbYcEZvvQHlTVaNbKJSJbI34i2/jjcbaUg4JV0nBu6rXIYPioYVGFbczUayCpEK93zsEBYOAsneJOoSV1GnAdu7g+wHcAQBJ8rhUjirPgg1kuMsyCIcygJxXw1i36Z6/57uo8tBskLfIitPLsRTN7AdcZ4lyyNdYNgTLoV4cdmD7ir1uRTloyuHifTmdmuU5l5mpllaj0euTGNohJ4BqKo26GiZtWlweCYc1sFMZehzBJeWrYSSXZ/B+XSyXNwHu2ncYQin/bqH9CYPNeCPjcNgC1rWcDGpCaVOwy51myU2qhgoeI3MC18TDJyvNYjh56nztK1WeoA3Zn4D2zKjZlULS8Ih7aBsqtMTAcgR0rwmdpO1sXt0q4WVcChrxYDjk621cgAEAug4ByyEtFA9jGnQNX8qWtydYkqCK1pEx07nRwEs8NUB8XM5/QRm93Pvq9WiJuCdf4n85/Z9YYGHWf4vKSZhkUvTwvyBTWTSxqvyx+3fM4ER9G26zGY0CHr2wbYgdy3n3ja7xC6z+X0ewquj/Tby2S3noDHHwb/+gHgOko8KHYvn8/IL0sv1F4TdusQWYu0qwTAO5tFMG5tD8pAeKuA0PAnkoqKe46qnjOSLjLM4YT4CG2M72AeGj7m7/p8+A1gC3uwK4Q5mhKkDHCUS8wRm3NFmE9Yb+qXLmRdEDtSsRAdlS2esLNsy1ayf/A71E1hAlHkiPA2rNolaL5G5KCe/5N5lxJbDDZkIU9yZEzViWYk7raQj3ZTnlXNUdaNzXNaeSsg61QH6wUl7EE1ApEdqdNU97z3N1YZldVasV/afMLKOHrQS1i9T0SlbFXSMHK/EOwsaEj/som+Vqsh1L5qHFTr6tGfnsA6OVq6ilo1DU89iMArORgPhWp1GSo3VjgkyYYNAACBrAEGvdzJhxcUYQHDlofs6JIDMWWCcWp7lSWVBgozpYDkFQOsgwPN1MNlpotVa/C9IYE0fQiWy9qYZvPlWQfiX+obMzOnFvEufcoJp34Zy9pEvQ+rCPhg4+zxtzySrBifgEb4rDDm9IpHqO4Nst59AoLxt5dvyeSOu8nHP9Nx+grqyYLsXr/n3e9oSvUY+cVPpDD+2ejIn8PWrYhlhmefGEgk5jdxRWnC4y1KhSHGYGXI45Ze8gx+3Pa7a71jsN9FZagWbPa5JGI5hGFCS+0fUaAQ+RzoHx/l/tL/1635C5aWTRo7UKERgI0Op1Zc6qrT5LuuoqqCR6WQnWsM7U/5aBnQSS9aaF62QE4mvK7jCEJ2NndQHesyJpErMJPjl1fUAtyKQdPhCOXt1Qz3OOQj27bJRyORUW/qFDhpqybGd2UNxGa5IarrO7GIes9bjodxaapuowAO4HKyJQro0YvndmZq6PX4uJgfZqjgI77h7vru39d+hPWUU2WvqBmq06AySwsqkAEFz0DWa9lpmTGhr7vMMifWSzfTD16QrbqdNSarpv7Bh4AxGSCU6qYBmNCjoIKJAghNrX5vH3mHziAc/KA1u4MA8faYTAFONHTDqjyk6zJWKHw3woL/jauaxDaVTUtExnViJNoceBFz2w0Ek1cyuGRN/CqQIUBnf9KPcRJym5lj664LWnQdBpNlU1oF1KEYpDPbrJ4G042bJJnAjAmtOsPJaifOOPUdSCIvddi6KlTmUYKmNbCgfPbg/341q7MQ/Y5j55GMnyv3yRz/M2XIs4tIDrBI6+uXgy35qcG//zo2BPonk0i356TBJPPH+nOaXv6DAdQ6c6cCbe/ucwAmiPnh9EGt7cFnxLo3LUzDXlttiuYpgrV6jmHpGPA3ZWOqJwX+BTTj+b3Sv69p2PaeLp10sb11SJc6wEEea0JvAbZgxAec8QmB0M9T+CF3cfXSsBgN5bXmRawHX72ZyCA3h3YBw3/UgBMD2p/Lf2QtBpTeg9rGJyDPO7fZggd9F06JAeS3E0bqsi5wmhlWckRBECpT0JiFOenkCr2PasqmYkRTaqkFHNlFxyJHXDVCmQQ4WfyR90hCBjhuqABVMidB+9uGTufNvAncZY1TeaC4nAWWHfhinDlYx5yMSJNYjJGj2JwP4W8E4dkZC7ORaWsdUfHca+xrDvGFtGjQaC3ObdbNCj+ifHZVDsuJvBNCAfu8eH33QJAWsmZXuafQ9r2Hv6ZtJQdwQhv42xdYNScZrIU1BRx9hlsryVHU+W8lfSGantE8aeIYC5BMTojz/rsq1z7OwPLjcDgxR3sic3iMRiy90inGOuTMh8yc8yyScq1wzzzO+8bQa8uWu+KpcC/O2zlvsxWAqzusWuUTfzDXCNMNeO/vrMAdomupmHr1LcSwK2KW1ZT/SEyeob65ECz5rKEnGZ5XEDAX+qBo/esFkrEKB8xTJOE8OTCoyK1QXGsUNqUn6wcSgPvpnSYtIkcyshT5kNXe6AuTYGb1Z19wYgo2p+sCvhhntxKSrR+lPE0XFJz59XtCzgJZgw4CqUNn+itEn8pkLgClki4Uy4pRJxhwRZ4ek6Bf15T0Aiw3m324jpPAZ3eEU+kNjatS9CzuGGloAXJ3MxU/Qm65ThaBhfNWoTSHg7usnedSgkzS4ulCaErfPvZhRwTtGgPEvxtNBtSgaHF+oMc71r5F2KPdnM3MdVC34+/AnrR3PO5++unnEwYVD3WTodlolbMTe1DwS3LpcdAgpXoEteiBldNTRG6V80BBsnk+hUa1qXehCq/w53ODn21xhgI9gV76X0wY/2YrKHfJhZHc+bFWzbCOAVsHnYc8bSxRNECgW0gk5NqgpZKZONOlTe3p/ZTpbi7rILeOH/lyoKOt0fkykdh1d3QGr8U1Msfylg66/lKXV2Q+jR02wGXuR2hTiYmyG3NaS1H+5aarhZCwLpJEebiXzjNnHzu9mTIfEZzAyduvfRLsATc8mlE05KG8f9C1IxdrzCZlnY+EhWDHdFab4eFBjZpaI6mey3gWqUXpE/S2FfhojpGegddFBTUcJUxRQGtac2iyHIq6HQkKFfnE6owWv+s1Z+8kf4S6FG6KGIXF34U064fjV1tw3OSC69+dwIGhZUnTRj3HBi9C0sI7FbvC59l8cq+KGGmIl9tmvU7qGnPAyDvvq/w7/OZTm2NV0kKfs5h8BtBvLhBLCpj672BaHIFakAdIP8x5eU/7KE7BYG4zRRqUX1q7btVSxCiaoxAFmbrXB5wQ5oAgqDw2dd/3ey56X7poYPdyTaFDAFrBo5CZT2UccsB7AcZ2GslEV85StMvi1TxULGY8YN6Mn7qi8BEFWuZ1OgaGccqKx3EGPS/4dqXFXmjZqpTmFg4wPWu+v+tVZNrDotxd7Imtf46kfmx7XPKx2lsrxsp/dccFJ/iLIaSCkA0ovpddIXilgxH3IpQSvG41lXSBi3JADeu0diAutvSDVTLmCjB5idr7l8GhtghLUgt43q43tbis9VqNGZdjvPBIxJbu4vd2+bCRjSLohE13RXUBWcDLJxtuWBii2IP82o/4QaoWYr05lrzB5u4f84Lsr+ML1qx2dl1BCXZ8YQ+H5R60jLtUw0uN67qFdJHWH3qM40oU+L/PUwZq9j5KsIu9PZNCoNiByRK8dtABj1gVPJ5ui2SWVgfuPnicIS0S5MxiyDGKvG6fz/ZZ5aBKbQ4vO/tSZYTB0XlqXWf7Lg+Cl1mo4e5yNaGdwjmviRFJ02bqe7WAJ1i10Lc3tOXkXZQ4VftPglUf5t9mnL+oHSyKJMRCf7lyoY6Eqr6HJLuPIA+CHU3M631ZCrlbwzcYYagt5CBQbl3CDngBghc/kswKcS/C2TqlXJ87csqPuW1RFzyZ+Nnvt2yGqYzTFOwyiW3PDGJsNw/Ks5ZXoYm0Ip+g9wuoQ5gWSsrOijktZmP4y5DIBlIjgztAVm/5n+VLfyzljLMRXMDdhIOx4b+264eOH5/0a6TdIAHvhDHBwDkhjH+nfw+5je/SVY4NHHbZeQpfEOwaMb/bEyQ+Y4+pkukPNEtAgezae8LUkGwaO7t3UmSsH7nMGNy76ePu5S782BCffJrkMGOPFYh+lg02xSTrVPinKp3bE6QmwUI1tgumOVKWOWAUFP/Zv8vp5uidXURZ5yy3pZgzPiDGl9TOFRLvr+2S1qBQof2Zvv6nfz/udlXCCCDOBEAen5e1LqSjSmjpH0uR0iLHicdEyAhzZquQh+OK6nBkGtSBFbhFQTx3thVD9qhDyboMpxcIHzgi8lbNZS+/WXTw4l7+tcJ/vQMmjnN6+Osxpgi3KtAq5xMt+TLSXKwDgTqiLSZ2cRwMBdc5HCq575864IXtnLzCyxyd9Khe2Lw7pNG6PKHALul8eQAXAATQJn6WJvrtqFNIR1pNfiMwD9bzu0LWBIVOSDuwtL6P4frr8nAtAk8RX+Yk1EpcfP8RdWtFFvjAM7pfrLT6UM58c2oOG4XCNv8AL8lhX+UxV7yqU5mYSjLLtb0gfNeX/h8FGsmCG9jSyNz2YgYsDqpKAnRZbu5u2POxsCc9Glc6vYX9HoEj+b3xZES4doVhTtI7a1D4T3mOfMsT6p2qveXaipWQqt7E7/vFpdzS75gxMfQZ0D+kHh9wuyaEyEIY8M/fESxQQgF4eTv2k1jN2BHskEmFEH3Goc5nF2fkdy9a0bOzkuNTCJgJ1itlDku9hAD6/8DQhnQs/lfb1NTqhAe/fsad7m7zb8OXpbvUlHz5A7l7mFJ+skHpFlBTuIoFD4CFuO6w0BYXYtABX9x8NToXOI0WzJ7DceyH5CjFHw1JzU1Ps3h/wXlKmDEshwfeFgZmJoIU30DPxpUHrnIG7FGYJOF8IUAlGTQsUnIKfXmzYY9+KmApa2EoM8lnQDnIVZcruBxFdHopw7NSEEzeBf8DvyK7epTrqjVxVhe3NI0kQpeyW1IVdf5wcnKChQ0r+0TWxcrUb1eNt0ko4M66zeuZzn7dBnVfcdwvnwNm/rDRSPxAsMpVAA4/5jFFqKKPQxQKqEFbT46vauGVQCgOHH7R7gj/Ljj6cF4mxS2VFSzP81YsnYEAEp8A402ckwchxgY97cAFYb5J7DxbpGFiO3NaQrTOChmRmGfn7TCWPbyIPq2GIK4ly3VwnUKZoM5D3UhXPtsgr/YQ0MSEekVCj+4RDOSN+zkDliAjYMFpmhM+78A9Sr5x9NXt+6cwN6MPI02NAcUfc/qy1S2loJdBL4ClgszbrnX+5N4h6v0ImTMj1am/Lng4hGWECEtBnwrgUkq84eTHgRIRZnhl7idPTXRptO4MhDQD9bX46IP1/2U+uQjen2pqOiyMnbsnxmL4umvmddZKRBpuIgMTU1YlUywJk6ARh4cJYG8/IGoMU8XCDJafGCz5TSL29j0JRmOEAdHyN1vCS7I+suYw+WQoS0Modo2QjE6kCRu+gcjleW+0SKsHr7WQRpjQ/GGAwGhsswvq2vg3mr17lD1iUfqTErPcN/Q1WV2VoOt/IlR+bRdrkVdIVDuP6spn2rrt3Q3SRjzBH6G/tKRIj/Rh0nCK3FMtEqlQUIScDW2B2wysBXcrrNMiRKtK9czO9cfza45Fx5PfyYmHollCiEQbUAuvP4gmOP/I6/T1memE64WGTvdD3oVIC2sWbUVI1rSb1+WiRC9zQaeWhaGhTu5MCBSqwC3N5Tk5Zv8vPX7ZEjZ8BMbU9wxX5vRUVz0qRvFR/G21zIcDilXxD14t127gKQzgFMZzuS7aOY5+8m3PlwlvfDOpdsQHn2EN9XlPV05LZfdsYeEo/k/kTPev7hHINX6dq/MQKlkU7xmVkj1CNXkaKOmhq8U4/FUwEha+moX1wY+OeFHKiiE8BXllC12HqC3RqAzAy588mqmNmD/EJFHGQWZh+3pFAU1oOgvpNvBa0XyJ96aZ5Hn7QhEP2vh8j8inWMy7PiHQSjbNkw5TxU+TpTf8JczviF8QfY6iE4HgOWtJRPdDufIjrf09Ts75z0G9lELN/NxKJu26XVv5azxvi+EzR+katQk/FLXQEH/OyDhjObx+cVyu7sggpTiS07my/W0bOH1TMhzr5UEexSdk8c+2eImBlqgVw1cHSSLD6H9udCDX5icbvRNM5XBc/DK4NMLOzC1/GGpv5RXPcyStqo03tXjaXHY5ZW9E6+FaM7EIV3L4LcKXrZd994A82qmkFm5+A1LK/EXiA5Ro4GGSRi/O3daz/O/v+XQ1xqpumYgOO7Odz+OHo6JuWD5a59DlWLrRSvO3us7yTBIr6hgNCfFbmfUw4smMrcgUgqeLW7SU6B9amK8L5sn1jOivVLw7moFPRhhs4zPcIAktUkJrWQ5OBBz5gaoGL5v0nPA1cllyKS+aTe8W9l96NVJg1f/SLHt6NH+cNKaujB/1fl03s5EWL8yVOgcukI2kpAXJi84RnUrO4xXFjKDPD1nSAT9G+0G+UnXNaVldOfBKk4zuMX78u/mtm6h9iN8Q3YWv67H1GWlWMirMzPxDpOEY66Cx1+5ubEJbyvHFoiCdT940SvdrsBUp5HUGTb3yXFt/TQEs9Y3wiflwKbA0/Y+E25O2C9xV3TdzDuyu4owK12FXOzJvLulYFT8xaEjXYzZSmpPPpL6QrS1VB77bMfuRAPQ1uisJ9cPE9Klu/s4qwUL45vV6yJB8vY9EckzeW3MZ+iNKjwznWu8FmfS6uZSzKV+5xTRZpi9JUQHKbZ8BwxFGewenNRDU4Imd5Lg+nXQfFoLUFytW1qD3NkcnEQeq/+Jw1xsQbuYwK92/A9oK/yunKK+wa2cn+s9RXkhxDn2VpdlnNnrmE1aZmpOwaUqAQqVj186Rf1keaTAWFusXFN8sFahbODFO6PrHlDCRJct8bJPa0GKkZ2jIVOuwZfzpQSCg/2YdX+X5bqDlbs4VnGUkKXimST6wDLL3Z8bep5PQIy7jor8BvXd27wfoToZ46blVkP6lMy+M9gCveMlbvQr+hw6lSngXNDXmFjfcuCSiskFQwG+uF6pA6UGqj3WbgCD+oAmDIuA5yqhrpdZfeZv8p4CqRMGgl97Dym5SQ/mWjtIXlufkysky7h60LNCOlqiGohWLEhH6TWRghcFTHRAcFqZ3EmmmXwJd6Lvr9A1b5YOAvCUx23Ft19z675ieTE8cWWDiLjIRL9Qw+4zzhCZ+Bo4Rliz6qqJTMO6AYFBcPmfXxEoQvPvQQdrzmb4omlHmMrmwA3kgvErDrxEQesz+AoLtU9A0ROzRMG3O+VAaG5JgX2uXJzf37+WqrRUZrPSjH6BQd5HqJkq0Gs1uMCfffOcvQ+rpzuc3rAYzc+QtpENahM57R7Z9AJMX4RysPGvtf4uDqtGoTuWJmYDnst193GNPNAXST1cST5qOjgJCA0OW3LhL9XO0LdTuTcM1pCWk5lFE8zo4TrkGtD9dmdcD2EFahLmMfjxVHK21SUpDDHGsy4ywMgg3x1f+AFHW7MsuUgdeySzHtVr4PH/hCrUmBk4Fsua0pISeLWYVqafvkOx+jCUwrMDSTPF2cHkjj7EgZWryb6VKV09mzxZhW0zv88da56+pTVHWcpjdVOGtA+TxWWKbdEiezXYhSuJFvOwwWwtGooergOobebf81G4EiWoa8ucjIM/So9yETdXdpYaSNxor2hCZskBm9E/LizUGrYSXtQZXOmw0CNp7t2fiiX1Vuhvz61N5GRpvMGJZsGtK+r/2Tewj8zKXrxRaMAaTwPtVpp7XwCvSaAMZPp1RD2lzIUGyg2jLbRO07Dwu1DrPgxuOrGdqdkWOPchYMcYppR0meTMypSXQ3p6Gn9dshlzqdlBmLuAmoUqRUyvv5xkrAnjtNJbqa/P8teAL/sozc67etLxLONc6HYsors4OsocHJP6tBq+gp8cSegRMW3WRJcuPncakLk8dhRWKqmw+0c0cJMXUxSm/0eLOclwUx2KK3BzujtMJtbJDMwXW05OAHgwiU5OQXTSy5ZVsVNWIeVFg9emLoypAlnY8EOiVcdCw97bdSurxoXOT2Hegi74+QLmLCPQuSo8p34nD7ozsxNsvGN7esHLPMGMvyzTGjPoaxA1cu7W2TwmWNRrxwBzlOSvnRWiQefYKtDApgon4mSntLsH0PNBgPbTfblYHBPCqqC9fKZXMeZQmyt2+egxsn84SbPDLYcTNX1BXxOy6nR+SaX/TbblxEqd54AqGIRWkTT0fOwiaVKCv2b7SN7Qr5Gv8Bpzszi8Xxh/GELHBEqIJ04uz4yrA0CIMgv4B33tYd9DB6vZeZL/ZiduZ2Vf/+tnVMUlaL8Mci3w+6aNPpS6tVe3ansnP9asm/+e35DuXU4oOoUahKtA2vyr/dOTs1OyZyHVOPsRQxN2j5PsLMl3tRL5vqE2UnVJ3aWoLHzau+ulXbE1hnPNukrmUNu/Bx5BKT9CslomsQ9wKI8xFxNcZIj8vjTyUzrAZmZfP0v7cKuri4qtJewk7ZKFw2/19woaKbp26WE88A9V1u7wfbzxiW07TgCB1xn5uN1lQhd1nHccjf0XDx8/mJ/LaJKNsqkGemrFaElYkErVgNAwYtqU6axznDinq4/MymPnYHJmIwIje8eqScmkePHDaiRzPAQTMT6LO6OSHLzhYZlLbOPl2oVBRXg1XfIM77KMthFfIkLorlBppd90JRhBOHFDI+h614uXnkk3VA67JwmqLXuJykuCBjlCpah6PzpM2IvuVlXO0elAUNMZULRqDVscPwo1YIPHQMVdA+ObsdCEK12zrUrm/1Ls+fydjiioCqI5EvuxkEORhL/08PKbFFzmoe++GHCw24EEAfeV2s1T1fK08SuqvxovSpvIL+raErUaqaCODENGGPGf8D1mubQ7s48qJ3J2jp5jmO/PjghIDCKCNuz0WQorOF5vQX1vsGKNYtWZ9KoVn0gdFLoJFO9iHlIOYd/kJDCLDujPQMkcU0e+a3cdTMq8EaDOF1rTTwn7Op32Nv47y9zwhVjrfT0m7uBoGNFxPeOpJUFtT30RhVBuSwIQUFNzt9tTisDYarC8vYs8QD/VpdHwiDpdq3w/OrX69Shrf2oBE/PwSHC9bt8WZ4/MOyCoo66M1pz3b1C2X/hf4scE7M0rzxEHMJRhnTQLG2YQaSJ9j2zbXf71WaJTukf+8H/Qo9+k8gYuODzzx7NeWtvoEZu+SeTt0zSa7X+IJewPtsp7EYZc6dF+qoAeYsQcdT2LeIR4eBewV+el2tBp0LqLQWHdfShFabpTrWfj1YLPzSuGBry4rc0KHcbwXCBw3qWRQd+7MkX3qi+VLUx2oyhVQtdOTH+Plci+pPru07nA91NFDq8604QE9UJQ0G1iUIBS8RjZo5m/NhVHey9R3PhVkih5eeyIAZnSJFHr90RF15qgTMiTTmre3p9BnLz5ETHnV4Q+rK5t0TyG+Y/MGZIsOj4Mwu5td9bIv0pwM7qKgcFww2lB2ZnXrPu6qsHVLPDaMc+SFP5Fg3r97VVjd7880xhyP3zFiOYMbFRfDH+7Nx92N9OxIGAy7FsVbKkgQapzkutV/4Dlhewxh0iB+OoHOXP5ZhsFNKyydSNRvz+PhRcMo7COwSZe03dRFTiz64oxkPb+EpfQTj5s1kpYRrjV2y/kegJs9CaOoEZUy5fW8rPc+P9JnJahEQkF+TqvAhCOIL60PjC+DUNlJ4yCTfdakcqe4MYjyTNiCjWsCNYqM221A5lcFIUtSpU15ioWYa4MCkzM4fd/nUHi2HDd4RmEp7jnfhE8FeVx+RvcnRDJV9hOIfNXACM9slonAX8pueVNFtW827ANvlm/zYNx2Q7M2mPLHQZ8lnGgzECYma4R0g5W81y9OlPvJVgkFXZ50XtbpNno88FesRoKK+g/D4vaSQR+IpdIsap4HSK0bfF7s8guWqv3gJJMzHsgX0MWz0EJ1ZNQf+yUBOD5dADhD2MeRK2cw6A2MMVyNxUbcy0+XJxuS710gr+HTvhcAMo/OWb4681gp3E9nfdCVQeuxdpfacPQmenXrfgRsgNB883VDZZ1WjT8V6dnA4IcGzWblXDS0SLkAWMpgTeYAib7b8ZcFcyyghKk4EwErbbB4GIAZnYN2J+4mtRHyAkBe7hlwP0WiRmN1rpdvuVJM84daZpLodUfaGa5GjX3rqD7gZN3gH1pHe3xlvw27oRnCT4FWp+aK3DQq6UpJjPvzj7kwnz7gxOe9FaqW0DGAIUoTiDyDBvuEeHxkWfQKfHjbFe13LCo73bg5X+3NPZDz1sKIFK3g3JBf9tXzP8gF1LO5qmnq+H8x7HZuFkIxrLL7OFIRJLiGzNur+RfqTdeUCbzDlYoW7it55UstPh8IPDaD9O6OJYN23vUs2EcsC7tv4bD2vjZgL7msU+zBkgRIGfFjBqfgzMVO2D83XJ2DE9RbceNrBRsnCCelOIr9AG59OxJMaEe+fWVjDIkrI42aRWDrGpbKAPZfZ/poS5S46hhOA5Lh/V3X6Eh4UL0QnECt582o8iZa8kVefYYw1PqA6SAi7b2qBiAGsqxKMaXoXw6hzGLNLyQ1SMdxMaYybvHeU+8T3fAR1Op2xQQHFrQSPANkB3KcjN0y5/6uLijVPYrg6b79ka/xXqJXnaO4A+TA/N5dUDeOqI1lifD15/otPxXsjHy/SCsMR3x4zb8tN2XMJJkbQx8L5myaKFNW2ixyQ7P34V/P+Y+vMPdnuRDC+Sd/Tw4g6nxUuAXLNbwIH/cccKbLjX0ZfyZK1zw6ey+Ug+0x2Q3ehAhkxljsOIEVw2njKy0mWHDUMyOB1RuwyOrj9cLbPAhrfgAt/Lob5NXFdrBLZFrweJRTyiDRj2R5+lJayC4+vtCp+U5Ok7MDid9zfuGc5EWC1Gi0jRivgOVz8o+mdiKj2o2FmcJdwuSvCeC8kS9u6yMpft7wS1XEejED4B+7Z9Xm6zMfCm+k7Se0HhmYFzPo9cm2+Bd4EJXXDqxisr880z3bypFIAzj0LHe+Ux8mMzUSexYTJaZOcjiCAYrwpo+l71K/klHB3ruufNh2eZa67xBrvv4VByROkQHJa/++yjvSWSjnb0pGVN9JNz0et7e/BEu3kdtAipOC1csBrBQsN5O2lBNfkh+uMIZ5hpmbQQMDJf/+V4Nqx9mfjkzrzAX/rPlBTfgW0oGWtlYeuadjWM47NkXygiVawV/IgeKGuYUnp+Pdzuu3WOmWiXRET92Ombl47sOwOvIdRVu11+l95BOVe2/RfNzXSQLj58gvJy2mmhTLWdir3i588LbZfyPCQ37B0Zr+d/QAOaM5CS4n/0eLbe+CwIqNEiMKfSfhXXiV0dlETmsuwd7K0XA3YzFBD7aBm7GY4JFzznCkrXD6GrjuHtduIGOEXwcmRvS433/jWl9ZfSUv9HMUzz85WBrqNC7Fie0t+8LVa1h186yRgqosmpfBpAhRvhoGC3N3AZiuyg3eeg7C0tHM7e5Mk5OgSjmO6IHOW/P9eQ29s9zr+85Esj64YChwSqgZh39dQ3bwlWYXcjp5INfHJk/c+81p1jkD9Mo4Cny0itKvV3d6NbtDCwoWvdxRPiIGUDSFyUsHuX/qloCMiAq8KGX3zIn95P96ecBQGc5B9ykyF/D0xjhg2TKoFmDmHRAq0mN46PBBdLZ0ObuePQ3Nnddgs2ny6YF2aeVY9EFeKyxe4tQ1Vu49/w1Yy2YNpf78y1ECU7PWBdCADX55zpCEemwq6NVKNLcQzkSUURJ++ziAP4dyAkexKT+pGKc1MyGCw+xbwdqNn+f05vATlE3a39Ac+61mfazuNrkq2kOfLfGx6V/ifwxm0NQDLmKq0RCBKbS9nrV5LsiS3gkZMUwjg120QlnKNeHICtadOliUl+2+XCAbIR8zk2y2aUA3CQDsgQqulkKMUPwo2SKnvQblZBYB5tPb+G618o5cx1C0XTak6ujAratkPKj7jI45jfk+XuKg1I+iPo+QUavEkHDmg6afdt6Zcfdfji4OMwKxowiqRNSInKRRO5qDYBVA+XPk3H0be+naOL6N3+raqiDyvpsuBhzADzZTVIlkaxVNWrULYarKEkq4QCiAW5NshDUzxN81a+S0cGGaUB/kInfq7OXCxQ7wyrhkVFQwisttZEZGy7uot53biWQaAJhSJEqVTwPOLqabUdspo+q57lSvtKYKlbqUmsXSUkjistdiLY9yLE1KrKjrCEBXRXCodc8jkxDSFMu3RODShE+b30TTgtoatIiH2ON7bT/UkYHTryhMuycxxeTbKZEzanbMx9YUhyxeEqDkCSSWFprtzwnZZQznrcCFYKBGYrF6PCXL9XLCbONiy+LBfGuP/k+OUko8zQZ3NdaNmh+lHWd503dGfr16xZ2fnbD1RAKaK8pK6OUohsq1KjiqgLZrEgqdwZ8bcotfylgfRThKFYj9x2ExoKYfeLapa9ycNBDGQMqflDEffLSWkv4Li+u52+infO1608v6BuFOkPJtm252kj+qTad/mAQJWIeh4ZwQzmNtiKyhUikeP868PXKrcMQndDTfVKnRaBLu6HiKjq04/q4MkbKBzjFaPsXpdd9MbJh0xD11cY/LsqpOHHfm1TqBbEHq1GXDZJyVEZkfkoH3TjDljZX8wso0v+iKuO8qYU8zp6riyQHpXSOq8liEl57o2gNUihUh8wNglRSYol5JljdQNY7+MY2GpropcEds48qcthEwGitHq8MtHAWU4uuYDU4OPE0QhiUGiIZjH2NOb+PnvEAz74Mft5El0bckV+4zuESWactPCYvo1FabignVc8pjvv3lFZoxOUzrO4hkHg29m380ShcO13MP9dlE2Ssq6gol0brCa/Jr20/DQzmuJDXYGPxLAnks0IVB9TcOf6bSD7fsmQSMpfj56dAT++B/qSdnhCSw1kcQFZPvOewBXkNLG1iwzJ0kPISwkj8hu8f64HZgfJTzbTgbElVnH8oSBS+8/h+jDzeHJJwfOHThU7mAH0qzbBZzenfkxIE3iRQuTmcw8JI4i37saEaRViI6LHPnR7qm/CFEymkGGR3xoSiw14Eb7gE8ozGkhBwTduec9pVc27fKuagQ078Zsv+U8EH58dFhPZ+Dk/fZVBwlNM6SbqWlVkyn+Y07hx/8K85G5UkakUQIJjYhktu0sMCfWpd3tU1UcSy4/emXywKbYG33yoUkntYopbhsHJo2MuP4/LJJ7ln3OcWSNdGSm16z/T4O2qTcVVhackOUWtbBTKaX87tuB1yQPbabNCKa9mhSWBh+tm5ZWZCJk/xvrfIyecseXj7ca0fUz8AdCVoGlun0hjp6mBX97chC/Gd8VqIOje0capDsAxvg2yqboJzPHFzqwVh7Nxy8Qs1XbRPy4b8ngNGU3+uM64E7bL3bzpov/PGPdvwrmWVF0WMeSqH161QgvXj6xwm6brK7TbZt5hug5l6X6Lo4mzzBVMPrx9NYXL4Qxf47y6CTqzlmjsJ1fWZkvkgLbx02ZWhqfawExsh/fEru2zwUkjukT/2CgLvMTv7F1pgIumXxsrSqIdugjfdYZzAmBvZOWGv1cFG8x0iClg2pYEmcmW4sUd3x1RriVVUbc1O8GHRXRgJowhfSPSbINFuQ+1XIGDJnEIC+Zh3HHdqUW9UVqHWwydX72gSbxQ/m5YdMSjAKUNzrC0VI7v2k08UhNLhskAPZ3UgREsMET8rBWb2FiNBMDIv20DocH50XHEMDpI4QT1SugUKiCdeCe+QFXoKhMsw8cGJrG8ZHEKc4VSCRv/CtDhcJ6w675WW9hI6SItqCZCck1QSQEnPSFlA78HipVTXlQE3nRmjJojvw52RBlVHOw3D/LuNJ4UbiMnmWpv3xzG6/uOyWABeqRw5koRVM9sxVAqdnC/bojLnL79m4d3suZYY2YclJ7tj9SFYr0xz0dElqO98/qq0cu5pcRIGGBfmJDz0HvRvpFWugI2m5n2BcmrLwmtBKdzX1wKN7nA1lXalnHR1ukK85moTtfVqV5mBMd04kQCr1e5LQoRyBoioYaZ5mZ6X9LFQzlEZB7OyihQlHcYnpIv8hNO2sMZn9TzFVFd48lzBg5/X/5532bjJ+7stb72uNZ6idYKB0QKm6mcM2dteEtC1sZiIY6d6Rk9PWajXvUSXGDz2kWiMTwdydU2J8BifqkvR55IOQuoKbPqex3bHf2GWle61bRbtmaM6p9tVh9hXhjknXgJ+5p644zXo1GICfWGJc9x8R5Onn5nfEDQf1VShLsv6eIKDhn4Bnhyv6Ncc/ZBp/TLWstNznGnAHeNfRgbf7Mw3suV6yNQO6rWh61vprlOG9AYKTtXiMyPTwmNHT/3Dui9HB6riI7YRiptAdDRSRytti3U9WzFWs2V6/r8W3Dj/MeFegXfeFvzJMPER7vx5pQZqAU5GZn5IBfdGsdn+tIzNmHcZgwSMr+I5aaj26Y8vjlbL1v6Z10DtCAeAp18s0jbHpcnZMXLLdAqtqMSQlJzkfooFt68M4eDQExKafCJNeobCzK6f7lREk/vS1WMczMJ/4au7RTwBMVZqedyhej+K67OOi3O2fBgO3+bEICj41IydwLqk5+lujOtFmQMciclfxQuamggeoFy6dRYdhjk1UAD9AMO6wBDnCFkXjqwuCYmqeXOz0IUUKGOE4t4Hpyqi0C+9DoEFWoIsocgRQr4KusjZLxgPj85krTnqC1RhXPfg945eT493N8KgBhMjF4Lo28hZZhSEweLUKPvGHvXqDsmORSrIUiR1xlWiQ7ii94H6LGqM1RWgSYTYCfIcj/8r8XMrBRecSc3pZtjaPaS8vnLvbvCfvcdCK55Lv60vnAnCi/tZwzkhy/ZOv8yYTzxBjyKoNEyq1dciemP+6ScaPDEdJ61X/t294NbXKxDd0V2JWaA2qGKTybESggfKeimMAPOLwJcehDXmylfomrEo9qssHBwWDOVtLlEIC2S5tIzy+lA6NEHHURcywiWSgm6U4KXt8o5dw7RGSuKBhvbJqEa0VUXJqAyM+H0s+8sJmUZdWP2rlp4/I6A9nAXwxg1q+iqYXRmhMfy803KjTvxEBBc9lCpRGViCwbvaMrsp4unq9cbdcZF62uqs/BCNi61911As1bKXi8K37h9P/5D3dgyAnIPqP3kB754s2YA/YAW0TbxbWigAOzRVgde8uuVPEF5FlZEdt4R8zeqzFMv5HoaSvlnvU4tBWAGRLr9XIkt/9Fe297H9O3qDVbCmZ+nmy6Zs4pJTSchwoeFPxJId2Qubfv50OE3wQ7LSDZR/lCVhJm4LTR5wxNraitWd6IOJPopvpo6POUKYUadzafFiWt775ldIpwV1K/Y4TjNdQOb6xS0jb2CXh4BrlRZ1ok6KGw6XTU4XfoyFxmU7Fsa00yrzKRbsamopaSvVE57PMdgA6kzwC3V0uN8TEv1nZFucLwcM7dZcsSZ8Y0jdB1GEHJ2ZpUB5e8K/hBaD2CsaAiy3cGWxwLHAss0iGUX7cXKmmstohn7YOgOGf7L7gz7CN93pYz3/n7MQOMlMecdN1KqF7EdYnbJYOxaS8NPxtTgh6r2n/PZ60r+degsBS/Z2cx428T2ivdZb5ncwpwxpOMS1wtC84/j2ngiZvMnFkCv04SduNB14npYslQJQY0840ljDYBbqUJKp5E7KNWPUcwUP3dXeaCuMSMsqUxD7Q/a7rqUjC6TyILqxK99L/T6PIDebCboFAMaankuJwzzT4cigOCzzF8MGvjqnAVQL7VYS60kVXKBR/JqrurgxustpViwU0P70j6+hJtO3GIDMdfVpxLFKID4FsqRE+rV05pqQpmUaI23X5hsaPS68cGaw4t1BxVlaOjG6gMjIOJuDHEPg9p3vSVIhQltwMnD5ImUtuqe9b7WrjNMhjczs4nyjCEMLvr2E245pD0lZ536V5KvdHrqtWnLc+LVWx6O0zEmWMa9nAvQFPPd4iP4CsXQeoHt5z37Kt1bt6j+I8TBzrucyRadcX0fIt4RVUNrJ9SmGvc/aTNj1ZqbFvPU/8y7Q58Y+lpO5GgMoDE9bQWDOsHd9Qy8PqDw5XSbu02l4fdtwYF3VLye5KK5H6y7f8/Ulzm/fR1C8O8iiAULKhZRzQ3ZkF5K4ignffJR9+ZP0TGuKc8Gd4by8fdVkoL2ZIE+Mglw4Vhvfs2bdRMAYQ//ZOLUYk8dVdGzYtjAIqnoGpx4prdq9f0MIS5jl2J0KtEa32ZhHwlFJ2EbZGdLhXuAWWY7xqDCjGAA6HdvF5q24QXZT4HPJ5b9CVLnGqWC5io8m4RfbrchT1UhBVDOoIdd8Rnd/02GJkmsA/kYhrdBcY+l1k+YNm5mT3935S27h4q8ZRu53+eJL5cmL6l9mwJQOmPMdwpMyejGYM19/lH64Lwt0imbFzTF2VZ6xzz/mGRm/MBp0yOv6jrVH3u9L0VT0XbL8vwnKfNpKhxF+mgQRyMTtbWZB6D6WYCfZpPcFj/lIElCWDMdT6bvGkkxjNa2f2nf6lyX+HDrBLrj98glw6C1yoZqs9a9R8uSUpOtwIQExZxyiZI3PGGepzyLJDzhsm0DhtiyHTVMLOyKWj4SEGyNmQYnNM54S48Q7B14XAZsyGkAJpaAgXS4NvpRWdIeFY7yWYA/sDWhT2voAiR5Qv+GsHVh0plMlomxFvM7SBFmkFAGzTMljwiGdGp8c43X/0R2xvjLMod2PzLBo+YvQZ0jJN6yW8ViV9DH8goBaaIbYDLHj6wXoVQXZDGh4F5ezI0SWYzqBGk0HOgz1iPghNr8dJPENkcjOru3ipE3xs9JuUIJxHs78DNyLhj0/R9Fw+RX6edR+tRp2RySfxgJftZBv+sgGkMgmGq2b6C2qbAFz2MIb83aeD2ok/100zYTi4iM/pG/u7mY8SIN0O7jq9eBUTSC9wtWTFMXV0JoAyDU4LKcwywjnhuA+HoyAv4ReSkNGrYYKfQRxMOEHlO6rUiDVrX02DOV0NQLPaQvOb8BAZgBWUa1Mivo/bzsHaEwffFQHaY0G6QRrewvRzGWsWvgTBrre4Pcr6NxPj4waf3UiX86wZKQ8oqy5OvPexkEsEZHl+ljSvv9QUG9YUuKVu+y27hE69IEET5/W5DoHGdlLn6lubETXhEBOD6dkczqO6mv8NXAR6x+13trkh4XmdfykpTHpqzpWBtfVOE6nxbDbN2+cu19DOUhNDWC/8iQjP6SYVw/Ox6Sp4cYyK2YaEG68rZXGj6NPsy+JQ6Ogp9edhDvYx20bhUrcblMKg3ZaV/wUu1VYUswqtYdiKQAXSZDuWWF6ezwwb3rn+d52KD7/pAjhl1LI3MPFYc6VX6bjI2tDNrBC1s3yWWo+eW5ATZWmQg4O0gryB/aSrpCbjTS0A8yvBQQP+s53cbEOpOjROrkkOquFrsf6e5Qt8oFYcRqNpo/lAo4gOXL+rWH/XyD5eQj4oJyLWAp25vbbugSlDKyeAeI4bFu1dpom3f2PTwBsOXdXl6gAe/gLpKOgPeVmymBZrqPo/xdScBvqEnLPcccUyau0h2HAskBvZqIFUE300Inkbj3Q47GQg4nSxC0w83U6+NpLMFpFH0GI9kVxL/J2nU9dRA9XOZm9gb2eZnwudtt4Ury3r2Ucy7RgrGyOnLIuoSKyuoRTTsMSozA1HlOAa99Z9KPtB48Qd5gE8MFP5r2DSwarL3wKwwweFr/ddo1ylb5ukjGBKtYIueQemDl61GWGaGwWXPKepp9Zd6YiCJu3YCISQIDwYvegjCtxlRQfZQYbCMqZxkwhvIKCy6skYb2OGcveYo5ZvcTs8GbnpikCvRXAW8RYtzUOygvUzi7/wow+G98s7Q9Op9v74iRX8BtyjAEetyGsHzBZGK/IThP6YpOvYmfusNApRStAW0oHlDrQDbvawusutoU9GIL4vFiHKIfz2IUHOnBgVdDIes7npiWNqgAqGYSH5Ui2FmLbtOCZmKGWCJ68Y0L6GrDqEShJEu81X8cUHPsFhTv9vsgEAlNXKuJEqPcKCITimPkGdsjTuxAlFHVWKk9xw+gR4s768ithudcNeMDAYdgIIrRVJbVPLKkRnpVLawRGs8QGw0b0DaNuZLBgNfq9e64ea58bNQ9LJkQ1uBsggV1f5nRoF3FUHi+WZRiV5Zheiy4jG+L9j/KPXOXZfPB+RMg+ly05oio9hgrEyqJMZyaCXtfxg9+ham0Xfe5Ob+y1KGjwf3sFSmeoXKP2i46QCYjScOM6coWK9YY3vqD5Bgga+pxUU+CAZBVPK88IPtHQZt2km1nkonI87U1H7CqPzGvFo33L4BYVFpCtnkKR2CA0p18+KrnXaDAo1iLkYZItzbjmNPRNmuzsjQU2RgmirkwdcmuTOkLRMTlNZcQLHdyxTjWnIt9cYqt0FG4t7adXI2XGr21UQI+JJ4kVUGwdWiFKUWZSm53lXE0w6BHq/NokSOo4ZrzV9gfIYQhHrn+ZB7DoLKpOy+I06c1XGqKEAMvCu7UiQbSVTJa6TXIahyfJ7vABd87VXvkl6wE85pF4h5G3uqYNl4YNE2AxRvohixz+SmiRyHwh+HG9//cYesxnb3xBVF1ktDc+YYyiwdntiR7igJOzb2xAKzjaMa3XXbG5oO6f2sdb0rvU/J6IGFlN6yT2PmtcIRIyhSi4glEjKhzo2VPITBEoBhvzVZ7/R8H//IMjuSpJ3r4MrI583O1at7u7Ym7XcWNJfwS1FLNfWBdqAGvOd9pQMwUnIRAPsZi62w8kDCBeCE1x22hFtiSgjP8CYIRspetvIEfelZLjvBFlgHupcBkDcT+Y3cYqhSsIMEwOt9MPRhB57cZgZZ8dDviihNgdH1VtD+VyC8Crtic6J92O3MHaQuYdX91ajIhftowH9E9E/E7IIDfI83PsMRLVeJT7lIpNhfq7m9XVBpMUW0U8zHFHsMk+42aLQQUgajyRKrpqE8AUQrI7vuXy5e6Xf2Tsb6U24T37Jkb5NWzIfqBthx/PtKFdAk6RT6gX6AMb3n0OZdDB+hIvQ06QLy/aTJr2k+bF0XEyu1jtnUnvBmgeYzviZYjltNETFpf/2oku9qjGIDP4jXBNYnFsPb06sv0j45M67wwc2g/jyJnsacCHOpyCA+UpHeNAb9+QGeqcnqqazmE/tb9tfkVR95v60wdlCTLuxCCHWfuGSS3q2hlOWiIVlQqur+V7fRxAbKa3kV3ZGIQhdBZPZmrE9yYGnWoOBjcfjJiRj+MZXH7wwDe1kTOkSyO1GfvJRgjtlzE5s3eQRyHNnkJyjKEObQtMJl98PVM04I7LW4A2X4RvoD7d2rNZ84MsUtQfkYHv4RrvqNPg+rgLrfQTJc8YebafX2KLTwoPSlC7DKZYYIo7OKSExls6BIOEOzk9KJ0Us9sbbZsmfrWk0FzmZJWYmWLZBvTmCJbXCFab/XxEcWVxGdPFXDUd/BisOpWsNQ3JfNMAXmSM13p6+PIXBOndA9iAxbIbRYKVzRxCmNQW/mk0c4z9xlmj6IQRly0GZPpTuHdt1Ex452jQhOrKyPmF30XLetWbwu2cNEIpcL7N3TtgkvHQPBjEhFYfRNX41Ams60lblTuYAuYv1k8EYlcm4TKbWLM2BsjIQ+fri/OSXJSTEaXDsQHMHkcoMzdQGNIgT1PmW+8glV7+ZhxJTpjuZHp0sOlwzQXh4OfyTeA/IXnCf4DbB2b5xI7nKJc4xzxn9g1m22E7QrQ6+3kYgGS71ZQ4Ou9GXA60uGq5dS1XJ97acmNGwY0pTbkurBinnjzRn3baHuEQB2+n2GOHGqBnrwrNyo3Bp+9HZ0p2b8Sszt9Z65A269q1kEXkrRCG8KdDvAuaYa5C9Yww9l8rTEQVH4w2tRf58aWYKXQZ9nshjuyeJHpNRN3PN9TbfKj/KtTRJMYLVsBgDud283Q5N5lmun/JwiJFYL/+V/Ce/8CiUc79YeLGWLcqegtry2OTzjIEeIe0Trs0SDE/31nzjYFAXZIF8wSVFtqDKxSQJH0MF5KSvaNK7Ya3UqcQ2VG5Y+QryejnETQ4iKG9bIdCvhAMiGmYrXSrP9STtiACo13uKwaaTYUV8uj8nw6f9q/GzSaJ90JmIWWv2owrJzr/2OcKeYvk1nDiT6sxMyWd2QEnGc5TS9g+5Ljol2iNe3TpfNKbSj1i4brEB1iDyX1zYWpcYagJOyn2di7kW/VUqWb1mO3cS3+992Dxpq8+oKTGmiEFAhys4qdtze6IC9QYix0kzthsO6ovBu8E3V+5KGzuUHrqcpTM54MM4UqB4Lr0Y/HIMxvz0vkXoEliIpEdo+z1EiSP2UBb80ZXryEJEA8ogjRDOq89XErnrVg3BrcndV4LZWHoHzCsMDSER3lmsSU39RMv1//87QRadDITTg6+nXbTcMMx/b2cdwdA4n1Z0Gpw4cs7abj/6WNIkIvk31wIYrqwVlHyWvn7yRSL830DuCh6fqtynV3V5NCe9ocJ+6okBCZ7rfAbsZbwOGpcARwx8ryF/dTUYddsQl/UpUeAWEkRoEp278hqEvTHIAXoZ5a80aowlTuj14I8pLK00Z6xZ+xoKjZn2+lR8jL/KVUrtMKAIW7X0+pIA+apWFsWV8TMSNSEDdH1NorhbuyiKBDcu+ozPqCwWCA6vZYU7qK6CRpElwbxeTKQ+G8WDh+jTHXl208t3P6+nyCgk5wFs/Xh6pX5a5NFEf/1yzBQkPNC5hdkw5b2hWE9eVBMsB/5uOIyuLIFdbzsK19bJ+KtJWW8PR/tQpTb0YThoQ7qbjaOk2FhSl1QaIQFG64WoSx4mBy5YNa4jEftX2CqP2v3rHfeNwU17BUh7rz1v/e/rk1BGgLZUPgAlSkR1VZQzFPyHG02MDIqItLtAUsbQ/VsSuqYoJjOFeZFQgPBIWra/gnV7N0r15RZFt4t+ee2ijnrZC4fV32TPcNtTHdwhUt6P2Hkb0rny5VtbOtXCWEQSl4knsIeY9WHVC3OJJDD+NTGoHbsUse3pyikHqmRUQ9UN4kCm3tBep9w9oqK+iGYHYAzGOPKd8jswgQZEK7RAbT+IhVg7HjTYfq5wqn7gs6hDrip+efnfj6hOaiIdr/lcILDPs7hYPKFVuFN//lPhjDZcfjVrQNmlQxaj6BQZX71ncCpEgYgCKhdTraHoAgbrRB0K8Rsjmql6T+tMlF5QyW4X3ABAp4nZzAx8SdmhiBZRoxJwCZyYfr5/jfqjLmkWmId4ixbyxh4mQ881xCum0LVbTRNgDz+A7G5NK/BHqiErE/CUd9Q8NLKhyaZCSC5NgsF3Es7xo1HyXI8G0ZWzmQDW5nVccC2sos5fXLyd+mwzJdUr/4OTxt8dVwbjJtgVb3rT0kcN42ZvB3ZExJBiUKPWW13PhAELt0ON2eDgNh6tuBWfHMElCBXbYgGUtSCYlbqH14aArvkFgp2qYIwEv48rVPkLaU5CwHomck6/45AEncUfKmrgxnabmz7uZgP5voe/2tQsoglxpJCcPszrgtYjoLLxHxGdvhdg6ffM9EZgucrDJKxcx0imBmlM3fBsATXTHTX5W1bIdPAs8vLMy+8MwAsUYJZRE6aZR3tZTlsJGic74aZCH1GJmyS3k3KguVDJ2+tHza1h647B8WEMJQ2n/wegm6kcMw0iH2CFq6MlGBmAnYb4NIZkY0cr4fcwHPLH7F+3QvID/REJY1sAheGiqfy96dyv54Mxu8scVY0+RKEq0lhsureys2ovW9MG7QqG4NsXYo57MY1ZwiFmey0amkSmS1sVAf2ZfiRkmnv5njDSAauUG63m3hJEmm0kZ2LQrTrw2q9cc8qxkINLKP2RMansC8pF2mpXpBIxr947MvqZn4c0jnC+tvnZzL+Oq+MFBLRXM+7U1hmHGsaO8y/AvCGy49Lj1DLp1dreyBG45c95UCd+ow86gJ0My3eYQvyOflYSuZk58dhaGF+puo8/97J2NjJ8CQjMMPIpBJ6azr9EuKJ9Cqc8YBSUsT9EUFXhOgeZ7gGWT9t1k2xkcZWutlF+c2gCg7kKsfzr+Nli6hxvAr05kMEm9P11jVhh9D4t6YI/Ip3vgQMdWeVNNBWfdK3nvyNROXNNOhvozQ9ELp+O5ISmb3FJrz3xsFSaSHn7+ms61iTMGa+vcZz3+3rhN4ZV3l6coCQFuR/SYJoaXe7ZPe+1/p5hAplk9E1FM5vGfEpPP4zpXD4i3lVCFXgsA6vTVjPtORpJKic5SWc7vTT5tUO51GFJZt1f8hjkx0aKxAQOkmVHag+pCzV1tpcDDLkxFiTXqaFEOmYkdXIz238BS0/W1I4EsGussNTpuplqnLogwGwpJ1wHvY0HFwpLJtZmBa3TfbHc5RRevoEygGUHiSrfxAvxP0TR7ExrRMy4/IMoq7NrltIWcFNqmh/iRV2zcgsYnxPUK7D1U3zJ902c5NSunXmzdjXK7C2C7sxoCd4jqzeoHPhwV4TF7d8VUsriD6Vm0FWkZTHRIfYremMr3LfmS+POK0Cnz5BcLoG8Ze9mKasUWv7mppsfWt82/39FlKEieHM0QHH845aH5CXCNYpmkzvdAxU1ldf+2oQC9IzwRbpjwSltxXEvShe/zK9iKtbWldP6HHX/Ukj41OyoxCYIPB/W9cHA2WA4ZZyL3nbhIBlJ1muKau40Jcd6ku3b8UXmufYZ4pgsioTIpOaT0Qzu1aVyy4gOsrN2OKC9mlVgEYXf+pRVeNojdvJCjV3cq/1P26ehsZOl+BGoT+FB4nlifNWZGoQQhZnyg3z6uiDpyz54cgxE1NruRS2edLdSQWWrcwI92V/E71PUbSGOgJZIQyspbhZcwGWkR4T9mFHyhO8JzCP71J3saBSaCot724L8gbqfxcyoy52s6aGAVxTizsB1HSKgcTSACu7IckQM/HPuRm0dsZnzo1qP22S07iqSknwd45dYvwkhawazCG/Fz4bgXw9+5mAJ7ZX3JcBLmp19vSIIVLxPzX0bFG1qKMhTQ3xJOk1WNupNON7nY10yemX5lot1ppZn+hHGK02/r3GJyl3X47krQRhsVPtgVw0sT+jAt/tdfErSfLaa3vawUFGe/h8QaynFn6tQVChHBH6msQpyyh08+QGcsKQVEcEhN8ohCTJ8cnOYBBgjiw274AKrbZN5mjHIsRql6u/Bg1u8+DG2uva74VUjkACG8RAgmwgTUFANFnXYGf5VdQy99ggVhMXqI1Kec1BQiNkEnl09LjmeUk1+JSSIICoaZmu4Ch6w+S9tlHpMPZ3sCbCDppwk+yBnYoX3PfOCssWzsys9QtDQt2547SLzeJEhQKESn1oi35S1xPBLrFOR7/lUJ2Tzt0tCIv5Aj7V+EXY/btd7dyryFAeZX1vTlFon9Gou6qBh7sJZL75wFv/UUrfRWLasxFgxNej9cC/gfEX18BJvdM/rgJNNo6p7Z/wXhUBjXqLUuKns03ykYG4szpRk0TA5b7l7bzyjsNranLm50XRmI01uHbnmVUSY87JazYAEZle6eV7W/KGmTqDXR/FwCMTzPL/rKNRKsG8yXlFq2n7wm1odGWQEMIZ7Jm2EJwIB2ZYEIHnsINuXk0Lbrhr2gIpkF2aFh2qD1ggbhSt7Fz0qYnZ6k0MgIWAo586+Jks5Udj4PqdSkZcRjHkZ4frrxjQlXe6hyWrtdrub/QUdxzX/EhuJcF0t/UbA5b/z6tIZpZgW6UtSHNPWn0wKnjT6GTNzgM51pETw+JWda9/CKSPDtz+oLstG7ZkQ0XQB0Vdz8G8oszE9fnpJ+mWMbnRP82jBAET2IWhCr1gPrfB/bRHbkIEJKAKHhpXc8j7vDN2eDZGm/N1B7JY47Vl8uY65eXeFWlJnELOtgrBpjXHs4naTRvqxW/03v9lCtyk4oOVitf2hwcho5GXm5cXoiYzTeujwAB8SqU2puotwK0Mgg/G/6jokps9hb7//kViiLvyID2dkuHJxZelDW9W4Dh8NCcFzMQpsqxq/fWtaEvAGG4oLADUwznkGHSJlGJBQ5Vi6FQQll9BrwDP8iS9PFyQe0gy1MqF7BiU4zvpt7qU32urqde4sdIneeZOkoKOwLbgggRMM8YTicnm+rz5vqp76pdqOZ4Nans4Bx1P93YKteMnyCcsMQb5gSvoWRfe93SFiCDnCl+j/kYdxstmzGUtaka2Ju4PkdlA/YjYBU2CdokcjqusE61YH5yC+Oju4aZiLpYQ+xaE0qAIGWlb0bpD1v8Rl4PZlusbDMThWuQV88BFdqRs2vSQd8VfhQZysjEGRTJCJd6rKtdwJCmrSxOMaYRgCCi2KEQfExpwRwr1yphSD6OcI7cLiVVSvFR9MqU4IkuBRJZzvf3rtoIrOJcE8mIoB7QrwOKJ7G1HuH0jylWL1/a62BKe07V1eJEhUawnAn2cvL45i41ZQ46ur6cF8XiG0Q7eRVfWyMrwuYcopqb4HPg+Oxkh+wBU0cMVCJiKHp/b2miOR0AfD0fmLQipfM7K5qdABQv1hkupQibgO7lmZnhKDdmfwqqhTjlQniBJuMe3f9/gayDoFCDXyUKglFrBTPC5BO8PnphbX9KdtUA2Ocg5ON4xlze0cTCBffm00Bjm7GmG4h/XtgC2+2W0yLYy3nmFm3/r1x2sBTm3GkvRvjaeCVA/K1PKKngtECHBAXIXV4bBojdpBd69lYcYiCB7SOJWBv+QPX1YWT5SzTdOq5Fl82sdspcjAMKvxaZ3BO/8qk8P0lmCZs9EU6Cf5Iw+sbTwLj7/b5VG4+varIwniMI0lKf6mOhuyf24gQU1ZkjqXMv1WoWCOk5d6Y6Gj2GlUed8V58S0UIaFqcTJyrCKZmUPmHv9Opp6llur3bRC3uHiqKMjOFEkLQEdu8IiLM+RMJRAm+feuesBdngqz0EG7o//1s3Q7uu6i82prCquDNzUScDvlfmd8/8qkyRatuTl73H2DY6/16O8LpeXMfSyPX+5UHO9JsL2z89vu1bwJoqvJg1y9n1VGO7dQKW9av4f566DHU5Sd08HL2WPYrsB4eB6Hpwyg5O5FBd+w2EfMT6md3SXES90aeOno/HYSIy8220vNcIdPYCm+M4t4KDsBK983mBPpol8ZqdXEVXCnpkbxt+bxtxqGEw0x1Nag3kREsRIJlEACLF1ZsUNckkgrsP4GQpMtmO8n3nsds5WEj09xy/fKyP33J272ndXXrzYVKrIRX6Ni1A==" title="Mekko Graphics Chart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457200" y="4336619"/>
            <a:ext cx="8238523" cy="2153198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143000" y="6566356"/>
            <a:ext cx="16866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latin typeface="Century Gothic" panose="020B0502020202020204" pitchFamily="34" charset="0"/>
              </a:rPr>
              <a:t>Source: Company information</a:t>
            </a:r>
          </a:p>
        </p:txBody>
      </p:sp>
    </p:spTree>
    <p:extLst>
      <p:ext uri="{BB962C8B-B14F-4D97-AF65-F5344CB8AC3E}">
        <p14:creationId xmlns:p14="http://schemas.microsoft.com/office/powerpoint/2010/main" val="5507193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vate Equity Deal Analysis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457200" y="1295400"/>
            <a:ext cx="8229600" cy="685800"/>
          </a:xfrm>
        </p:spPr>
        <p:txBody>
          <a:bodyPr/>
          <a:lstStyle/>
          <a:p>
            <a:r>
              <a:rPr lang="en-US" dirty="0"/>
              <a:t>The proposed deal will generate $231M in value through EBITDA improvements and debt payments.  </a:t>
            </a:r>
          </a:p>
        </p:txBody>
      </p:sp>
      <p:sp>
        <p:nvSpPr>
          <p:cNvPr id="3" name="Rectangle 2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ubs11WMMKQMWY5b07L3krsaT20JD06MnQKD5tJA2hZ0y8eNH59O5xkHMShUFTOWejkJCOFNDkvRytWtY2nQeAGVjheqG814pqcjBHZWOk+/LCvotofzyX+w/P5VNBDYdHiUElWEsNZlqr5W2RJeelB2+DeVHw99+gXUyqzIp6yGDMZNqZyhG5pdB3p6af4aQdZXD5FOzPS+NpLfM/JC0ZX7/yfw8o7Z+gx7UnN5lkAUbfPizxqaVfki/eDG3EfLRwY3F6GDB688bWu/76dxu4NFDVM9SLyPtX/AWQna3tG0rqD/lbFYgY1GQkQWKyNGJN8fM+seuBeR7SZFtCwJqoKzqha1f5QVagtFskqAjThBR3b+lhUmbKxd2P+JmIy7tOtedZQKqBqDFvV8lzLMrIF+fkOAHDcVfbyNrUPAk4HtGsHF6GsvOm/lDnMXeEvSr5Lm19Eb46HkBnaTh+kGx/Xor7C3lSSnyH9IB/TlFjRYsmfgmoMMIjBgLPdyfaTaMkcESjqSC5n0NiYdvvC9mMYdxTxUmfXQTelHEU643MDmmispH+8AzJr3Vnfu0gAhfxPxdyKIa9X657PdDhMunPZzyJj4jnWKk8Brp63SFXlIKr8WA9uqQSTXP/oDJapkx07/JR5+pMg+h9bqh2EKUDWQhdREpBz0GjORRb9NLWMNRieXqEuCy1aMhi8hvlUs4POipcgybmysnC9Su31YWEJmew9/PkIHrcxMbdMpGvpdDaUELdBsCXMd58JlP4Te/Vv9u46XhCdGNEZyozEZnXz1sFX+Xs5fJ3gJu9drhk4UBV5nHvxgdoZ5+YiHy2yFirZ97izJD0ctwVmSVXJGDXN/V6GOXY6eCCkW56kjYVY77dDwtGiAZYhES6bFIGZqeGCZITI4S4kQWiTTEfUHmAAgKsEBZnnNztbhwPGiyaP25osJzj20XeLWGlv/49rgVHPt34+6+SOP6MtML2uZdDdt5XuoBFkTwSgIb2xmaR9FSsYx2vot0CHwm0QO1awbxEoSuwwwi/Nk1syS1YISFGCnsTjuTVkneqixR9bPQm47HkbwvlF8aSM5+lfDha18V/Kh8x27250uEJUOisFPzokM8OQGODQl5KQ7qQGHRfHZzGTayBW0LQS7FE2nT2bZ/xGWB0YH0z73OdywPy4SKpaoq0Ea3oI+Rdu9qxUXRT5YrqieXhQZz4xGpG6Z384BE7tO54rTtV5HyPIc9JQlHqOct6sj0HUGpKjNzJYCH+ZsRP8H2ZJgPSmjbf4cxQpiYfxWmUbOx13/OEiOA6oLQ3YhS8Brr2fymlJhyut8hXT9sWrmnjaLHoM4/5/1/A2pNyRI1ZfjhDZx50YMZrxuv4aOqxiK9T/wPvyYJ3aMflnQdwtWr/Foya/1CdZNrpUhNzzIZf1uACiw+W5JOe7ECXU/EbA/ns6D0rCLeNNa5GpQYnyXRcYbmICGTAZ1O9ms//BW2rN4usb6oFg5GoBMdKDQso3yuZB+N2YosdPdcwWJcNaRttS43NEd5XOzc7SPydFnC3FMIFRNxGmdBZPsjC9zBmg2vrYRdPWd2eh0fwhnNB2tSp123xTfgrB7uFpVBfHNj2u2hBqoJODeZ5pe7xjsVGu8UHSin0bCIwmxvDnnpl9VLxvhfnzEyZpFoR+3smZbr4iYW3MUZ1HVNetiwRmDmSVQgjEbddNwLx3SKiAvB9aBq5kkQGLRmstYR2Y5YaELQSxeHqwUNzw/BU24NfxVwmSJh7wAwwUnjtr/rTDqw1waTVqKO7NrR3haU4Y3/b4VzIuR7yNteDaHgAXpaoVeRuDuyHOJ7awml0XeZ8/TA2+xlBl+6Df4J4z/YfkZxqYeRrOOOSUthSA8puBvrEgkSm11FzlVEkvpKjER7BH1TXHw2GJStJE/dKPD7j6yckCpMs1+Iv3B/xQ8ytqnz3JuGWgWAANFOnP39CnhEGljBcoJeBzvhEsy55CHoz1SmKysakj2BdrVRFB/I3AVAgWsFMtPShbxl0RuX7tNQaJ4zJepZqUilUDnDpQX3ZhjUK1on77PMZ+7tI+ZYlzpD1Xg7JxAxNsG9yJidTl6KESbmqpG1d25Bb+/L0CJef2lNJeHlZekJrQ80VndCDvenfJYoER7vtmkwsaPb6RWsdu0FgZcJ2IH8JrE8WxJZ8RlI+8pSfNPhQA62tXzLpeBxfW9TQphs2ccNoaqVMtuF1ir/mFMVyEQFlrSCXANzyo4TWrdY9uDnvMjZU04Y0+Mi4wt1SkNqmSlwyrNlxRQHASS+7gccB+icenTgPcf9LyS+YNcx/TuHyOk/ZKztVKwjqiY0wnlsIJKlICg9Eq2F4XI9MVt5ZoZvJ1myuC0aPMcDjg7YrNM1FRYQ4ZcLu2yyYMrbg1agxU09UzEhFgzKvIyEJqo2lxEKRXLJUQ1xWqDRyCnkmulzjt2Ah4yibRi119LNSUYIXewqfTZMOib5k6x0/dHh+e3CHn+6Z5sp/sr3Gt0jPbIhlt9g3bKUL+vZAKLU40P3pWYzvI1FRjRY3HaMCa/fioSqweuKC6dk0cmhyIle1b25swbpGfQxSlXz4xR/LnlR7NQkz1wP13LZungV5S8+D8bqp0b3g0LSkdMsJ/IBQL1Yfqkqh8O1C+WZHpu2pu0/K01vJ++D5ukVZizeTlagF57ekfk4pQ8Njg/erjgO+NGYQhP6LbkCNcObnAdOC5OkWNN6SxoyC/BInjf7pb06jXZ/3Du7tQx+LTBmimkQZzcWzK9RLBjOiHT5DSdgyFsMFqfbGgeUV9iilS4Ce2viVCGWoS1jpjgnA9/L6L6C2mjC/njwYte8YIiJ+EsJrQAAOVFJ4B8yYu+lgj8PqO29Ou/mVyM0rYCb7WIiDqt9CI5Vn9EeMmNEmbOKAjareL65K0cHG4MJ1Xm6iejA2IYas+eZC03Ntcupw1T91x8fTzjlpF6GQcYZqEAteT5v0SeVR/IkGtyWGujlNr1fiXn+Q0YhyzmOpRHayA1OKzOwN7YmaocRMvXSCdW4l4q7aJhqMd90CYmPkEg3Kp8EusM4/xUlScfghxdMteGNXfNoPTag+A4Cr3cRUeXF7zZY1+WjdNRbF9XsiOTCqpzk+3SleoMLddAfWKXTgnZiXiA8E7DajqukxPtuUbHNjFMzVaOlfnsRZjbEB/KI3BThk3q4UAgt14SFbNt8O5fRTrXolVeXjb6nQ9TK88RtuDPeFnXwl78Q95uoyuXLbhvJtwUEMg3xYLiFGtH6u1h47OMdHAfsIe31KI8d66grXwCO8AMwSy3GgGdnvNmH6srrpioIkq2/bvybjBa6NsiGz/iXy83EYKbWZuMeGoIdJJk9Jbjo8coFkGMgWk5tsH24B3hHJbgUjY3m812NRKS1Mf4tN8STVNmfg/mEsPWlvhZChUb7CzG69M/HHPWlufOFI+N8AFzC0RaQpT4gFeqsKKn49qeBK7lYXqQMPnUt/lg/q+3SqsDgt+8cax0avZP7qxmnOTpocYoMFdfrQ1pLnWcs4z3MPyyb8logoztEQiLQbd1feiHf0n1M4gJgikSBPPwF++UW2YpZ5G+MZyKOs38WTauCGcjm/m8SHiYvPfdkppGK9QG1V7c642eqKu4v/G2QUHbpJj03OxUGaOWx4ZwnvA2xEMm7MqLbJdZt9ozt/lEkMZYXXkauvqKAL93ZoTLwAsn7S3yrO2cLDVnbMhMgi0e2HJwbJX+TLeKUpf1jaxEaJR3Gxp/mqC/gtl5MwPmjFNFAF45ytyVoHM4Sj/9YOUXOiN+wmKPYhs3QKbjRz2cDBnRU+YeUodt0MWFP6h5NdHWk7TvBBnoZXeWT55BD9K8tB15yV3x4Pw5zyK0qI1gzkJ3i6Sb/blwmJ6Es83dyUm3rb22yIQhj82mY4LJhhBydQVpiC6C8nr4fZ8dkAn52o11/AkLcjxABD5LjiuJRRzBYyhbhg4ieDNag3bz6QtsVt3WAgmIc4IlISelIXt/FpAh5FTyerwurMR1WSG5F2AHx+OFPgk2ajvn0Vl4vH1xnr4J19dCUlq0JvxIv7//olRvDv1CxlKNdh1CQoAxc4N7KLyur8Ubpvs25TQBZbHug+s8B7srYgcO68hQq9o2YyGMyPo1lvBLnRHrMyPHQ+veGmdRHB7ckEX3roVdQaQ7oHJKlMX1ItCda6QHhu3golrqmijs4qgtIZVWh74DPtUKszimu+3sbe1vIqQSSt2p19VRU8jVv8fIxvsyZuMZyzcGC6KskbBeWK0G/eKrrFat1/dCVZE67HNJ8DP3T4tVisVG+iEbf8tV4vvnymcHqWqdt8nwUL5vkkQGkywtNXUdQFs6En3yuCY/ypyofJHbFc3X+gx4qFzzsqaSM+b9Mijq0Vr8aIFgzp9zTXXDwjkEBZMMErTJWUm5RhRr1YoDtsbfygRypfEUWwzakxDxpkpVcR6a3oKMrf0NBgIA09rxrhoEd+xIKMF6E46YRfnQApnKGXupW0Oxv7hqcsNph6RZOeY0IOFPTFW/T5ZIN8UTvyoRRzLa252KWITf3U1P/BaK+t9WWo3Cbh//GLSqDFETE1l4PpdDItDcOYullTtfMxjXWukl8NLBxUyVL8KtpaiZqtNxJVxwlWtiGJxo8LQ3BV0TO01xCGUWmV83v/+2KjJeGaeZR5j7ify2tibK7ao/QTAP2kPkKgR4nHV0OkFNCauMsFVMw2n8MU+ujZLPAW2W1s8AEePIQmpF4QSxtNCO++aUcWB+mubkVR5XVWqT7CGWgi/+LYcsjGU6RWdE4QhAzF34HIDntTWie19sWm5mcqQr/AssUnxLmfbItTIZYIP+EloFlCwsZTJECJUNBsZlIlDkOgEW7h35z2lGdUnYwE6dct5f1S02e+O1JHVhM/pKYn0b1u1+/SIT7dIQ1IkVuOiMhDkO8iTrQdQUY31T1NcjN7mNshcl+A1d1mBCbtrkQd77AejPa2IGL2egr4C2nnnkIL1j3aIUqtLEVx59w2H4o1hWlJOtOKhvY5WkqDFausagh+9KDPeCRUPcSkcpSZOxatlebEaAualQqN+gZNPFuXMKsdLcZbJJAMbtqUveqZEFVeD0aPSeh9oLlZ9Knuw+oi0iZOyPesZZylqyTsYvXgdi+UIImatqMlV3LDYvQfRte2E/M7YHf5aklU9mKhn5fEJ0TSDYWMj62YIKn1n9Gn71ZCdmmgADnTtR8b6K2Uygv9+AdbVwRvaAz7iYorxou5ZfQIu0nxNB5j91TfGQ8FoWTbvYS8yLbQPb1gvnVOYyFkDuzUcpr9j9nj5Nm2HqGWjzyu32fr2xtZY9oBSLonRn3NHkPKT7kozjdLaSZQhVL1R9qsXVt/Qy9ums/hd8MBShyI1jnft10SougGaeYVUG2wbN9Fv3y4NPrr0LQriy30LIlqPOcOH5TJyPmQ0Sz1FhQg1mHMeDEpNHMbLh69n4bv0x0NdWagAP0+X7W2Xep9PrCEWozi6RBM7G8S8lfSi1VMPADJTH2gJ9ETdNtcxNfY3goS8CqEvJSOZFAqKPbQWYK6uuyF/h1Ph9vCJMaR5Xcg8mXrFCPvWPmnkgHcJJZMQdqfuPAgvmNlxUnoR/jiKAxOudwe1+DM+w7Bg/W13271VtcPX+ivqhVTC1vIzlvG2PzBrrUrj9ZLd1KHEEypLS/jFBNjuUoybKBshvWwgjnO7jjIoTMQmhO/EZqMZSQWnWuHzo7NczbmoTZpAS5bWyhayvwZ9uBSwHJoT7hQbShDZF5iCKYFvWW0rOAc3aG/SS7kQV3QBf4L8zPRxV7HPebwh+Xu8hCZMgg6/mq23WpYmU9IWPqrzpvGQhe6BkMCNL4Pk+oNKaPVhJYjLObum3SeQcCy1ZMxZPPt1WTvhNd1sujDiQ/lbU431w7KgK+TzrmYFlEX87eQsdXZ5ST24/3HouwpgA7twVag7zw/Ra/WD215lq9VOuNdR9uy+KrCajJOQjoiGpUrx3IrzbLPajSktTK7/aBlPEJe1H+d1DYzkZBC44eZffGxih1T9wR0htwGMr3FxFBW9xohYZBN2nn1nVWzWp6uVF7wuz4tiIir78PQrAWOVWJ7WR7eDqCVLmeLVd6C4DBuJVr17NE/92vnByLW12x8kOdhmOFKy7By6xB+s3dV2xpuFS3RevDs2hBYdimRoIIZ2vxK9Z69pQuuUaCZZdXEhw1B5OQKgoK+DGRzsXi7C1uKMDPS961iIiDT4Wt8MHNMlc441dFqGzTUCcjI9TWDAvmZs+qbkRBeu9WKQ6XIS59kLSLjRMo9AEh5J1y8I7GKmi9aXbX8aCGm9OGG7GgbwRvqYIAYCck7l2PgXHN09fAft/44AkJw1ZFZyFXaI8b6MhBIVPraw7o0yupUg70iYWrHQur1Sbak37kaQF//BinpUksYkgdOJRTKrEtERldyj/lDuyaeLz7tzngDyq45109jRgfHsOV6m5Uuthh+2oAUdD/f+rADtbeMTDzkd02SD3EF6pql0eRPdfScvxxHVfaS0Xovwjm7bJGhiiSu6I9QRXh7YeFVnUthIr9VyF4h58WluEl0gDsI1zqB6VY9ssn7idwP1PNuyX5q5+VNTiMPV6Kyvk1v7VmtTgZ4fdj421zQvuAR6b5FCdIx3Pr6pvMZVNetaQ42CEnE291vvFOtJAFUFFRDb5T+WD4moVGSDJQKJpJn56DlxNqVUfrVObde1qZN1uCJjSj+TCAKJw0DZVLzFZ0M9GOk8z6BdT3B3OFmitGLFrBYEZPyk9oeCwo3+zLLNmXPAxcSXASZl6po97V2jDRrvKC3HQiTYozudL+PITouU6uJgkh2p/ZV1PbxeDrlBRLkiTqFEqv1Fr7nmAO8FcZO0CTU/T7vRIlSULLcOUIPi2fNchsTEAGaY6ENj3vLyFQ68o3sion67V60rWVb5Wa8S51iZHVv193f2T/LByl9DVwanMbqHeGhJitOn2yoiPTm2LLgV9ef6T47NmD1fuOga8A1F7G3rEXDg1hX8Hq8Trmm9Za18I34i4k3rAXwndyG8KUhFvFTkgzNQ0R7FrmFxnCfxcYX+0rZ2PnoiITwKf8Lo6lM9/VVCdGkxpm6Q+vVzus1NpsORkraevRLq5HSr70VoQzdUTXCASizTjfB6RIKRij7v2dZaiYbY4poYccxPT9041vJnnfW6bATsuhAvKbKCOigKpTa9MoOGTWHDKXT7ZiFeFama6CZS79udlsyrJbZAiqLOepsmxBNnTxJ7VNU0iAUglkynR3vd7ZCjCWWtJEKSlJJ9o7JH2YrfBIBRFzWDtr6DkfPb9u3Xn+V5i6wipfPz9iq7+S8iIjnkboT5nZWFkfAxM+m0/P0TnWH58az2H1EoPAtUD3t9+sKSGlyYj0aWjYfwTPnMFJN1LhZANRFqCU8Cz0851Cdntjs0tQke8HDJS1ZGtjfergnzZTxXsYWVzxGdwuVgI6lDcOnxHADABg0oyetibxUh1iZFYijY72be6TLpeQhyFi5UMKlqZ0QjBvHsed4mn5yRw7wzGFdjQhIYQgaAUMhlZlVgI7ku9uCLjlfmrO9GjpCxd7cjFFfFinGg1qvYQb81cqm5vT3JSpEi6MFLJy6pXofWmYr3l3slgLQu8MBj7Ydf3UXRRuIvqCKNMw0/B19774T/JjLHbSRO+9pHYxrDiRtj/DspFG7gLhSANgVRjzruKdBSfIBfFKKFfap0sD8wF8yDmyYLnI/qsIjvEC1mHCBEzE1ic7GCQbpdf7f+E5ZdOF8C6oioVjMGBl1N4M57Pe1HDp9m2lMUgIZlZuldvqQ6O12jOC2UYiOPFdMxKPqryByL6MWguDr/jVB0kZsyNdC+uaU3r0EWg+JG+EaOPR8Kd9lwjd1yefwP4NnxnbTKDNhFNU1onaq3IJ8LLb9xylmawJqBMhOdYw8iTcO94JrslL0CjYN/XjAhxDXHaszbABYatnn5zcqSGp6dev/mZecTC6VsQqeAHpo+/oPm2DozJrPStM74Fsf4l72Ob7Ayf9PYiZFA3eBxM107H/QQh1tP6KoiveFDH5LVdx0cHgr0XbJRDYb+Q4XCNsLyLePvr8tlHKwfRB/UCUD1AHlNiRYOz62l87eTNfzKnTq23No2FX7I/JHie3kySUo4W9lc8PdRaVu5zMP96PRcPggAGcHVkhumTrOQqOJsJWuZ/g3abCjv7TIhDajmZNYUUghXtGy4MXnm9MpBdM7Hj2UX+PMHq+sMk4mm+RCIyO/T1AQPXvAzTTxVVylJXzXRAXbbi8Gqm3JjkUqHJYj1uQBh1SktX6dyAulDUM5IxRSxmbBw6Krxp3f7/CbiuN14Ajj5o///7Rtm1qg3OI+gMHnYdutigveqYIsaE6Mo2zsg66omAWntWeTrLhbXtbcrUo9YuEP0N1wziuAebzWU9Vg03+Ahj8Wq72kq3KQ1RpEFLJeM0rUkoEc92qs/53AefKq3fA092yCxSh2WjthNx/g6FFaUUeh1ODL1EoMwht7ijy3joCdkWM4ivxYKMKhAW13VIufZIixpHk9hgX1ZXB32Sf6k5lQ6qUcOeTqnAzEvduGma6Yo63bPHVTyjatvBkJo4lJs/4VhGcPHYdDT677zROUqgkmgqYIfog1z7esa1kK2fBaLrZFEISiCPGMuzKJ+ztmCDemx+UfP7R9fOMvV/A4xQMIbsEHLsgNLENo7UbOH/swtOrD3bKcciS6PjWF7NADjqO5zQ6G5zUXw018VxS4QR3PfBkDF7rfzJpu1Y0sjJif5yJCcDF2biKPYLxx0PWF8lwp1Oe1Z5K7giQQxeB8UPmCjXBrVhtpr9qQZqq/gT023WQmi9BrgkDxkM9ktreIr7ktpnkJsuUhK6wd1dOKapEAI6qHdsd5bu1+sK5di9HozfOFaicpD+PbDIVNSteBua8bpJqr02/S3/10JfR84sejhLibUwULWd+cZk8da/+jSyu03PQTLSKb6ZcWug8P2Ed62tNbIk/J23tE/LyrDWVV+2wsVl7+5DdqCgRACOF0MZU5xu8yZYxPWq2N9+S817ElSAgAiJCDmKs1FPfdzfHMFhZoxvuaQWvXRCjQSqUOD3xfTaEEIl++HdRJf+CPgcjLrhxlag3tRF6eACov18p4lEmewd/yGCeVfaz8PK2Pb0U+PMXOkdh1c7qbhighjzIPPAGA5RVS5BaXtliR03AuasACMdLMZnrQamYdv68YaXo2/lxYl7rlypvNKAYmasfoiK4VI40pdzKpk+DONmt9ZDWsGQJq9TscGg2NXX9eBjVgR1IeW5BJTQJUw6UsRJivCfGsB5phHLPb1wR8u2NLcOVlHpAIHeYFYRISZIcGmhF6CxpXsWDn2QtAGySm7UuAcLwgr5rMW4oXujK01/ajAt8YSZgmcntbkrzA5eSLYFM1KNnWpdwnJMeHq4OTjZ2Gb8EWI3o1cE80Yyb8s9/2wFZ5srFsKuFeQVNo1Pww09l4qLqZ0pPVXSZ8SKgrcsOqSLxyNaeayFnon9ltPG7uQNruM5a4ZS7XAkuY9tbVveZlMA0egfGnfM2O1b3rl79FyfvEVEMDK8uLpmbxzdhprPRsU0UuCJR6KimSjc7RZxzFDMSKt3IC7sdJSamH06WFykAsaSNwTN6nJF10E5tyQ+8wdKNx5NAQRcG6094LpRvd+51quoyCUJUf2aeIshWAW5eh9dF06KMNYoiG1IrZ0pV4GOGYh31UttYMMt6SkSpJ2K6z42IXTg2mDa32hZogWoqyz+VBZI+pHly0wHzxpGNP+9Sfzbk9FmCRVVN1/pgV38i4e+eNu9xhqT59JmfxvEvygyLhevJqMe5lDsK8PYDCCHudF3hruqj881HGoIgE0Pf0Qm546gV6w0/4wXAzYvDvyX81GZ0DpLF9LmDB8BhWIi9FG/fcJxJ0utxpROhi4ditk8XOiViPckQ/9TDWobNoL23uGvo3FYlY0WghtE45GODwNRHPqqWFr3lAI1Geksl9Ql1hfHS3U8TxXOzwuwlbsbZp5yDVic94LUj1KeQma8F7Ewibk4QRkjR5WZXdAUzKUk43G1FQGTwFbrPdNc2tJ2xatAbQJASr+423yN1yw9P5ojaI+iV46h2SnTsa7aO8hNykxe6OzbchbWYF5cOYBaHH6fkqNSsfBmgWLo/FfA7wFdHL4MkFwaAvScsCi237USgx0tfVkoUWsXq+BnHqy3uuO23uaiFfmErJFnlu5tPTskkuqp2I1BnfZtCvqHI2ITbP/0FtuzUx0GitAAmYhpLecjxeWE5Aw3rYjOAya77Z5XEValGv4C09VcIy+aLWtSYDK7sAaPLOW4p3l9gB3+xp66R36uR6kOcVfMqzXkeMEJ/LsEst5TBsOTl3JjD/9lood28pl65y9W9TN73ZDftZwjOo0VWzk6K2LxtYbseDfbwQrxDIqcCcmFHz+4UdYnWuc293qBL9sJn6aiD/MqBnmcUlucW6Up3sV/mt8wAfbln4v66HOUXx/w3m8Xuc6O4f8uy1jqFiU0lWN/9GdfoZnPAtOKheOSH40n0/2jIhwJcXSZdcYI8xI6etCfjhZVDY72aI1XJsdr6mcAHvI7VSi8vshPj4i2sqshqIkb0c93t8RgrQKGEgsji/crf+rDLfQArfELRxUagzJHmdndsocPei5mT7Uyj2fJrKN42jj3lWv/BRNziHfgKxYgxk4GWcVVZdFz9je86GabsbHqQPmuidwrBK/r/R+K0VlSFNqKJZuDVlcSSCDE4GB+p4ZbXwmEa2CvcSnffS36x82ZyZcmqr2inzWL7+PrDK2id+vT1hgNm9UFuTNnz2gy2mR0lVY89ixg7b1oSrFhKaUxtTwn8EKiEPDGDBkXU5aj4AHZzgMmXTH01qHGZixtoIx7ZPvHdBTVicKXbvI+jo1lDaY3fUdqJ/1PF6JaGeIZrFoXaaCbwt47om3bGAN/pO2hKi6BF0XGBDGDVhguMGdaUIjyjo6l78EPdF1iaO/5jb6+MtVaTkV2spzl6LAHfeAdZqT4OsRUwJnLGfCBHbrb7LjN18mGPmJ67M4oPShIauOMV3DLMAIUQ8DJusnIIdH+94Ab8MFF5LJnth2ylIWRVsTMM4l8YfzlsocpJAA9A2PoTZ6LWCWRLQwx1W30/yRaz8yTyV8VbpUB8GuFjw6ZPvOtrfpUxdcIABH8umR5+jxk1EOO9GLvGrt/pFp1yzgUtueGJ7sD8KvrVymoRpO3ialjDpztNxJ1xkr2kR3dYyRphAZ7v5zqISQSn44aVcZQcL0pMghiNBbSJ32my/jgUvkx17kB+Mqb7q+HlIh4ahqB7X1hNIQgwFCtBYs2e1vQ+lPKNV9LuXmiNVVPvB+fcR/ous9GjhEOKfCXU1yXxqrcqY8UBv1SMCPUJZGhpdM1lDxO0NQC0NfSnn4Wz2Ocjupe/7DoEA0c5NSnwXwdOeB2JCba7tAUCa3n8Di9+0LYp6GdmHpqOXbn7wcKHshq0EW2ynZVdj83z1XZUXms5f4zAMQvey+gCA3Xxl1yICFgvtCGU+6YjecZRicV2GhM1YM6J58CuGLcETBl2UEfAtxRWqbZNd4ECbe9yzHmsVPDogikYwtMZZFw3lUwGGR4M8auGF2rdq/t7Oyc2Pd/M9VTDycE3/gI7etwAyMcYxNnGN5+BxU8ofOzHC4l/CKdenVKvHOH6bL4Lvlo12ZOrQ7Um1/YAYeEM0CLCKO0FxCskaDzuDYqC565Qv9p/wDZfgbjdpny7/yqFj6t4MU2lp8OTK2NrQShQllIl7i0stBYtD25XhH6gYMXcNGXirD2fABcJ3zaTsZDYosV7Etva6XkqmpQibselHRJBxNPUMnefq7wrE2YiuEOhSknGRPU7n6lG/6QXXssk4Yuh4v78dRRGQ1VVQYWEbt5VDEfO6JKHbjor+3LeeWTKnTe4j6trcH2EiSoMZaiTBKX6myKQZoc4sWM52eo1Uqxiu2bGO1B9hOTyfM7kPjnrHqPDb7Y4OyzDIwQfi/3MeOSe0MW2hrXkm+o18CYY2qxweo91rMlD8ACoNr1Bfa0NPMm4BgdmY8alx4+nn7sabbx2EvPF6DlDDQYDeqqB+rlzBYWuvzO6L9ZmzshZx03izcnv2odc055GkWrxSjRDRfOfIJXuf/4ydUKrnF10XvQSGq4FA01ZCYEZNjkcQ2yr/NBqt+OwdQjlUV6LS4s3jtsG5VAtqOwFsaUWC2VHE+oUi9/MnffEes4j1qf8SlD2NNUVUIluVMjOUm/GQVCzkfEWugttZUOrEclrL7wYXtP86XakOXjorCON/wmcIGsCHYcTP92qdtMutnWLTOrsizM5YtU8utsrSppvevMhXFwZ5rfH9xhTQhric9poXR+j4E7djx5K2ecLXmBsF8LITo6XX8PqXAK83nh0nqgpxcXLVhjn1Rx51fhWO4jPQsY2H8amLQGZGcmXQV9wD3kT7k8/0cPGKJCg8bUFouM43XnzUtSFZ9K7PH3/Q2oHwUzhhrDAimXXCUtEE7sWqwRc92+IHxzA6BPxo98GU/q4ZRNadJfarWd6ZeMcrpubeyjS6jXUqjilxbn2dK+0XN/MxPbfqsXac5Tvf1QzQxmgc4xxA6PbA1rE5PcipqwuBD/JzUQSezfG+T7g3xTu1C672RHkHJCUY/7MhKSUnoDjvlfBQEfhysZpGyQVVcpJquXodGqUy4mmIJGfOBH/SnHv/v/etBMBtT2HJkDfkui71O/c3LlCaOMlH4yhaAeU72u5w56kCm3srrZ0bKfZIW5wKBpBt+6TBTQ2dm7IworTf4ne3Vuc2az61Yn8DoNclzFD2+oxz+ueDFmabxQA1d+UNQ7SIWxUpkXtH1SpDIiHNtPwg3BF7ZAuGcz/5Lcg7oy4kvuOOJV7VnDDVZPOEu+GBn115Q5fC+cZhn1jWX46qpyok7NSaZgnw4lu7Y4dyGAwaNRS6ldlAFWcIacF1/+/wQHrffN5rPxTS2Nhsbqe0Ahcdmi7qGx6XMiOqeXH29u+s6IwpJmtzffOLhkxtQVekihHryQdxv85PUiENAr70D1J/1aMj4ybymn05D8dtuCuD216bTWlF0/2Xu8gg7g85YxJCAO3iTMi7qza86TfAKuuJ2dIr85cNW/GEz4q7BMktpvjnCAnk5l8H6NNO0DMtns1nwqaVlzRZWyvcPUYV9LSP9Png8AI5oiqEUBU5L2vCIMd+oG7ztNv4XI+oGjj8YKABjalRkQm7sB2SgdD/vOpF4gAeoI1U2t++lyzErK4dWhQfuAGHDh0wlSRNkqWacjfQcKL8ezsV0B/wxPNyf/HUVvDRUvh5IyWxP8AEkVum+a3WRBlRI61Bb+sPYjifibPdA88BPqaHqEz6HUkf9NegCWRxR6O9AfR4yCCsC9gRwiWDAx+x8mGradFrPh1lHzaQ36Fgn6dLmgDv86wMnlcUpvrb17xXZqVzXMgLYtekgulvhqdK+wgWX9R6TcF4e7X5v3BWkF9R8vjRsl8gSNI7dXLYSClGHrKzvqfUh0dwa2hKIVtnchyGe9SF0w57P4Tdqs2IwV7e87Py9oBRDcuU7b2E7Sq0VYMEkTow1CyRvcw0y68Bln4EzAXXV0BRM/FUbWai23w3QFQeTngwNZXyP/kJyIIWWEeoh8puAVDlGTDOsfgY+WrpDa+9f797LCseHVQrvwSDech5rDuxxoaKj8VaBbIC3BOmr7hr0gmC1pCMDdcgFEF7cfMmxkxAJkn/Hg4z3ZQkYSMGDLNHBTsTv4Z7Qu3CH5JXaY4SGPTBAjNeH52HQ6S+vdZl2vhqxTqWCweGU4rZUsaLaGCYbSO4XV4quqebw17kmVk6JioFCsrogTJ4R/HeYPkz4+gOJVm9/eDPCl+9yyHlfoOq9Yh/v8bgKZ4Ubeg/VVBDzGjgWdGkYaEIwrDfo2+tLKYcYBLY/Z+pK5ROiNe/9piapme0rCcoVH2e1bm2Kcbo0v82HpMt9fmsGeYJcLdKGp0iqBpaGH3KmePLe+q7gnJjRE4VbWuOLLPg7ljUH5FCRi02iJVsgzv4991r8fUQvB13P/g2uPAxCz7GVDVb3pJzAuJ3hhmiiypaKFzPxmkZqr/JHtBl7WB5lDqW4nrpKoPXUCXGUOhycCaYpxanVcs/hedOw6AqChn+IS2iqjJQwp9jKtrc52wHrF/Zrgmft3DDoj7EYGCcEt3Dg3GlELnkmLTCu6Zxkaq2BhwAYykgzAcIRNqn40LWmO4ujVRwrt4PbF3ipj8ElVAMjXt8uuUkDxy8HOGyGJAhW1WzacUwcr9QHU4lzEGDK5/eugEThmQKxDSFVIDELJ6cn8+gxgazoENggkHxdLztGnno48IkwhjI978WQqS8b6/4D72/cy+aOEzBlDWhrrTRQr8iXteWBzOrFje3/1wBgiJl73sN9QA535jOQLdjpyM8R+qTsQuxOxiPGXEYEB+9kC7JitIFRCxiGOsBUSyoMqfFt4/L8sBol9tDnQdNYuSe5iNXSua0/0ExymAwP9LHj7ag104/qA6haPMEJ1gxKOp1nn2wdMIN2GhUwyQ7/yQrFeMkeTb4755G76Jdvvm9WrwTl8pr3DLOeM9VabG8c81RM05IxLT/YruUJPISGHdi7ndAC60uz0jZQerznvD3km3vz0o+bF+KggctTBtsKv3D6Szd6AHvFN//gyj2zZMIfZEUuim1u0pnSD6BcVi6zNx7LMjDlaNrg/GRnUH78/a4uAXki3UdL1IWUBqg2EjOzLWNeI6tjIxY2/8ccAi5F4tCtK5uIaGW9Mic/6DKL6VepTgrt30VXEzMxS6+55kbpxAcRQqdlNedd3EL9C9PPh1FtqCI3ogvh4ThMumPrsJU7sdYp5ycYgi0SaHe7rN8bKy2sDfAvax8VhCMYlueO+OlqQPtrk9rbhmYdOtFhizzYhIKRaOZEQ4NwMGJmaxD3Sg3F2/zuU4JhTk79gCf4fNNAumCCQ73Qcp6ZtZGgVHMMkxbSc5bKZcRuiP7CVB4ZQBHku7Ff85UX49m5jpyGfvN2g5VQ5TCGuRYwlDOjtxhj9+6o5TPTeNREq+q/KTSNXuALAg7TsUBH5PNolgMoU7XiAznZyA4geK6dfZgj7+j1HBoUOj6k01dtxUdbRibPJASzW/BfF47BPhR98cbiJBWXMQa1BnnI1n/V8uYiDIE5gBxlD7pBYV5DFCgbFghX2T/svw6W25qYlxHtwO0mUuUMWzRjseD+sLDUVc/BBAygU1Tfaf/3pCDFF6FPriKGTuaWMu+mQZoEKf0kelnnksbRwjUCEc4oYEwrnbAnmjPDtBp8VT9QxUW06lZ3ZTTUl7EnXDXZ7kTPACVBsateWD341YD1tqGin5LLQc9cVfjGo7rxg0TZdcQ+7LWVZNEG+oNSgXuudvxuCNdaMzWGNgP8FVhQmrc55qvitMnId2GKU1fZX6JTzb6F+4k5DqkjK8SvezEhoRDbv4JrtRJYEOOAG9Bd/fheY0+gdwwzBjhYWCY5rV9hB9izEn+x3OKxc30mhEds5O4OzPk3fJR6muJU15ZHbhc9ce7u2zanRNFIpHvBezEewLa2IBq6HiFsy17xXDxEVJtf7TKcqpMPsojJ8QB1sAALXFx2CCTSxvtBVRf58nv2Z7jSTSxJCfwTgqHkeOERAJc+J2u33sqasJn9Vx7Vv129I64tqKV302Fb2FaZ0EY+HXs+xW8t6P6/jOciw1rd/44Kz0qtYtPgLgiI6CYTscucqC4hD/GyW4r63QY3F+Z3aSjp3S6YvkOB1EvxvPzyKUqtm2OCDc7s88cZWisNiYBor0KL8JFERevIy22JsvvFxPAR9wYRUo+MmKReEHwfMOxT03pUi8pxjP3YWUSaYSA3yRkI0ZHa16r7jNN+t7x0Ly690k+sYe78hHzMP74GXk9N41RE8xevyv9mqG8c+g29mxPlo7qn7D+vyiaBlwwvute/1pMmzV3GWQKOiQPhN4t5JEluvVqywpQL9BDA6gRj/895Z/lvz+uva8go6be5hoYyFsukEVoaK+5i8YLlI69X1fDFqQUKISWRXsAdxpVqf3hIlks+Jg12VuRxKQ3T2apEjIWoYtbx58OH48wFGhUkuuX1lrUbeOXgIIJ5/L8+VpJ6rFLTFZ/r2UsX/xU9JlHfXBHI23Y3c/D+x515P5J/HtBcUGOnQIFa/NESulw8OsfzOQUQ5JRWOlnTVpRVtAS4aCAvsemRZnEMgXi5lNc2WZ3VO0cHQFIxrl7MtBdD2RXetF0stMg4J4FW1yqoqvAuQtJWWefnS3idgWlsmy53UV3ZDmZ00vDoF6OhDDIVxK2SN29/CFR527bYc0A7Zs0WadBH+9uK4wI9gY1Y5Fb2vgb+jqwDONio7w6BIzQgQHo6mQdQ8e4UQhI0P2JzouaSx5bqL2tBd1yK9e9m3mckOT9lptquE9jAcYA4QX50vTRX8H6OnviCvlx/JP/JPYR9EHj4xPCOEOc+VTIg9fKtgwwj98e5OMtACZpqv6NfSNKhGDD2BlQcEvJK59N5vBcOb2Vsd+Lms3cUvEAcENs+2otjICOFk2r9bPThAUE4X+BEg8aM8GmesQn+44bcjqFgMvMzinF+7iaylyccBb0T1ErZHROul6B719IqbS3lQ2JRm0j/uXaoyCIXUVwADW2LP7nFZVCgNWK4gCZ6WP6q8Q+FYfpqqwxGyhVp/KKeB3dM7A7Dm30jAHaqg9qn8tCeZIod93I+6sEhMQCs659Lw5PFHAkOiA3EnL1DhP04QHTyIzHbA7LuWqltVv7uGLVBxPhvoNr0vmDNk3+eSsNf0lhLyG6u0Dl8l/1CA0yGGtzOr+Evc644o9S9NK5x1txrCfoVM3T184lgGE4egnW1536yUCzo6TaQ1QmaM0dtyLh1rBT5llO5pvdTrbd/9whYP8UbcrxdtWj4be4GQdqEuILDC8JRMB1bApZxu++hwoquZhG6OBidKWfFZ/1n8y4LFd2eilTBL2wIWkT42AvvnK+O7oCoR79tKWjiF7ldQJ4BylYm9G1S6+jNiZNqrs+JAazrK4M3SWPXdlFgQJUKXYWU9KLH7hMD7OGl8Tnhlr/+cwDmF4DoTsrW0KJ3d40ZmGNpU1l7AfPLqPqX80NjwAFmoW73a7KGBlDQK9eDYruQh0Iql50wv0Aq3rbPVaQFuWnbKY+IKz+KK4vw2Iwti0xL+onbQIvQJCYaFcQBZg1ZIbUN4Aft0mdiSJTSJi7zcp8e+CL3dPohr3Desfom7TPKY4hpFb6ljGP5IhCYmp2OrZ32r72J6mkB89VJAb++CjOu3UcWrnffjLSpK2SRU7kT8uAZ/uS6dT6zRnO7qLYFlD1Po0OTAMjIbtOeKqVOl6OfJs1cxpYg3DXzr2W9MKA6BKXl9zKWJWXFdOkNT8asPEA0t1131A3CXIyUqq3McvSguIPzbgsL+iK3usUHHhg4hf3BpLTMRLJA9M/HfhDpI70pL7RsDTkXvhjI5DMMXzRVy+EtbPnPwl3eycODGigrk9ruXxQF2pxatO3jmmTS5lor6GXZGyUBVMx+jhwB3SNpieLNjmQbTOor3t4OynLU4hZ3OyFimnpJVrSpuVpgKRcjHebXQP5edWaCMJ0jp0z5kPAxlLeXPXgbZg+xH7Cs//w+ZKOBYFVnfPl1xIltMTawTXIM54qG1RTB4VAA2q06MBJ8ds7nUx7Zj50DaEKtrIOpaxR6bmWOvmbfgokw+ry2gDOK2OofMPbmNiDA7snq7HokvnIgyLyQtu12ya2FSCAs+gcskZazyUSibhPKnIUNMM6QK1b09SnSh4C8xG/jhngKwH3698BBOxcpG2r/WgAJK3JrrGObZqc3t7A1f4p9AzpSyEKk8Olo54glYGAURB0UdFmJnbrJ/rLFF+YasHHp/FIT8oAxE7v8rjZDSJb0415TVBUEg2vsu7e2RdUOpnM7HDcoWRHf31kZr3rXw6dxv+45GNEKfqMpN6TgbDq4IFffpnIn2ATU9Oln+g1BZoM4wiDtol8SXtwxmVCgbGcHpqU2SrRxEkknwOaV/FUU/5Udalra3JFmp973oQRv+EzbhUiEhZmRbjuuNRiml1qWSg3v5A87jtgeQzRS2fcI3U5YKMx/u8NQwWJHCYKzKkouoAbioiE9MWBj/TgcyLNa7jtBSKXLT/1ksHpd7qrj3zzxyv/8y7ogZx3J5chiBB4x+NezM8iXsVzM4GcwFeUK6rUQyjm9jvmT1jmzWjiXdW+Q5/Xs6ko6R9/eD2xOmaCWNvhPGm41RM9b5q/2yxqaR+9Jrz43EvrPyv6KvL3sUWa5A9BR707aoHJJbCIk2v39T1LTyMacolmk82VQVtfGd5RVadgrs31g2F3GuCDhbn4/4Pmtktk25fLWwWkxn06+jqN5V/p0k9JrkAs0lC+vn0vY+aQmmDS/nj5p5EyF9ZsCuhR6pDVt9VJw4JoLZ36gC1+xDcaxRSaJwpZAn5MKjicL+fNF+yHjCCeNHek91v/sEvqMrsO3kxRv5NjsKXeZ8IB4d6Bs51gaRmVMigeVgX6GaUJT+rZYSlVwAszNv01yuhMb1okAY588ssc+rOohs5wXeuCVinoq2dnLj0H17IHMId0pM1p2jKB1SPO2LPu+uNpKQgAjXGQT8eY0hzfEUg08V+oUFrd67wVdE1hBodAIO5WNONs+NCIXx4Uf1mEvaJaQrZae4LL9vP/jAtcZCDd7Whdt+AnVtLltLCA3b8slN61QfGICtIp7o8x5G8Q0PB7Qs6Js26cLKPakaRdCaGThjtZzmWtqqQ64izgumpkVoJLjTlARlGn+4skWVzdrT6k0MMPu99KnN4v9QIsElxEVOAkaoLpzkADDgqtz7ttJNQ1dolCUj159oB0j9ZyuFnvhru5HmLRXvC2u6nFFZLxWREGwN3IvXTOZG2xDS7LlxLyuhiE4qhif/t+9cw94e6MR6ANHr1bmG/uT5Cih1GeMSArhyD0H6pOOGLLIFTUhTDawilLtm93oTvDoECfT196IBCEPyv2TuNvpwD6bgi2F11d1+SVNMAVji9R22NE5t9twgXFRuUIeqSxgf98DqJcpnrok9XoV0g09N2hoCtMXcF+uRTy8Hj6xxvpm5Fs7l9qsu+z/UX5E2fT7NRq4+AxAqj9xoyHRfz4sv5tfavA3hrxv2SpdzCkSssqUmBdgt1Rt/djdHswqlEA/O4/DZZMZM0Gekw52HUE3WpgA5Fp1jL4moxt14ciAK/rMMg01XR8sfN1isYJOg6+otKy4Q88uTqxJDcaZanVgbxKSF9Oz8R57/yVRVtEQPvB1ZAXmsGTmdENP1kp+jCVritnmqLvWDL2/cpP/4prwNqLCYV5iniSVYtoHHiT39PrrMBH0Kx/EJcB/fp5dmGsbgmW2qmHToHqlahGmnaVBhxDU2ubZV9X2eUoij8oChhd4N24cb8ZXPXxml6JVxeGHgeou+oCt+iluMP8jIN9TZR4csOlQfiCVDPu1RxNwppaU+T/gxUMuBSHDpzIVj/1K9nMCaiwew6BHMCTUpUGc48L46aoKlz2qzIhBTwODlctbOVr/BH7fJe9yE2z/0s9H7an9pLjGQ96UNxnHB3cCpNs7fXPKZ/CvzBFG5dSp9DerrOICiNUxlhHJlkqyNq9+MQJokvn/LtOfIinB94ktykneQs0TC5T65eRKD0r896Fop+sdCQayQUIwzGnD9FdQ/6C23IE3Jyq+MHFq65ccT+CriTf8G8eVH5Qz9oNIi/06ZcZcMc/MnuWaIsqbAv/6/vZBoWtvCveGrWeqa9RqMGKT+oTwEfYDkdIgYPbLR2QJjOQJAtH1sOoltYhsmljmnk0NjfL9C7V9WKYVpaEpNRWv8OzBIqQhwIuQfLhTdxydDwr7RW2kvuwwxSFiR01M5jBey85XamitBRo8kQBtGH6CIokIDpP14Dxdvx/1fHOr7m37fyJK8DiLk/WAyD43LIhQwe6uJfxHTtGozQN2eLUf6VPcxV7gPqi75j/4J6A/2sSYUoQujfLe4G6YuPsLTPup/qaVPbWMV65BXSi4/6Bd0EgAevASG/kyDtVfFGSRUX7RG261xby2vbvRs2AAEapbPmM0bsQ6cdlfFEg+NxEeg8+TCzE4h6rRp4hA35VXGS7A7WqOy4/kJbqXxCYoi3bl3+Dg2BsJTh38CIKSYCL0dJf290oNmsRX7QiHHEeDebA/Kso0WhtMG2tpvApVGlLv0OkecMUtf98V/D5P7A/7Z46kvd8DyuS07yYLHRGwdikHw7e8YSFo2vGL5ktpMpInlWhP20n6dWTmbPcPWPda6BuiCiMlMtKpNVLNdUz1ZQScZ0aAWTzHYHgIt607w6kH6j7Dzz8oPgnte+lvTtsnRJ9vMmQrWe3CgjmgCoLdrA5Iq1cT1OQRw2Sz4Xm3N01nhp6EXo9yO0t+/ypWGkCHc4/Z8Vh4CDPUjVxR75+YwmE3Ji92xA5fo2fjN1G6nn3zaWbQOHFD7oZgjnLMR+72EwLU4yT3fGmw08QjA1OJy+LrqtVKBtzIuP8IaHOrZl3zQytmqPhbkhWi18H4P+ThzoFYd17g1SXxFadPf6uscbAe/mf+hFg4GTw2NjeTV5VJfxzHy5NvY4aCNYHK5+cXW6M750TX6X+H6HMeMSVgoh4Y0Cze+PZluHcUNMOh7qFgP0rDHTWdDCiGuZsvTxMOprS4d4SQ9IA9wrWhmZGjRLT2ylcx4JieMnFgWWVDg9K7/Vy7R++Ef5CCRar9V76ElI6QrdkrqrY4eQcuzsqZWtUl7sZnb8ZAYVcq71ligJJUm7O5k6uYMeX29hSZ+MEmFCx6bc5KrMKLy2Oaf9hgNtx+MhmA+n1TQvId/4wkqGIFWakAQ+qjxO8LFa6KrUjsFrkFnuK0d08thRuh37IxOfu5LqHuOH48mGaQbzhgvV4BFOnwkr838j4k0nOzmBFwlVYR+0kbtfVpQTBEFaFtl6E0yrNrdVB09G9RuB7T54Zxc/yNF4oWejcCplsUlkiaW0IXdohzJLoLfSRVFVnUVLfHtl4uSzhMqUwZXpncA+OQQVjCQDoqRDWLzLc2teotpED9bIlo9fM7B2LlI5IYfFsZIuAfq41aU7gsOgWOUYsmK7Iyy7k4+CYG8WFUL4uX7VtROidAvjpBREOomihAmalrLqkATBMuGATOVCTomVjWlnc/F/H/Sx/WEXwZXsooPbJfLQV1Vpueh/C0Cx2mryndo8akY915Hx8CIn48dhBIyQDLgNRc2fhyTIWUotYwIPlUoodrwGLv/P+gHGWVGa3goKR1j8qOxPgWGiATqymzdusOomHkUwikqH43+Tu+TWAJQTzxHAYKQ8NesCnpF0RyCRZOwKWYaVODGaQ5kBCw3uY+O62qdlibzTDnEtvJXlQIalKhgv/1aOVQJ/Cyc3VpUaIcMUfP3Yvi4EATOpZMvuAmMKHtj8SVCuXErfgIZT9yu+ZWxBc/sDcq4QNMgivbSbH89GJHG+ng4EegGh3ITLhUefuHoQfvC2W16ywa1RpPEuiBWKRpEI+HiaLq+J77Y8XEa7jffZRMagg6sS0Sih0Q4h6xVcWJ4+0zPV1Af+1viGEJATtwu2+2Xkv854b+lTNX2oH6+xu3F7iIPf1qWO7u9Zolei7zeBH/49WUlWJOYdnSh5UtW2uMun0hNAk2T/Q68YPVN+SKGjMBYOEzGduW30JgajWX3IbhmvZFJvykO9Pbya8YT84UxXCn3k+OkIQ9W34R51rmd0l4V3hZkrLGsRjbYh3p7CSQmlPwy3NVHqVmaBI/oGz3kAy5vcn8RWZvILWqra+yRo+DhzRGzVoMhoq13vojZd3hRBLITZUgfm7t9M4wnOJI8OA17m1spnm5dnyXbRNVG7pNqcSP7DIT9djTzqir/fKYixsQnfG967pbAv9Eqgqyow4V1ZRPRSyYpU1qgBQumgr+IKzfBEy+krfSLx+j13DMCCG/7uK+KxA7nYQkynLCoMlqoyO7iFO/sITcgRbH0Div3efw0h+O3M2XMorZfWGEK6LmBp50nryrNQgScnavtS/tBS7+rJAlWZMZED4QXQiJ5K8+7E+SYf+FMBk3/M85ucXKcXFbpEqb76C6ML5nTvb8sAES3f8GKir6pNiE+1agkgav1premfP/NyeyvlV0dyrV3lHJJFe/ckrfoVbetvgEhQetP7OUgh5I2DUas54rKbu8ZsdmpZ8X8zzyR5CvQ9yt9SYiOGiNPSxRb1bshj6idm9//T8bpSYMlCiVdRYRMoFL9IVENqP7lyHBeZx88Tn76y2p0RAEvZo7jZ4St4hIOzau7lkuu1dQeUMj85i2ukSBVvZCtPPMEW984LGgFH/beNJmA3afcoXJwxQpg2OsIFafXUdSLf0CY3pCguf7ep/Ujx3KSVtsxOSXKHhm1qQHKcf0Sk01ET4WZzppI+R+mUKdtATygQZ6JwYTvvO/6txR8d2DOl0U02KxPf6kAHFevAt68imrv9QZIYyDfLc1MuRBlNORmmAHdT+gNloh7g8N8PzmkR45zg2iu3nlljvrb78Cb2Mi56UiigX1+lY2S3yoZTNbHzBprxQd/yYvsPikAtsX/wRmp097cgokxap8XaGEkmOdTVPDkUTk6yLSbk7kz90A6M2xZfo+qW1NZ9LXCQLYTZ8M1iojEWR8nvaTfpEjQvwu7r3RSnYM7GrZ+j8+1ewU/fuk/mCkgslgsPPfYuNddmekmPOzX0t8Qyp/OJ0Vp2noBvnQYdPnZtsGGvEXVepc6lsf0N2+VshAy6BGpebWOaGa22uTtsAKc4u87At7tcXI2k88VqTkrQhIQAfGIzgFcNnp3RLrbaAeQxLKvJ/FYWH6ViATTktxWYEtonL2EHTRq9LMn7gbhgXAlahGbPSf3n8DMp2z5VV1sB/3G+Nq86fyKjymrAanAZOTeLG/sRxXwpS3tQfzCQBK8021TZ7GN9bg503hKvqihr0j2or8BUztoG1Bah0B4OqCFu7bREgMSz3FzXcvd1vSDplzh0A4F4QxMOnhzCxzLMKeN+sC8c183AwrYXjjHddx29RApYUQLYP8Jsjaq4E/8zejWdSRHJ96OEpdn9wbPK2pS41WeP7XswVdxK4XInaxhm4ZzRzRaWXropBYNnXMhpwi/DDKodLC2Od32oRQ3AoRxx/9FJUlspdVXPhvCyv1qz12VJg6KXd90wMpPsqX6rENYGpsC0KBUyDsbbWaVfeCp23ZZihtyOwFW7/FsV2RV+IrOcFsqvpeOI+lGz96t3FnhSKfqXLsu3zVdYSGpIUSji7/ADIH3GWI8kCbyfgMW52h/OdDR2EVdL0M0W2xWiE5wrbz5PVLwEzd3vtM0cBfNL5Bys/BTb8AJ3hB0f3u+4WP9EyVZFE44To05zgi7/zERxfPYgB5GfI1u2ysUpaxEiBoHK2u94p8/dkXtqz3hep/onZKxYZmmAzJLBqxgIosavkngq9DXLytv+kJYlQUutepx3klVCP7Qjk0MCSUmTMiVO0rpZu2IJitoWm79I9xxfj1uQVBOfQ9O8sLW8ep+o2i/FlldeRkgRPjsc+xJb1QtHpOjncPwQ9Ylvo72bBpG3PAXrZqM9LIVziZilcQsBRcAl6zwz6NWTYnS5jaw5sno/vCdZ+Bwz49GBGcH749s6jfDNhZqfqkKpoUm7hzErFD3Hh8Gp29QYDIhjDFFBnGTkTaXZSZpvd396xN0IAscMYCxCC6KvpKOfyf+oyLjP5GvgU5QIsp5Vg6fhgxTYiTs5XR1IbBCwVkbOHtgvUO1Q6C15aCHUq5xzsiAAojNHkb8aplxz2pnyq1V7agTyWuMRy0hQ7HpUvguS/T9Gx3+zqEhIiowIGw49Z7DiPmSDA1CSgHwSUIY4gNN9c5Iqrhe4YNZz5UlhyTksMfYoPq26Rg/W5aYowIVjKZZjeA6tVMaRl7IH2ayMUZZujY9L/1AihhXsLqbBNnkMbm50KRaeskDG7Gj1Cbs80LGJVh3wqD/YiPyqsAqS2A0vpvX9iCFOMW0YpsqjusQnV2gVkHe50plWtbYyBvp20rHmrIy5Mp6MkbopKmVox1E45GAhu3/dq+NwWWNm1iYqAcn1YS2wWvrDwS6nSxSaogbcGpNd3oaWRPtzGz3hLg7nzbD1juZj61Z2G7I9mySCk2fYTGf5NOwp/heZfstyhO5kkooUjg9LgY1SM9IJPQ8JN8i7P39oUmulzjrzdIsVeM/u2MoRuOsuUFTmb+deAUwvEwEeD7ZCsa4zWXgllZ3H1+0cGP9FpSQd4cOMZuFePXVpoP+ve1UxIrGdhJKl8IYKuvI62HnRyikaZIO1gthmwjcj9SGrcnJwWe42bEkNSgpsCnbq5HF4yjvbFw5prFIKv/OoSgW3eYzpY8QX/S9jeAWRJFWml1URnKSnwNWTrpX2ssOsVJh3pM8j1gjmIBKFsjCb8IA7vVjBNJfEEJIf4VkYh4vXBz1dXhfY79ox0HCStNay70eJcSoXgXvwpuktQJVUGAfOUiIq/QeqTw6QnefwFAQoNrs4+rKA6tjEn+YgtEhHECBTZcX5yyaaE6EFC06iLLQnzQFV9HjK5ikoR+n29B1uWNj2e0RshqzyBIc0zd31u6+OCder2+CRzHCQDqByVU1BOO/qG/mWj4SD5+/cF+PbYEV3J2rQLTKpWh2wTtDRbotZFIkYX67lkkw3knvreHoYjAd2OvAeQJmb0a/TXKlBFStQl5ABIo46azhX9D+M6XIu+zbeJIvqMFHhOE3UGEhw3xWYc8l82wRKuqu24mYvV8xLtmOD6GR8K03lgSk6abLGzboJV66zAwe5XgZCNRREOqxoHscYC+gHnX3deVwYc7OXFw7F07UauJOKO0lZK4deOGIxLVOnTvtdce++gimhAtltPZF9zQO85CQ4vMxG7NdzP9b4mmtQ4sTfk7rKu9Ww0MfqJUx8HP9WtXrk0+Akd0bRv5yHRmkfL5k3EahR4BiOVoiOkWStYsduiKJVAJYnmavlxW+KwV5OKauPmzSpRddHB/lrN30MTHFxBLmfTdYr8nlhLZTjMB6znvxnLsAPvCGBHXdjUMm5ndwIAQ2fC7xGJkpuR4U30/Xfu4hf42WDxmAqoOp7mTkovG2L27hKYUfIqPa7RU4Hg8WLvzfBWXjHUDVKlmkN3WGZWrD80E36aSutl0R2c6dJY7yvLNH6YfPWwvbAKBMuDP0ITEatDHbAvY4B3h6uNDf+We8cUUiUB+NtZBFjMBBnb6FLIxUhAgcMGsCCpuiPxBJJrCksnjar+ijIxRj3xUSNmlzTo7aQKAWCzrhkz7kHBtzaw7VzOWfNqzHlo0d32bh8VlesxLKWvp7rnhMcARLNxcAaJcQK1t7hbplyfYITV4Pf6EruC897fgevH4PmKzdU1lXnt06E4vlzOk5WjC/n1xAUmtgiMiIlCxevAuGo73Odqli9vrIf+Lf9hexR7GuikTuoJt7CBS7D5JvxXkEtWA78lU8rqnbNNAAsKQMfwKtmKtI12Y38OWs0lF434fONey09ijIgaaPGugnUuWaCmuwrvsmj++GmeAzPaD8+31KWx55miMqVRxA5CDzs7PRDvcERhDZdN709lpHnByA/54XXkN0es7Sh7BBBB+A3KSIVjw5Azby+1NmeMyNc1xFweEE37+0G8pQ3SQvUpEVGnbgdY9eiBRuobPDOvXdMGUwmxQyJyDjqmXt5isT6q2B8oPk+9vDLd5axwqYr0QtFO0d3vMiflYJ+epUasSN7vK1pFXUU/EE5tZCAotCIlsfE32e5QlqWo1LtktyD5trsZcxIUhBxBH/5U8E6gm8tnRJtVgqzCPEzGkVcxpAWtUy6zu65/6FqjN060BOoyQSgcj+suZXHohLwGAxOzBin+UPxrTHuLC4Ukc9P2ZrFUG/a6TJLJeIuSUYIuUid5II+lMTDq/YDioCQ00dJHJpva6JesEPdcsN6PzjosJf0V3TCAZ35Bz54p5cKyzPN8Y2nzg/SM9ok9W2iZ7oabdXJ5jOUQFz0t6Re8s8gXkGi0K6LjdkGZl2OWWfJrcK/9u2w17P2EXOyC0HUms2XkZ7GbMC3/5EDU7Uxm0JgbJwje6cqnI+UQEj80dr8JqWMUzED+Hn/WJY9nQI1GY8ASAA3blJ5/cdP0siE+BwjbsXbdXmSLsnyOCnlG/LXADP430k9xq0DDzL8oscQeJU9ZGG3Ie5mQTBMtqi5deoYEJqAnJJnNgBNeDrxVGRL/u4vLZ+Wy4qQggfHZsIY9A2DLtzKhHRXlYR+b579pXhROLi6/cqt607ZfBUoIosYata/233MCJBVIqEK8/W45a1hoPLIOKzX6cJzICuXgN8a2tHn6x0WlqcOVUym0U8qE9tVBtvOgECpMMyhcoOUek4E/dELkXGGZ7RDY+iupgC0lzFO1o/tJ5cHPHjoJJo4tzgZvgSfOV0vGdNOaFQYrP2IeUaxsuLhu2VabtIZ+HgzvNNKeI9A90n0EbPxkjJilPNTdZu7PffZP8FHep7ZQNQBcbFMqINIl3KaJ9TqhL47Cskngiv8zYTvSMBLlz4KlRonlnIR5mHsPpkVpBEwuGbyZZb6H+zyd0PKNJeSQiGEui3e/OAYEuE+u1U+pxwKO/QU/6He15Gh8bYiZvY673ETCpPy80AGBQ1SsVWZWSUO9hxO2JSh1qv2IguJUyaW2cF6ny3Bh5Zcgc+JgMLhDL3s1pAkC0Tdz73teo3Qgs+OVncbIGGRtomjPlxiyzKNCrPhDRSP2KCE3Pd3ZI9FiZ94sjvKXTzmre76lDVyxqXqNn5sNaC6CBwtt4FexaYEiMC1PTXWdMHqE928/EH7pIJS0PX/D61IVHIe5p5sJWAvpEbRRtWIuEjKqbemSEDbHnD0keytWMZS40duon0ljnJziUt7vB8AmLtpgCotRGY0pmclJFfmTZbcqsut1CnoBGXtZcrXciJaYkFlf7qsHWRZgBM0vPCWf4UFxsImOSTj04wu3FnHa09JhhCw13d7uRxUgJfTaR+VKlyxd++hKrr0m0IFn64F0wX7N4MMOk9unD+fTfxDHxqtFGaBgCWzhhzWdjPolEiJ7IpHMGD5k4PSaaroMJva4D4JTI1He0iHFBXNcMyQybPnJfpS0PyYJj5Cjg1uWVvaj1WRPtFxsYvXykR1cUYkVGdwtUlKNVxyTY8Av4uZiIqtbAcJFk1+vH8TH+uBbrMEXkjBsQY2kzCxk4tlQWHr/ubHiqg78ZR4qfKTZ6Y7UvvdAyr4cLG4TV6DhRS7XShIYDnBfsRB0jb+l5WFXiDDtWNHvNGw9nWjLlbg5+YtphvpXJIofKbjzNr13HotoGeTPvI7pByUijOzXLPp5iHzd6JZT4uqSNdmqExpcw3ZjEuW5X8P3UyhHAMVcxMpzT8tYiMf0mVe8i8dPaellWeNHPOPZhRnRynrZUAorPPyl9XN+9gzL/ZDekszdEHwUKHR/JJEMpbMKXgfMe9MAAZk8RARZBFZ0xOrjM4a/EoZ4A96YWsokOxh/GIUEwvgex4veOyWjpAP0OmPJSc8bnOrhABN/UZKtnF5wd3Cja0upvDbh8LnN8uLGM7n80V2M6kBW+1MSrsr9XQoItbw/WblWNqKx17jT9Ah0yzpSpLlJAaZhKLsrpwIDrl6PoD1az2QAwUyPuGxSCkOpljxPwz9ZGp3MgdVbH/flJWvCC6MCJyzqDD2dDLQxBo4YxKzP0B8ZTssD9n9T/CAaNe52UOGyB+5IP4QDXaUsoKgDgHGhW4aKlSVZ5b6oQFEqfqvixMJRkfmqoNJwE1J2TaOyiTLxONeDtcj0xZ+JZVparKvwdS3A7esOXsW6nPlsIMFj+6szCq3bz87TyIdq2cXOUQP+e0X785CZqRCRnhNeTz9SurS4arGZAkiYrdINnjjZhocGbiBGw0IKTSTbrjToZ4r5YM397dZ6qDPCj0eD7pJBodv6dENRjUKUeNjXnQBMavimTQf4cGxXKBB3fydUIm9/vYGTHEEXNkn6S5OK/3/Uq1nf5Zm0TXrpmnkDOfMneQNsaDNKR96V/85VugheYo0ZhiIk+NVeEAw0qIp24a7Uk+0XCY6/n4y/+JIgh2z238Dm6Jtq/dJbIU2D1HY73K+/BoBzukHg9Gvww9ZrfPfo7WCeSrlIT2nbdME/eWsoTYNe6jDIw3SDShdR9I/8qfUXXorPyMI8VwtFLa5PqeuD0uBsoG3Ao0erxJ0oXrql+m/kcmgMB4Zz8Xm9XNrvL2AVs7KzyLrOqGxJeuQ6lBS0bbSbGbFSEt4LZvYsFN6rb7jzwWOxFbz5C0eWf5NBf/aMqEaDLLDSWRC5WRgkKE3WoR9K6rYy/84Rb6UiicUsEZ4gFX6zaDTgn04zNijpD6AeIE3S09m8ud5Qq0jbQy+xUEBU11lLlRnxNJ3XxyIOIWxzdUw09CyLjf56XNOpNEJ1ZHAnUx1bnU/DKWW3DHUO2K2hRtOsEaLGuRfDyF/rkB29bPWc8iZ3s9+bVNjRemJTEF4XJ/g93LJ0IjjoFKbtRTxjp7RaN0c9so93edlpOez4iH/nYjhx8QI0LYXQRLZpX3sO/6QsRjqAJ4eSXvt1WHLaQKy/LyxmFeY0jfPvSFnAwuWEsxNE2vn3LM7vqXdIX1XzIjig/3l0A8mRYpwxXArmMYDYCQleRmnV8GoCy816k+9RuMpfgxjfWiZgm18u1NmJjYMqqDLCX3CSaPBJnMVUfXD2lsOTTg19Mp9QvxJ61C9cso5+mSbxg06vbDmomGyb3yVke1hHcEqandjXw+l9hs84wc7KOuvdFvf4wj2wLxv4NQdYwXj2n1iaJ+kiQ+7VpuhEPUexrcz7h/F0zesrYDA10/amGxKo2Lu1iO9LFeHy5Pg/+XThocUeSFFFyY84ofrx1MvZ3jl9Kq77Hrn6vrUYi+TaJWmuID/bO8ojE0MXHQhtPy4Ww6Jf4St9kQV0Hs1WXs9i0KnuvkOqou+hyCapJK/gSeHlPZsRdPWYmAfJ2F/77Lm781QWQGIGMGW7HtUdxuxnMOx+PIamiEx7Zuhi0goudwJIVwGEeQ6b5z8Hu6RElaLpo5UdkQ4Obc/sU5ciEJwAEL4RYxvVZ57Cn8K/WRv7kZT/GS0yry5wggdV2bOw5tcGCM1ETeazBNZ1YsNfy6s62gFTLomfDrUd4caywtlBvp6asdaIrE5kIi+0PbtqqA18OLFfyzJg6FjXxxNV2S5z2g4LunFPFuJGWJF8raqAT4pbHtsFMclBkIaElTJgjk1Me08GWEoXBUno8h38l/ye+evpmCjVgjpnTkBggHmUHKYNcdA/xE1kXB2NSeo5TCrn06v2Jk5rqY3hY5qKXvZmgTv+qVU7HvM6GkXIMwdGC7EE7oYl2xNUmsdmcPNgiyq1GsNcpT8Wug+hsjvK/MtbO8ka7TwGJLNaN5fpkzjgPmeGL7UMlvh1OY//MNZZiRhRO7q4pqB88qRxa9XadP41sj/ctqmvBf5CLacJhVyznrXjD4KJphTrlj808+DZDLlcMl60Ti1xB4QS7A5vhzczOhOqYYmbwws/eUHu9eTY8oZG7kSv4nqDIHyZksmpEGU7VTt3RMG3y3iY9Iym3cIiLpQ1yJcFZafHihw7GNGUccyrwb1BI3TK/M4lsJeQ4AwO9WMuGosh93YAmPzcLoXpvOO6u/HDohaBtHi/Be8DwF41JloTpRilGLvlU/Zs9aJKK9DCttrlmU8K5PzuB8SfNAmg4t7plrvh7c20OfrMUV/adLI6hapSDJxq7uDFSpT+12/yKp2sfFfYqHh/uhObX15zH6FAt6/aMpl7Kz7++W7/ikqzE7nOvyXyDqgf7aWh2RwKg54RDsHh/LuUanYmG2NRX0h53U6Eg2n+fDiQ9kJ58bMPb5X5lz7dxvV2f5W+wXGDwG9JYnRuNtBfx3dGZsU6vlO4+wF3tYLQfZN3izdHb9tQWWpA8YNbIJkzd6uE2IkTtfQUx/jRYdB+3g0og1a/3dx/HV+ufZVghuEYV0/XiGsn1Xqjs9Y/Zc3ZygyK1MsKE8KkIPAgexOshDnez5VLn5V0CRum1auvTi9jMl8H/qe36FiaK83OgZCRgmQsLhJRDzwyTZyoRtme2RopaAKYeLiD/3Jg7qRIIMu5hT1kHPvUWAy/lp0cMHZY5dyf3h0BUifPbr5j1+tUbjztOQ4jffc+HSXwd1f3DveGhk8a2kdr3mu+LeApKW8QC+FiXNzFbxdAyb716be9RBgrlVYjQ1sRmZlrROOzyGmh2juS/RJlEnW7xjXwE3BRVUANz5hhfA7pk2Wp4piUvdHyf52PAfOGIPaS/1wQK9wS/EWB/ig8VLmee1lOTCGqH/TRZKhKsOVuPB5AMGV3T0piYpMwljozKRlVCxdHH3agx9caQmRyxnfb0Wv4Fey41V1Kllv3bWdqUw/wOxK0K4vs1Dpum1QfkcnuYx9ZJp8UpCd0WJgONJ7C6+4PB2suCQ91f4vb9zV8G1wN8VYW0veTwdXxJ8cxv/n2MxH7+tndpjlf8FHP38s5XBYsBeUZD6xHyI1EhbrVF6XERGFTkB3boe1dDxR8ZXdtATbG0msZAjv4UIh8UYYPQSm/zr4G9ppymRE1PopEFVDHil2lOOYbz3ixV+ALR7uJkxFCJjI9Cg9vft19pysDAfdF8A8yW7uIPIuYuima5zTpNgaJqJgvn9amG1VI32LWRK1O2HL9McCqG9ckI1ahzcAhHu1+x+yLqNc3Skx59gEYdlxo30u7PIVip3oOMcYMZIPt7VNTlvHJerF+47g5+AMylxvXZgh3m09GsvniV0bjFTYfX/+3fC+YR80F0y1PPNQigq7+6mfIsvlua+ihVFVR4Ph/WvAVLvcC19ITG3gMkUOftQs4+eoOZjuT4S/+DMvZz52tp0LsdLrW7EfMIzUnc/lkxFK+yASHJlEeXQb76R4gHDM8237KIf9pkVhaYl7MSaKFeN7jI32W3HQGZLasK6L4UDQHNn9aqCWfvWpPXib+UCX3s1ea+211B00L/L8chnSkomZinLQAHd+vd7wEAgfQCPg4TYVhK/WR1hrFYsFO8tIxtR/em6dQam0oE6JraG7F+WmfUoSzloQDZBcnX6BD7gzOHwphPZGIkrrAfeX+48Q8EUCauBRQ5EB9BJP7KehVLYw0PjNR5baLXyUHWz4c1m5AhXQhooIJjYtf5FBHXRWnJ1O1U338OwfH2GrT35j8WOx8+76ox/ZZGMhpwmUYtgfQ0b9FwxJILvoTrJB1eHVzm3ytMMoMTZwLN7DLFwmgz/T4l5Lt2rEH5m4sy/d56KYg/PIwoA3amVBFIiGhwpfWd638hpixl7hg2rU3plbDy9BPXZ2SxOp9QI7a96bj6lYca2ysOZstN8NF1YDIjhicq3u54qB2XI5y1Zd2FYKvU8UR/tPb/fPw2eR8ungmcCp7Dvg8UGQ3PDIjWKkMDzG4a9Im88LVGdVZcu/ANDAgJKAblUsoEWTFvvg1J5UEwbIyN6B64/Bkc1/WJEAO3ncsQIOG5ysdmDUdTTSMgPknKY9BPKO1D88530O1JurK+K7+KFiINs2kj20iIN1OdnohgFxQhCM4OUCdhQz8rAmlZ2RtQA+tqxAt0xgdGpd/0mJ6amhB8njU0MV4H0pWkq5btezcMXbasGvnm5IihMLpejCm/uWfAfebiv/2S7siB4wuAhS4p2rNxLvXgcH8TknJfkonkkpoI6tikwAWGA617I5c+pZTRSOKyLa5ux0Hr9mPMxP6IfVIb8MCejoLGvte9V9Jpp9wqdr49dq2SY0Dwx2TjXhsE2tVJbpTaFjIAZOJSerHN2/nwRNJYpEP1J2CCQs3CaNF+53GanjNspkNbJqMPYnGNKr9mXoa1o4fjCfHsTddLRPtkjH+XU3ZCSmYtQBChsZNcUCT9BWQnOsXCb2ZZit0FKBXxuNTr9EOIMKWHh3j4KUiQgE6vop7onKu6+CwDPXlw4kBKLWgclW7xph2I653u/OOB/m42eucLJdw7cS31zz7DkzPiX5pCoqCDICVWTQjUr5DEW3VGLPtBJc1ym/Z/TqF6gfBin794b+UXQOuomIgTpFVGQSIJ5HQzsoh/07uU4+4pmhtZNQD1392swSSGjTy6V8a5gYG4pmogkceHC+tz/3CRRBGO0tzgMlL091nHsGt52ebe5aJZKUt5eOCTP3zppl4m+JGgplHjCWn2Oa1pLemBTnS+jP3CPEulAeu3JWwUQwUEBfSdbZtGtZPUv5g/+RX+HpxiNPF8QIBtGEtRZaXXgigdmSn3QiyCCgWBnA78JV+43WCnQai95AkToEI1O9Jdjmtndv5Oj62cvNswNe1f4a0+2d0dnAiLbNEXSN2yl5rylgZkPSu9WnnRqN6VAgjHAzvgcKOa9SdB6rzrbgWxSI2X/68R0Bzov26MMMYqdg3LzOopougnH684oVMAuvO1AjKsveJk6R9B/yZQ23UrUcIWnmMJsE24HK89P6dDW9/hGgblkgC3XQ5kdHoNA33BpCdRiukgumcTbRy66cXW/sLV89byMDyaOzgUoFbT0fNqVZ3JgyICEBfaclXIIEhTtWJh2i1M3xHbtN8zLkNJIXay5bRHX2RzAfCIXYurr/kcnU07A2EmlZquLr/Nh6U8GWeOn00ab21prWOweHRXyWwT4PmHUQaWAnUVlc7ubyMuYzacwMMAh8bTg9X026JOPWpyFuwY1BN5LX3ZSJMmRn8nydeO6ZgmDwSAMMG+ari1aDLdAU2/8yXPZO4DGTAsqsEmptlyQSVA5bpEhZiHOeVcaTioFu/Sq3Sl27Fl1QvlZxS41dbn1xbaxgV2B0hotAgZOMV00a4Ozxd8xdkA584aW+c7qTPwhHBYjnGuC5YnL+cPLPKzeDAKycedK7Se2AiFjkUQtk58p1GtEHmf54cnIjs5pIogmNu5LSc/lKl15WxLQhir9HFlWbG/xMHo3Z5IGkABbXF1FibtwOLcC6K1vZCBayjog/QEd7EZsijNE0jCybWE7mcy0PrAOTG5FLRjplQo3HK+czo55oirBWuqhVxkDHSkVFJXK3fJQmVSLPHoPTTnG+k6A42/nEUnTMxQMEc2FEw46AySrgSpXqvCPgN7RJPPDePQILup4zju58ZpjhfooWL+ecWHN4r8AutK9In/2/dOc0PJNctfIIFTkit3APGq1LaHIo8gTMHolJEDhmCsuFEua3qxoAKuzCfvQlWDKW7uKa0jhVrJUKGpQQCx/s/oKvBIcijoZwvwqgT9htCmav/kutqQr3+MB+ScDknn8Y+k4TV++tclrzRUd3OusfP4JgjWV0GtIuaSsSCt/DFpDS45nnoi/FHBJwE4aHzeXarEeazVoXfdGJ9LjoA/+sH8T+uGVX/VmqJ1gT9egNsHlQ7KIhoVoIusNJtPUGNs5EG89OLwUTyjDj2A3R+7cOFBJdAGN299wtJVCgi5YlF6BlEbDJ0s8hSlUJz53JFM8G/kJ55s1kXjUbI5xIJwhHGN4NCR2Jv4ZnSTRZaEj8E3lzXoFJjLjM0txl7r+NPtp5KndTeBYRsxod8gdbWuFRDOpDY6zmxIvP7BrsjLq15cHtTKyB9HqIQdi6PXZcPNO0la7WhJFdzy8u9XdvHjEH9xYwJQk/c5mKCjr0vFWx8IePZFTWRV9zfB04yYXmdtCYwtOXTZomlcINmMjnsMYRpYZIOcrM2eDAm0e+DSG1sVKaNBaIECW5npMMRw+BEHfk5Y9NYr9H6Z+SZ7RWQy6OTPoq6XAeb6G+kZKzldqMgATLj49aN17fwNTUlnqvXwSN88cblfVBx6ZOyskwQ+5JXSzgysY362xDrHK0eenJewunuIvGz2Vfm+D1VXXrn5gJRuFLPHvqjGjzWd92CIxr0YKribXEJmxr7rgAb4j7yrtNqTUDC0S0JIDzL/wUWttajm5ZVLhhhjGhlC2QJheIcQVfFv8BOl7HzmYfnGncjFUlJOpmqkFhMYcY0WFlcdNnzKnd30ufc0WVCzVp2CI1RhzQN/ZVxzL06kF580PQnFLvxbEbNO8eTy/E9M7jzID1iOb7SiO3m4ofddKmyTr5SDiKiNiVvuORq75ypDSiLgJkIGCeT2SgE9FtUSJlokwI0EaWRLrnp8+ZWAW0nYORYsDboZEKMRAYK7glNPO2kbaPO2jVi+GQquoekmjAQZXJ7518f5Mc4QKdqklLCtKJGZ74J+bIoyHCKrvw2icVxtUBRL48H2HueD+7j8q5KNGhCqGYXM+j9U+0Gcn88iSjHossIC7zPP985CCxXNhf+7swQSgJajW5KYE5s6WlGen+NzMvMB7X+carfgH7NpUNa8UbpBOSqhqCB4BU45CJ8XqqeCGvygwQA1EdJIBkOJRgxNB89lGWiGvc/f9B6LxdEvOkwzpOlNmN8QpAuHbqeuGUVDOH76T4Rzz8TEPy5ZxwASpbee4YoSyXZRBhMWlHYj+BC4Dr9mPdiH4RwAgTLVHKjbuv+E0g6NkPh9vq/Lo5V+d+MFEigtmRZwRYaslOAo8+7RL8297j8BMwkXWVV58v4lAY3PntJuMY13VujpgDJ6Ul0LEr9FDlUu1eaGEGwAFazNeUc3isA/Xd7DiCzjvXjBU1VQEYg2oGcYpnaUWOpETSmeLrPnQUNCKK7elGUu/h0jCDIC2YT5uAVwQ+gAHvX7CHgPfBsjmN4MTmJ1qrdegQKeFaGkCZ9evp8Qs1VwnXNu9DJ4coijl2pVwNkIxZj2N87mpGWfwP6aQ5cWf4du7YhnrVw67HQ1pZu1UpWrTqTbF4AQwpTU0yCDUk3u0ttP7XM/B9cC8zLMcl2rLEhB/I/03kHKJa0dn9OMv8paiMN/xplOK64huQKoh+O4EdXkCbWum/cf7C+klwWJxt5v3UpyHJRDnRLq7uGrMbUlcDSkqYqeO6c2dzUfERT8tSMYD3avSL73trasKZv8/S1KifrO37VUgNu6HU5Xct1G8J/F9DEM5/i1mRkId5oY/5PZ1AGeslgMuilL8OLG05ieLWDunqNA4g1sV+QE9WJwyhavo+7t4DKGI8i82+HyUde6kvYBEz9QXSAgH2zOCeVNY4VyRDCb286G674GisHnY1ozlYpq75Cv581TkstLyH/jEmnJI1hUVxmDVRps5njj078n8Yz44269CZG++iPuGByDh4EKm/BCmzutnid+hbhB2I/6O7PmDzNgKBCRMBsmdsbthT0/CacGwbsh3mIzCaQgPNZw5p3QuC3IwoFBf+2Xc4EC9s529ptkc7T5ulm46lQYnK/4iXZ6m3uRiVivtFUuaHhUUzG20JCwaJEHfeLNpoTY3Z9fnlTOmktm5KtDCIb8+wuiNgtFmK2rJVMLQdvm9dtYfu1aSbP71Q50nYBOZWg8sMQe+EKDrhzOoh/LEnB35n6tEMr89WeekZN1RDawAXdRXM9Q93l6/aLZaAr3GXmPn/OVzOhMm2k59DE3TpyVI2mOAoq/1HhVBWOSVYNobnlFSYSSRiRsa4bcP0n34yZ/AFn5kYUI4xrrDiaOfxFctFwmKsOhMO2Qz7vhVVJjvcczB2gQ8FnmKyq2mmqG6+igxN2bo48aBm3QJDa3orZh77EmtNxH5JQ8M15BOwGDFWz+4MrfKeFaDI/L4TK4ZxrterlwK1tUI24rqBB5Elugv+STMW7wOdy7lTzVHBtsCL83UCNc9zgBbSXOEOa3Kc09jT3P0Pdw0Rjzy8OKdXoNK8QTVMXOSv0DJ1gfyLXZxv00SeFAwrdamYmidEYCj+CX51dtTiir4x0l4shgjq9JyFDK5mukksDDKGAoxaIdT2E/+3109tb3TOn3g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609600" y="2175933"/>
            <a:ext cx="7992534" cy="4605867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143000" y="6566356"/>
            <a:ext cx="16866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latin typeface="Century Gothic" panose="020B0502020202020204" pitchFamily="34" charset="0"/>
              </a:rPr>
              <a:t>Source: Company information</a:t>
            </a:r>
          </a:p>
        </p:txBody>
      </p:sp>
    </p:spTree>
    <p:extLst>
      <p:ext uri="{BB962C8B-B14F-4D97-AF65-F5344CB8AC3E}">
        <p14:creationId xmlns:p14="http://schemas.microsoft.com/office/powerpoint/2010/main" val="3385583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P1DgT4HlCxO6G8ZzG9CioxXgrZiHyHR18wTpXoYOUVT62jPQW/lWHNjLIFGv9HQn1AZIZzDXxB4K7AwMdXniHuf0NYpP4Aa03idVaOPESF6mQBJnlAm81qY91OvSzf2xFdKzZSJP8lXUr9MsB3ubeMBdwuyOW1aWVkn/85NE1+34M7QF9oO3ZMSi0Eut4670o0sa4VpK/fxv4FzBYnwVAvBRTPZbWE/yckEdZpS8BE75nk5CeEXEhzrKrPcYMq10EHdC+xoq/cpH4XCgblK8L4IVVpNJYL2kbn6W4RBpM7jBzQD467Zka63a+8mWyaOVhBcxRYDkkUVDnuZPp6pfr1AHp7X7m1X4kD5SEqi/LUI9rPWXjZJ2Zi2wd6XUcOlyqCclqSAsxgTSKIN6HCtllzjCX4pD9SXUhiVIsq3BTDuKidVlv7ufPgI4ovGoyjtJB0n2lv5QA0J5F4snWmTloxDy8TD2z3liNtfmbqqHXYnHR4UgyTJfx4D1Fw3xKpHln60wy/19vVcCBxde5o+dZAQOck7kFMNmvx/P3HNXA/3SgjfkaSut9gPNniXKvycT56D2TnT7qr9yuqceBT3wShZtGaKpz+TeRxJ4vtcBi1hl/+8UDVmemCiGjG3E/D7Klyn83HhgI8hy2wINb4b7kCG7ler+jFiBjgS0ERh4NkO+m2lljip0ClEcgEPrh4WfPPLoMlABQVg4OONR15gGVsZnX8M94ZUmVBiuOc8HI4IVoUucwG40WPrFyTs3Oh+0C6nza2TiQepQUzimbSab2Uv9uK+cNaQa1XbcMogbjuMilC5Hr/zshqEAnvPEoZ5f0RbG+89gBf/a/o1gWtZauTy7v+sVr5Zbx3TA6gnd04LLVk/zwVAnTq0cgJfyuR2tq7mb410S0xumfssCAQYF6GpyKf1YFh1bNKcBZj9l3fM+TWLqQadT+cLMBA4cYpsDrwAPua+dj2qv8uvJk7s6cgVefH2oqeJ9HLSLxTOSdOBCKuzGQTty1LOj2b2SJ7DVgOVNv7oSFK1IEMaYiWBUfuRamABkZMmuNUU/jNsWddwW3DacQw4YY41vG+cUlkX7i7lgEdivmGZ7LFhBufJWiu1TdkRwZFHkhoEMQcVmyrbODrJ6v1M/LbAkCTQpGPPKKWm3O2iefnpuWhc8fvahJfr1eBmJsyEC077SKE7sN7Nt3xcJ05rcHA2k9hR7gLXhTh7xb9tcDybfL1fOx4KYbQDZUvLsAM7cnTao2g9bevfRxwadjxblCKoVJpp0KgCqPUNCcJ+nD+Q5g2/j5/o3sjkqzf77qlJPJNTJW5ozGruEMcNJsCu/UJsxZ4SqKa4+5pbrdqGS1/k4lQ5H0RwTxiGVDhzREt5VPDcz/OhOp2t7e4gzwWWPrVBT5xJWlBbA+sZjARxmgvAD6Fr7wFgEqaHlUgSHSWyUmWEM/dY63SRrc7pplgND2k0nHUTZGDLufRhLW5l0NvYQTH7HTReOE2yRucg0Snk7Akjf87fbWNyBqR/yJhVsjz3VjydwtD+6MnV86MkelOVmWZNaqNH40mYdAFpXt6ZxaSEhAdtlOkQY3XgY720iLPHgeCSZwP5Rp5kPBpAOJsb70CG/mjV4VPdqX6bETUf7ijfUXddkagTnhpqzCTTYyo75Kji/Masm8PvL/IlsdIqfrZ5fD4FlBI6HEaObH3P4tiu+UUBvZAcQsX6nsD3a1UKtvLPVYMsY0suxL9/FRhVWhjoC6yS6kFCIG6v1XnWcdraAylhEHw1XV6OCDU14lNv7waTJEInHp2buXUQcXmfJ1r2huV5HuUBqg6vDqWsD6oGajZ0I9EPRQk41iNuFQVXumUd36Ad6SLjgpoiBp+doWaW4jwwtTB0D2SM+bxuYhy8ypJt6jy8Q+UYO5CZ13H1Wx8carO2Fhei2M8sJuNyFcwsjmbeewVoNR/NTBJc7sXHAjk5ap4zjqK1S1/A1ftxwo7YS/22c8l3yP39Tvzc++GvMazEgCsXNCpSiFU0qHrOsb/FYh2/MpmevVwt6nX87NVFt3p3FtDed+YfyGS4plqqRnWKFNMJPtf5JAgvAYpVmxE7Fb+eJPvX0bGDDcnX1Rgvg5nFrTbZJodASVQaVHhI+2gHrC3f49AbKv0NspmB1/o16a/FUpE4fjIkFL5L5ZQpxOjzt5IuSBBNkxyYVNeumDO3O9N9KHNY+wZy76ThzQO/fL+1vsMo2z5R6a0TQmdN5iYp3L8pb5uc3Ji6TU8AAN/+fewpgBBmGX3+njoWjWF05sCDaN3IWQZdkKZyqQPSr4YXUG72ipTocgcENJvZUAfvZR12Q8/z9gtbWwWLEZGIP4MJ+g19ucnZInWqvkf7gyc5F07353S//iTsRVzsropsq7mhMnYodG+EJQQx+j9ZexPN9iRyU/99rG7ArJ3uIeBLuooM4m8nIC39X2bbJX9ERnpPfvqhZ2bGPXWDi4Gd+U5Kwpf4Ft41VH/PqAHHTI60b3HoHBqrkCXV2kmhBLI2UDRwH3cmMk2EGyHSac4IRRo2QYIoly4RsQDcHjNJm8f2y5DxVDdrL8xFH+teE1zgb2/MkQwHw3s3hyOtasW+NhSgAVwmqI70O/xe1OqI7wW6lbMXv/d+kPabXewJPrcHSiBiL9jAZtfiOjbD+JdNA4fLgOLxcilyzXt7g6v8pRHgzPb88r+T2lq6ZMd8QCZC3Zv8bfVahJYcAEIzFUR4L+lIqOBr4d/G4ywteoUiM+SwMex7nfc/ZKb2NH0daZrKedaTCVO46ftIBdl6qwX8W0A3gfiwOOmgPx9SehHx54Hb1pnOsKZbHZG3Z8W6NsbxKr8K3B0w22t9i7goZaygyD0Fhr8oAGfK1cXqNUbXI7fHVwhT7cY3OgCVqsbkqyOLmB/C5/7umnBqLfOt1jl5+B/vwa24vZGCo5I7ETJg2Q/0hCNfTUoVplbqN9j+xIQx9w0L6saer2bV1Lvctot7Y9I3mV/DLSIaaq/sXgy07kp/rIb06ImSSJslixeAqHyfx5DaBBCZZ2naLWm5IOMbET4Z8TwKl/iOxFLPzuGcOmzZ0DQewqFnafcv1I8u4n5sWW4VHcZoAQnXXAW5896i9+pvgzQzc1yEHNv1oDiFFbI2JCrbn7p0XEU10rn6XzJLXxnw9cTKVWrWnwedoIIxO00awR1rxlEa4PbPHSLZ3KxfV8clSntGP/6B/yMDIOoDVKxqz/+Hr2TOddJtEzNnNm0IqL1g38EqiujVeKKp5m9Of5kPPq9xkU/ZtjJ8lyprByb/0jAj1VBQaKTjOGbbJc2O5/VjFyQZZJITtmmqQFAWsYM4QjPxMxROxttmbEe/Wh9p5KW+QWMt0+37drynaiRE2SOnt2KZNP5hAk59NmEz28w98zwdTLwBPXbbouhkIIzAmj2WzuvVMktLaOn8LBgjObbYwKYlDd5f0CyE6YjFeGD+FXZFrMdPRNrj+KHAkXEDlA+qOa8fbAW9lbulO23YbSEFJVqZGUFB3Ke2/VnE8IM9v+9OSjXcx5p0irjYKG0DNYfKL8k0iHU8/1J0W2abbEqYZ5TiTHmtFLPsUXYP5Oz6+M4PreDZmMVw+UC/PKIBOntEt6M65fDqIijtZNi5kmBAQe8VUPQYp8IZXc9FJD7U5hhXJvAiPECLWEcfuygL42LqTO7JZUGaQudlI5MxxsUHfuNq8Y1NDjXaFUjjHHpQHMNpwFrnwbatT0vbvKBVUIb8UsgIDPg5+htijqdiqysKkykxk23WtKWViT3B3Ti+x3M4JR5MGCySswUVYuXgahljPGnv2e6VAO7rrixC1kK/RiUZDs1NtHEh7bO0wKyUEFj9SzR0okC8ydNv0y2aRnostNRKgReDH4O92N4eD0EsygSbdwrSm7GH2DHRJ5GdP0xqK73BG7rrwPXV1FXYQulzl3HmUdx8wa1ev8iHreBLlQ7tDFVmW7g4VwUlK7jjABsaCHKSDW0Pj0AWEQgu/+UIR83a1DDu1Vw2Px/LxWQwm5TJrfh3dGEFavQ2FwymvpzFou0JozxlzlO1816tu5tFN5YetkxKSt3GIpcbBMFxl+7R02JGTJQw0S/+r0TgHqV/ycz8k1Cc6TgDzDSa/MalLywsa0IlQ/4HpvtTO1CZcNgfCeCiSTEf5UCrENRyPQAmEQnKwRQ9bJlMUhT2944y7QWrrOPquDMQElVqW0zCgp4VRbvBPweOad+RfMNkmEO7q6SVvLH58RdvqpGZvPjyJ1KrcPjjoa32YUqpEE/iUzHpu6a4wMQsv4zsrAvLyut9a0lJ6HTkWaxGQdCXWBpSLDxjz/KFo4+hR6pBmtqh6ZCK8pbMp7STLGvBW/q8uHNH4UpdXpk0nzkiVDv4ySOrvspKxiw6ajHHZHQUr9x9P/ekPc43xbfYXPmhpC8QlKXgSvZMmrbSle34yLgFlxWmdTXz6sygCWCxveo5DKAXfln2Pvkk1EhXthFhRYxLeAH6zDPI74A+Ec1sX/8CAoZDwzpI+agCUphmPQyBmR/QNmweQui/Zv9nUnAlEz8YH40X8Dwa/exXcUVTgz6j/C2bvAT2/EY3w9xghSek0SmBrC4z5bVYtzZWFKPIu1cu6IUXQRCGmpd/wMAqABY6EWEqaX79EparlRMAyJibDEuXjL0MgpGF1tiaE2t3tOZmfJZRGF2M4f6WUhKOx9rKaa5JqikvhtmYOvK0StEX+lfSJBNU3HA2a8eaoaF626i1N5F47XaUde4uJ+jUu89vu1bwe31uD5L2ohypJAlxk78g6z5A9zM9DpQ3Tfk0axT2JZY/ytG9ocDzVPOIxc3pYtl4ZZowGmW7+PGYXnelzhkaduHIn7AXHBhx55dJyo4GXds114OcwIgGdLhoXpAQzamnoEUaKX17nJwRmQGBTBcn5/z6zaHUpm0j2lVCuNTzaZt5GA9N/Q9dJaorn07vHocDWobtJrZuTsVbX7QOQR7/NYNc4ahkMirOePRS58d9PM8Ze7tCtY3XqMvtk/0Jbuu/kmWcTOSfc3ou7IvwSkNUc4sL1vV9hURepBpoDfuzeyTwchQibnW67jxAYmIHF1WBJiXhKRMjwxIuDwxpRoKn2jRZ2lQQq+M9nDu3r/iGla+DRPBQE+VOR0FfOnduk3ni5ZO9yLepABPv0DqYUVo2dH8VtqsklWZUKcihdJAtm1Zjj9OqNgNTeryj8SfJE9xDCx8uENd94h9pzvFDztMhJTx7jhICqh0EnkV+efaPyij+vfWOi8COBwbYPfhUT86s/lH4NKYtmnlfJ1J+WQ+we6Lo3rorlRFh4gFOcglr+qBrp+vz3JMY4F6JGBgMmoLggyixZi9DGyyk0Ijr1tOTdaP06qD5w9V+5f9zQMnMp0OEdyesXRxQIPTHlX9xW8+3Tmka92cK756zv10IAf5nw+8bP+LEQTBZh+m3eC1IN2KZihMPZ7VKjCxqDrfU+Fx8aYSaO80TF/DzkCTzZFldR8iDxjjIBTLrYfaR/FZAWSdHbgjMhD3CqSDBVbEhYYNJAcqElb5pRAe1uFBm/CWrfiJWCckAw+mkbKBGwwinuUwJWW5VD1CDnXLFjp93ifcGk4IGtAOBlL/R/6ULqJH2ECNz2m5g1C7HITUqDfjuPygMGDeFysQVxJxNIHh0eK9xXSbncsun2i8Dz985mBdji0NFbo9/yQVObtFLIbPcelAC+BJRyrFR+6R4CNFDTBGStJrXDgJaO4X/cjr5gpIggFnU6JtKgw3bb8BbYEjvQpSareRhqgkC2PpllQ/ipBX7FNQi2NGNPE2U5x5vhGlsR8bP6Wn1hfaUor0Lh9MPrjnvd+V4yIo54q8RTnzSsAF8pUoKUoqSukEZgHIYRt6kbacPR3qafyW6mdQfiAPeC6KXJM3537FmSNGpO4jxfFOTy+Brw+oxx9tNF9nReSBZkv5v5EWaVZcJAC5WTxLlrwHKrudg7jYzR/uNBbJmc9Epx3wNd2mGuxnd33ZOufiJQDt1dcG1cN1TOvPZz2GNVezxeOA28BKqly1n9MeUqqoh8xBE67k0QH0SI8ZcehTEkKHknNKbVKCi2wGOSZybFNI9SJieskgx7b4tNdN3WSrate71ffAe5afRNAej/EwAPOxETM3RtmZYAHmZLv4WTwxG+AAggmZHYP10fvXfCd/S3kSfKmHQPxeHYZKjIxj6/fy+HEYWC8bN6IYv7gM/67f/zKW5jN1joSf+xuHP69pPNlGcabcUtla8j2vVscS43Nr/hGaE25muiOyig9aXv4CS47YjxX/JmPa3n6NCmc4zOpI7R6tv0uOUYRBRxmtOr2hRpXzEm7vu0ERSs+9Pbd/gRICvE8wG+RcGORUQHBbwf/TaVnCAlhvFLbgG2uDC2UCriXCSw4/WlnYdquhpJmUI4XX+Jkmp6aR74N507IBBK2F2k+/xzplp6obpLhb72JN8goVoAcHMOlV9rDfn5tlKo3Q0XCrgeZRTs/j2MILn1gVDS6P/gZKT3acdpX17PdwLiT7L4S32stN1tgy0En9YFmyWQqi7vl6+1S4YoIkeSyIhGcaxBxbH1n0ngrujTIaP4LfnyHLe5QaFfMAp1XKqEppHhuPc2KFaRMtwC/isml/Q0kSuqCV2iVOfEi7e2qRPp8k/tt4FZ2cF+Rs7YksXWiQgLnZh0hgetHPbCWbtCWJPO3ED5Te4dXGsIaX4712pD2v8qbZJ79paFDhqodDhf7pRTaVQJC1S9iDPy2wk/I5LiVTgE2FE6UxMtoyHUXUxDe+qYGvnKBaCOABTVZaG55NmnPUsjFN9DFKKtXAhj/4g1FxhrmPYntEs7yOfO2//d9wHHcapCp9BVfJc/vUSz56vNGkQIlRRt8FZ5jQ2fIUN4ielyapWERc8rhXa/CDjI4FjE4cZLT8wsIWaK8sTH7Q3UNFuXGvrbOmnXJUNXt0EZwbytEMJAS5IQLRGJlu1X6XWu352Zamv2MrqdEIRf/PgSruh7vaic9OxA3Khy1HiJErLQrUwzKaCm0ses/iAhiMSHllGuWoijWSXtIQizPi9RuRuyHKmxDUDy89L7ALD0qt578iBAOUTJh5+6MjD9c4OLVBL3vDsTc3xJAXixGk/arzm0VZOBEqud5wc3cJfXMJWv/yXgWUPVBxx/6Vbc0ZF4X3mxhVu79oHrwoDAIbVmG7/NuPtkcSwgMdfvenQ0nOt9POs9Jsd/pDWMXAsduP2UqHeVNN3/VnK/MnD43It+whx0ZlitMiuI7cZSn6XkFcUhVGKGdB9IK1lmj/SnWfnn7jvmHXMAJ/c+08758oT3CAQpryDeyooDXBZnQA6SDXiS2+lsxKnZ2YSN2UrKsMMY+PyRYNludl8OUBdP0+wKkuL5NdsyPaJvyjYJHqTKtFhpQni5UCM1T0V68QbL6ytbm9y//xxQ+uy17OosADIE+7lJkp9DAcae2Rne+VuCWaOtwNLoMCMQi2F8n4LF37GQm3OysdSRgcUKmdqWX/oZhKIp4YPf+hZ+9boxPwUBadhZvLNly5At+eRbIAJkd5X6DjyMka7k28NCgRE8WnWlyl2FyMFEWl3LiYzHXAVsy7Vw/BjDS15lWA5Bg4YPDShsdqgFFvgDZ/wmlyqOrrpG66PLS5fJ/MiTB2If58VFOrZ2tsRRowxx3bSlUNtuuEC3wfQPSm5+kzyDXJktxezwGSuxNAqS54UVrcwhV8D61f8kZuCR6Rm79/dH5cunc+YNVgWbkUGPMxsJqjrHQ5VaeFMKDmTsr8vdtXhNo0s+BXJZtLU5n8OB26KgrROqFl34P9hWF0M/LsNB6ME3bTlnBReMG3tdw859FqnWF42ojtVDjj9+7yEV8v0LQM25zAUkyK9pzvsIusitL+MbZCGyEZdoMb5oaH8oIL37YBzbKAc4Hl8AtZpIy2+/1d7InwnrFxFzuC6i2f9KvxsNnEIp1dEsnrsMTqxu0+xRJMig0CCdr9GpVdQLHoELudvm9WVJ/srTChA4pkQtiSrLZZ931S+fgWdjm05DH/lE5ERk8Mq52CSo9dYgPcVBbpydwsjWeL4c5tk8fUs4XEw98hJCqcjbmFW/B3nQNTOw7VY6YUc+NkvQkHmgfRG7zBApBfjQsk//i5kfmQlrhkdMnsZYhCiXRFwQ13iU8bRxXSHf1GH4wAKe51sWdDScBF8VVzJLUhgDjGx0gzr9e6+7xEy4795x3dMI6r6jcC7NzdlvGGna+zDg+LVGqsv36VkMF3SUbjcvR19NUWkhfq3XRbbxuhMYvj+0Doyvs5jA+925zc6hT3BYfLlwi9plxhttN5rEJCXp7wkvwRhujhiKoZhRi81vtkrzQNCcE+/hZn/QtDMhVPNDYQMOiW3+wQIOV7hjam+Jd6c2sbIIYrPPsd1dg+AUynEq0ZzkTRXl9lmtqdgI7rgRQ7CWmX13hUbxYlvSENEEevy4dVXOp7LmT/SEM6ARAlOUHsCAqIT39Vl8cCEWgm0RwMqKuTcfhP1KEHW0HBB7wX+8lkfiHDV120NU9PYB0ii8xQLbtAXzku00pTmyqhnUwaC0ixyAU/RwJ1TV7DGiVjF34lTpadLcZM6lfuKs8X+e1eYIXu/whBgoxUe0oywPur35rPZHJrlv2hKXjHwX33hCUqeViSJghNik69UsNLx00oRVFBGTitRNCAJJzBdWigMeUYaL+YcJfPvyxef/R7/wB4ZOWExtZXOhmu/EmKXU3OABan/xWK6AxEliIKwvKO61A0ktKCDLrUCjdztZz81Ts90fFqwR+UJaQ9nBsGXkfhEMsgvduHEkbCbbSlSJWAWprSdYgH6PB5BcarL68om6X9BRqDo3BYY5tOJ0W/MuSmatPBIzbBeGV+NdwyUNnPkZFNXlnaJFUDSiEbxhf0NDotc6+vBGpMVdfuM6Q1NKhz2eZyv1IhSJrAbB9UEBl6khUxL33Oj0ITskC7D7wC/23cFHtcObp65cabvYtxFw/cjPxPsn1MflfCQ8VUgAqBNx9aWhmDKObE6BIMFEJeblAVtZmKmRuaRjjSXO+8CuvA0mokvc5Q83rvnWcemL3cgXyamb7KiX+jf4DL44H2dNB3pHGQP99fMKEzgiJ50T4BQnnvgNIU2C91YWofq/HIC9skr2asx0Howcj9WY73Tt4P6UkOPKJHlW7IQ+liCfksup5RHAevWCDElFy2zK8feITQt6lhN0o/5hYJx8XmtzXrLAHoWwymPC8IhKiRfFXnBLHUZJmeyJL8JvdZtrcMs8NNXs8obsee6hBrrJDWSsYmNYb0AYhvYspe8FUh8+gojyqndynLy/oagPLx7uUBxjKl28hkz95YGZ/Rshu7RjHw2hnuezrEJl1cCIRLh2OhGZpRl/uU7zrqpF/ANxD4T6eWryuP26rkGCgLBf8BkhH6Ba5MR1Tr5lL/cKY+/IGudYWzazpogMoOmkTVIXHroIv3p8I+Ma9PONVace+3AoslvA5bBf0bOF8ILvbx0rk0a7VU6UUiOpb74QSlP61ozpI4cpJIMtK0GETiHQKoMboahkMq6fnBeRptyCxXG4GQH/2YgYyYfu8kMEuMUAt+zziAV9zBZjX018NuCJ5J6ltVbAnc05HwX8mAmhpEeqn4eN6BqGR28VJzMKqObeIuii/gtRlPoAWEv+xHGnt6hirgjTd7Cv3ZYEgGR1815Zm0Q3WrgpNalDExnjRegSLrO2mz5EmorjldUfsj5redltDENLEU1Ne79UmnBgu/JaUtDCNKbsVm0DjRFTOn39N0GsBz65PdWqUQlFiws2GB0MfULDmc8/jheiY6IzpwubSk1xs8N1+ZrInCdpUYZP2maOpzF0neQVuIs1rAQU3NrORhrkWJROqIGXeIWIJcJVpaWyVo24NQTN90edsWqFdAMx7fD4ixoIr79DmLyG7LN1cu7SoztRgvJQzLy9iqKoXQYryIHvPK9i5HPjaZxTtT5yemXItQZlE9FCWtcKefqOMVOdAp+kyi5zYCOZ6zvJyXaAWbIFDxWzbnljrFLNYf6bbMA7zRV/fjJFznRqw9PwfPGkX4YhdpxJxHjjkEMhK9a5T3BhUo21rErJXiUKxCYQKhjXH6zCnD8tambte01M0zOwpJWkA5EkCPI4rV7DOS8fI8JBwT1HcUFuqz7THDWP4NXqXjCqdDhDBZEepBfFJhaLhBENtGqorbStRXPzh6Lp4TUHkubb5Rmgv8jbCw5ihaBlc5iw8fb/iO+WOoyLwUUJhzxzC7g84YTasYkihc4L48P+iVqE6zPxFt0rDnPudTkSTn5tbOd+EIJ6LsWWTOkh6pmXkOSPy6f35oT3fbGXoj97BXwcmQOahdByfpbDwwCu0gkXOCx2Jy9XYLAwxoSmXhA4fXYQ5rJ310+UVFirtJNlw0WTJDMR60r8zgg+So4NydlER5FNVVsts9bDzIjxMa2yw5jYhGG9YBWYHBFT6Lhu6uIArMEXingFyo7I6fR/InAMbg6O4XAYV/rlswG2yYkMDLiZRmWvTZAa/bg0OI6PhvkM5QiWPX7ghj1Vp59eNtUy7Onmc/OYqO3tyrw4Wp/+Ja5KEdqi/hk/gqNLmX4OwOgkxM9giH8w6WQ5CnaL6awinUDcbgvlXhUiHHb5s+awO1IUtr9QUOe0Ewbc9pQ9kUikmjVeIzvSOmGXaAOZsWvbN2C/BFKPoVh7z+7tqB9X0Pzn9/qcSl/ACdUMvvtJewpqyEc3G/RnKkaX0y+mHK+9KLKRQ2eN2S6AUdoGDw3r+G42VmeIPrlu/cTBEurqotgV2JwyH07RVXwS5ZjjXHvj0ryD2sdb39JP3D0MjhmledoToNPxPlZn1T49Zzi2S66pvbjm36/og2rtwjXLiVvjQ3f0Sp6QvXKUEOY+eG/nArWp9Y0Sat338pbU2k/nd/vYypHWcT7oMaNXo44yTfqkH1vLWQw+fx7eLyk/83jRzZ2GJiwqc72NVDPjAjMprHs3YjqXMkt7b2VGDSo6rPl769T0OVJIlJSFj4mIOwOQP9lx35bObiJAKc7N7E3xjn/iyCF+k+3TLGGjxPUV6y58+2Bs0iH4J2KGA3iKk+pb2nao+WgJziKWjF5sISHjqagwRbBvjT/vd748/aKHJ3UaVWznOOrFST22HqBK0lNW8Qd1EbwpLkxjbiWd5FByiXn8ZNmnvkzp5mV2KlIdFqMqmCId2iluvo9SvZRXMYlYsvGRbHf0KOEz98kxuOw5nR19AFhIiM9Gw7Ix76M+KQ47gsJ5PQzLnmNqzUbP8NnK3fX5XjMz2v50DmVFCzDl43JZV884Qfg6wAI9BXrW5VHS6JJBZGuS5nFQYi8iVTYH5jwMurmKxjNe9o7FwVaTYxEK3gkLOJIO60Hld9Af/0mhnQOvL002oAjTMHS/ac8wnBuMblVII9HpJwsqUxscftga8wT8kbLF5J2GssDxEfxTfubFnHED959S7WFEjvV9rCpncL3wISd1kKzoYoNWmtZLKnBXVITIeqyw8iZAvaXZn/oaJ0I3kn4rVCa+hPWC4oFxAep0KTuoqF2HNU7L8+C0R2zwHO3TQlgIw9txs7IeU/+LGlbfVVHN+H3GltZ/B11eg+SRy3agh6eFMTFLEt1DvOf8PGR8/YL/CpPbhaM9jl4K/4PhA6h1186j6HTr6qu0HNwLdTHGOL7zuKPjXRByXHl5g+H2x073kyh/klrmG3luDNYKvdkkgrFggA/yoBLe92Jp8R3K60XnZAg0M7otckRWvOeBmfMLd0+RyHS2KmINEdG0SDEHi+mHTM+6VDnG5fDGLifBV+McICVCpQukeO+vXgr/lm6+SAY7cL6d78FSe9TxQjRVdPleA8PM36fNFOC4oBWn4E62w9LYO6wx9YKVYh+Eswx/l5ETCDMOEvOrAUqmT5V7rTGIqqLUDqDF42fAjsRBS0XTMTU36erCkR7CrGZEr8oVCK2o4vmVQ6Vm1wjPjXrOB7FxszcOxT9aJ0IQC2dnuYJaAjVW0BHyzP2pK8YhOqxAab9YaeqFzNrszadCyoEmjWKfJaSf1AvwH0t7SQVQ9yFt264ziS3yErs2g0FF0negjskIDDtLLmaQU8NOTFheR7ZVWrwKXIizs+c0MdZc2m6C+Emwqnwb0nWqDXk2u8lSJ5XQtirdBdgfjoZPZQsN8yqdxXUVnwVyYKGGgJ7Xs8GRl82rC5DK7Qzw+eRtl2gIh58ql2KF1dtXlpZ3X3EKz/HAGMIgr7dViwG++lvTOOxltv0/1qGu3SGnUn3SlK9NLQ+rL0Sg/UxOMh+XDtKyEYwPaEa1PMVDnk10Qp6hP6IC9AUPTzn4RVK7eO2B5Q2st9qwkUB847ji8vtYJ79eCCRGozuQF4xiNmPVt1kRrOFMQ4JBoFeSKdi9RwjWDqZgItjiBHzoUoq7D5Eb7JV5CK9iek3inEcGODz4z0HOElB9E5fA45v2LZ757nKX92qLBLYvF/LpJtqtfTO2daHAtiOJf9ugjqZj6V+PUlNMhZQbQuSC0v5c8TxOLgKF132ZQ2iDLxHdjyZYip0ECOHrs42l+XSZ/4SpFR1n/lFWIifBaLR1NJxRufMCIhr1AyL/L/z4cexRlgQNQsvAlvZryqgw4XKBZWeAmI9ZFHPZV1d1Ky7Y6J/XFMJcmCZ9FdPc2ilRnn8BlzaBYFUyZdhs/862ZrQHwAbY3p2lrp+jvFCMG51WhPT/caXaSXRQxz7VXNRu3chLhim/P8JZA1k8uDLaJsj8rRDyDUipsCTm+8uEwxdQmvXlIpmGFBKHsW4TqbYNeS1zzfgloTVrbZjEHrUukBgJaHFJ2UMlt4rmYg0Y3jhiBDFT3YKS97l/ZJC5SQwi2GE12/WrT4XR1MjwIZEnl04RCzUg9X2Onyws06nnSQGXipPh5QdR6v44Xwe6Sznm4L0jn6+GQP6bKLZZtR8VKMvFGTWyBw1XRCt6gVCzBOtZmmFwPrYZt9QKiKXAL8Zqki99M5DM/Ikh2EDIMAp4gXPtFaOI3sm4RmOtAWp6LAcI9hbaTf2323hWiK0dinuC56YvmY0nQbi9JqFWpt8smk5P0wP2UCy6SgCKvMSGUOXwcTlaARKgUevTJgI8xWBtUHl93p+uDgz0hKq0fec2lCeP8BfMit7dACIhfij3Tf5W1rUNGG/WRTZaeyX7TewiUHyRNd692WQca0+7jBk1qW+N4JDv4a3zNtba2Zi7OiwiS79Vdz1vPJScdZ8QE1+ljsAen1I+BWqb+3TDHzm0OKyypGieC+Z+l7JDezwvikf3yklygMeNKTUex3zKU29u079+58s1+ocHteP9PkOAbmBs/BqKKu9fCNJxLSmPzZnjtvTqb+U8KlWks7occCARtN9gKwTbEdhTC154b3kMFW2um5SbvDD7N7chumfWQfnBqRf1EiIsK0n993wSoP1RmMmeZlN748OchBC5tNmYaMsxLSyRmScbfjeae3ZLRLQag36+0i+h90+kBq62U/b1uhvk9pfeRJuc1ceaGyDNkPJnidtSe+DsuFgrxMz3p6W/vY5QHVCTVnWb2c/LCJnUl3VIMUqNCQBCDPKT0Gi96RiPMgUVNnOgEgtlbFKe+luShc+mjjAbq4gDikZb/iw81OpiICSmvJxGTIoNZk1f9mZX1pYn7af/WD4Mf9dzSRLJpxRR/X64U6jJpneALI2Ak12zzuvHICvlQb8P9NxqjpwzjudyWeZjIlhFMhW4wLAcnqvgglY9JAk98vCCLpM21ur201fKqPn9G+m/sobWtmjvA86zTxKumaTewCYGBjsM2b3z7gLJaLOIXf4L3eh3/en6JjJ1QZKO6NNA7l37Wlj/BpJtYC0/MHM3T5xC/dBvGLWEkb9dV5pcrd73HOp3pvEO+7QFpgEbLbXAQ4P1xlvWGsqOWmi8ZjmLu0ubGYmesP0TtV5fdM7CD+QvgoO0K+vcSghzHMvxGaG16a0tAvIF1rjRtTBn7+l2Vs9PdJwUeFgqKNrcj1Dj0A2tOPSsadJiLsrb2VwMr+bvhuaurtVkd639aoAnh1qqXpbBOhanKJEv/RA+u4cuS8rgG52opaWPpDhJthno6D8r5+1rYMd3n/h672A3sUY9TTrXobLqJCX8f97CP8gjH9zEgScqnafMAZZfYUz5ZfL9zPI4pZgZTH1mpNnDCFNCQxblIEqpet/oYiST2o7oTnd1B+VNUO8Uc52ozfiVLw/BgIhoJvQaxcuqpvxGSn4AWhxfrBgLexBnkIc7Yuj/9ZSD37tcLIIsT+ugvEpLJVwd9BXUXyjtDIXZS0O7F+L0fPrgkGUS8wDkodSIkyxENtOh4E2OZBZUYAoHv1/t0y3AcS+7SEx5i2G9tbBqU74fyqitoUuEiVcwoq/95wXJHSA1E6XjZ3f71PAt3P5MFTRSjtvjdmtg2d51sYYphtwckAU9XL9Mc0Hfhz5KARsmotRbZXSHh/+EvOce51nc7EWq+y7BF0texTkLimqBT3jY3PURGtE4mDZBLOjDchihheacUqKtJe8qujM9oJTrmOn9AqAZE6KfcRT+pcDuieLH/nlpWBNFUa/pJkqVR8DSI4CYXJeAYL1afbZHcgq4GdqjeCBi/TlxjbXx5sKG0FIvBJR0NWNYYaM3LXuOJH4u3xOU32kemIkj87yhzC6/8DfNgQMut/MSeMmkpplMV0rQejkFP2gmOrJu3DSa1TXjK/0quVtgROfAZkBR2MtXesUi5M8hLJsuGo46uhykWnl5UnGnHwOqW1ocZ/tSNJBqyXlyvQALTD6VTtU1/gBcjW6JPMQ6vWKk9VohOq8UyEF8N4LmSnri+SnPM4XH2q+w4i6yHxKqWpDTI/KN3bam47GXq6O0pg+oPlmT40/lkGTGjxvseZ08YzDRb6cP2PSawjrK7Ebjl08QZa6kJ/ilPW6wlYEf1IyeADwhndX3gZE9p4w47+5wB694E8H6wWBeIwjR1o3prajwfM9Zn0byGgc8zYyk7KGOFq3UQ11NCuERkpAn27rkgpxP41qRcvHwwO8C24TAmuqlEXM8a1XV4GUK/Af5b6Jt4iN58VRUpENHT6TiFnx8HHCuHr41ApHsfWRBHWPTJQHnecyeriGA1dPOtFzkjejHC400z98gyw9Ee46VN2TnQ/ReS//+SJAEQEuCfWQR5DIkIzh1sjmFPzNwDe89ePE+jy7dyk59tizRtpYRwakxkQYHZ/Pmm4vXz9ozHZwGcxPr/eW35Qlwu2iq3RUw3j8V56IsWCSDQzlKLSLnnokj7pSVkj1ypCZhwgi7t41Q8RVz3zFFyuFJbVb6NfnzaV1EUrMMO3OivC9ym1nbo2AtCS9jt9AJwlWD7oOcfpqPOLad6npNLJGj6SLc6qGjavpvuaQ5F/EHhOp9/lw5Wx3amYMfqD8oubLfl3d4wPSACETIlax2V8CUwHA0GflBg4zsRrfKneF+5c2zsL0smCMWbO+cRqbVg4DJ8mIL2QYVMrg62BWX5EglOnIM2+b/AjI6kBSjCibv1WmABlz08WpJxLFM0Hm4enT5r2fx8iKPRAzBZ6v0TWwVCyGzbhpszQUjqeCdf0OWTM0Fd1ul4DWXWDD9sj+gviHUAAMoyi2BxpIpSphzAaKe1uSNayJIPD5mRhtexohrAcLBpjyAdBG198Kq+08Feb8JGHum8Kb0dEu4E5uiQOplf9uDb0JkAGMME8v21jJogLQnrwX+7WBO9pjjOEK17J3PZe5ATaFiFn2nZcTCHlP3h95EhZxw/g/zFnJXXbw3w93BNWzR+x6mzXtUk3YcyUQdcsYgY2egX7sEseQQhb9SyKVykvqIHmXY8JxtEcMM6/3WSYcjuzcYYm0ZEi1ZJjB5SJDknvFfwWHMe+IexHEAWVTcREWQue6biFcjJ0qpkNxRxjFJIz63iY3e8arHZSHMLRqDfcxh3eaUyEd/YdUEiCl7l/u5X8GxvAoxFDvvKL/TGAdDlJvQaujZ+AnZMCx2l7IiYkCgg/JGvd5uGb8WwqwQaLgJQ1EX7TRHPscuibOYICM9Ky7ZStRi2vMeKSMiGttT2d1eOniiG7+MsKJ7GhD6h0+vAs0z4ueMzQREShhunfprcuJH6vTKjJd1NTMWXea9uRJ/sGPu3i1FC1vJg1hK2z3+gfngDuDi86P4tqetkAfhn61JkCbdzmYnOESUM/e9+k88rZ/lmn/EgOWoWoWRlswCNtoW5oTyVVdgMBgTJP0kqbz9XMDoDlBt8Tmoi0FCPZKQGyxQnJ77isLLmtxlidC1+og3vMsIMz7/eEKgJFD45sJdB/JOB6MWXNTIspvhp5MV+131I43C5gOtHSzMQy86AjBxeGnI1gldnfjSy9FKIs0uxtfXXq9dFFS3SI6ssKhQbpWI+z9VlylnFm/2MomfSAppENpYQa//a2HLN7f1lt39REJ7VI3ssklh1Dbf9vDNdxoCm4epSpBhj5XfzXrMbgpLYwtEHv2r+B/W8nIbo+3KC5wdsEoHSUlJO+v4zqhVKkrlm5jMNHd/wTHewWK7jUqBJtglzXOhYKXVSSl0mEnoblqSmV4guazaHsvR3kO7hGirDfjQXAbi/c+zrsGmXUTS1cmaw4rStYWAfkwzCq+5ACDwWk3bLwKULXwW01StKj+LsqmBBTmHAheFnMGp/Q9EPAAKdj52350deBSju0i/tw3rCa1DrCjKgzytq2GXYbSiurQupzOijQ9Ny6aNEznoRAHHaiOQgd/jDEVHdcrHJuf6idL451kgs3muh7WYEp3S3MQOayf6TRTxoQvyCcEi67f2WHchx4j5jL2I/AYdBx3UbS02bYIE/Y8gf0wsm3iATKCliRvkC6FhCS/WP9m8+C5kGvDp2It8ny38hxuUlTNIyNWJGbyh8+XyWDcdju87q3qW0FLj7/BEbGiZbt/Cj43qETFm70kzxp0ZJnnIGej7y6LBv7TN/sSnn9QCxJv0gv1uty2FbwYEm/zGB0NqYi8zyZw05SUhu+abcpjagyPAFvn3ce4NqcP12mfUJNHHZmqWNZupBMqizJJze2Q/XKitsgjZ3GSaHQm/v6JCClu6yev2z5Xhm80kmKsoZoVJeHfvfxLNsNkvodmp1tVyoIWjg0vKLE9nXn0YAy7eVGT4xD6cYz1ua2HLPv5g4WaQlRPH1vjCEHF7Sip+M5yjSAmZKwRkwDYLvJTDv5aRDGjFuzmUkedffCWrGzAdrNc1sAWL1pjXQc4v0LPXurfyn3kvZNI5rCPLNCUNxuhB3NibEZghOthGJRf92PfFxQBiyihoEUYxnu82thcQbY6xp8LmaFLt7LGwpIrwPrPyPdGJu/qe+1HHyBOnzngfrOOvH4uSS1IEtC79sL2uQmVRlGvIyV5GkSi7g1BYd/CGlQUdoNmSwdlak3+qkMBqk4DahxSCLSh21uX5xuy3vcAJ32PpiPtxa0yas7APNS6sgtnmqZ1+QeGU8yJh6vhf5ljXVwvxQRClg7WBKUPUjgZHUUbpPSPsY6F9pc4yUYQVswdpeAa7qVSUrZVyzisRd98ci7ddMozQ+GWNKNAFtBdGB/oLOOAM8mXidGjuiiG6TukTVN/1uflRQ2BIR5SKg6j3XVjLQV3bn8CYwxjxmEJiKmn4gIPIt7jNjXe1kTZrxDFdydmFNdn07dzOZpw7sREkl188NSLYqWDo5GX9DMrI6ynPAKcLqR14HzVOY9gCx56WQ2Hsiw8GNfnz+Ox3MthWddmVudEew6Ju1s3t5q4wkaBYve8sbjlOxq+FqD91o0MYPWlQN6jauzAL/1vU+2axdQbW3Q3iBvbsBHHZleqJPJchjsneMUUWVV4ULTZZwHktmjpvuFXg0g31VrIaFAJqGLkMG/A98Ia35FvvgsoLXCAZpR4JNNdIlRjc9XG000OgJxDuE9w5wdKfNHcbxgNaRH1s+oiRmSbezxJe4RlHnhviJubXRTHDJtMjn12HIybwfnKnNAOdAgqK9WDr31dn+1RPd7ZFkchtIk0l4FuyK58uoYiLK2jqU9AQYZE3sfbL+Btw5rqdBcLH0iGGQRdbTibcVfCM05wlZvKudlx7YHFHSY+Yov/BAkJQBPCyHmsxKNwes3K5kh4Qyx4z5rlJ0RIAWrTizEBmTnJc8aBMIiWashDyE85QbzpN0mdShJOKozxQulZlffgGZ9hXLfMCE9hJzlwWfCs5xF324IqOU0vmBlcQyI0jf4VlzStc0SC5shSJsPC4qvpgBZvGaXwbBzDw9mYWc5X48wifosEL5QxMtAIbyIsj/qyDBzrEInnQ+yzcjyDQI0unpo03RTdjo0Io/jow7dPj9WQLW27XxcOAmiCtdj09o46e5GI/JUeu9Lyf0h8vbt+YgYkqxkxvwydToqz8VBP1NizO7cGN32DDbCyJk4uIt+C78sfhnFv5QQtnwxq2BkYjhqG9tzVYsW2HNA4Nm4h86V28fmjN0qjNlP8SKq88I41U//RNdhDDUL4S8UonhIARp4/Ehg1AZUxvvR6xHAFj2XD6qJobByutDiOGlJYup0JXEuSoZjIf9BHZnZpjl/fnCM0hbWYUGk+XzOUjy08sGdaK68sxd6sgsI3JrWbeQT+fKirZY1ANFAh58w2eMnI3VmHRNeufP+SO5LaaTevqcX4VyW1eKD6BUo2o2xwh22JbTcXDZL//oPyy2t4Y4ayfn6btOb0P35ai2s9m7PKqFzliCzsf3WBJlveERG4XgxvKNLpvnDL3UKNYvj6hC1DJF7DMY1DTipBNL/8tQvf5SQDkD7u4tftsE6XjkW8Eb7bkNmYmF/38MmWyfuPIloRC9XNDcqx5L0fWgpWmy+JxsB8ECkrgFqBA/0Z/pSR3llH0TAuC4kPxT9GYwcqbBhXPg7lzDnp2VUCMhxWPO7S7ocEVy7XhUZ4qTKzxOIrN4D/Uwcgivu79R+YrBKxzrFCdjbedjQdKwfBDalox2s3rFZNi2dldYtYWPxBx19J5zHwHEbBcbiALdrU59nJMhnrpHmNO0VdtNZCFpcsrsAfFxzXiCrBeR3MjbczQ9TTGveEJ/BfnW/vQGXSnEGEkDt1udLQ6NmdmUPg442J+SpI9el6dFsWCwIV9Stnv6gkL/9LkSku/NTYptOMbxhl0mR3/b0/h7OXBekDSYIOhQ+roJkFc333uhf5Vy3oZ71jUPLZvQtBVlJcyQ7LmwYP1YVcN/akgd2/NQgHXcm2QKJYtY9A1IH8PNRNsHXcLrSR+ehkw42Szh2i2p+4EOvE8tAE90dZB8yxKWAXQlDDLFMarioFqRlsnx3PzuTuLtHPYT3yIuxbCgI66g8nkCT1lrZoBiu1LqJkRZQSjFmUJx5+KsOChCtrHZT4p3pCxjGDr6Xb7GxGIuiJ3LrEfLLrTmrZ2/sMEY0zvoYyzg304pmrKXcaiXrxJfzagPCCngWrZZ6LvD1qVqA4mmW4ULU1XISQUYh+puVCh1hTzJWN6rvtfjrlHygKW9u4QbigQH7JA6cCaTjVDs6GeRyr9DWECtJrj+A5WO67FL5j2bMw5FZZlH13GrA4Oqdit8OuOfyKr4NWsoJWzOxmy508h8qIkuy2zbGbPrvTevlYJQtREuvCo7oDWAULowofFWtRGIlbLvyR9p++x7zJAENqNPn0RhdJt2ZgFzF5hIUxAC/YJnxXFEG/nQnLRB+EwFUa7bWzN8KVp6w8CW4jHtAWQpHBfj97FQxooXuI9ZlIUyrjJytyaFn8H36PUq3s6m4v0Rf8gipx4n9b17ED50aSeBQ9CApHgBnyWk4hjYB/vNv4E0YkVLTLHrpsnAUcguKH2OiRs7/wnqun1KTgQv2Nnf4XURht13LA5DnES2MFBDPFAM5NgjUxGvnsfiwlowlTxejVC+9umjXQAeHg6seDdtyeq6+YaCOgSCUjVy1n7POInmJHlEaNRRDSXbleJBGWkFPgv5VydVkn9oUtVeyszKHz1lx3H0WSHwZTbiQSB42fpRUca5dZ1ALj8xriGaPj0I4jZ4+ZBPwuGDMSQtbs3dQc++1QWcAJQICUgApXV7No4E8qjONWi+1zkbItFr4xezHCckrMBWLno7vFCUVgLkhEtI6GHbOkA/W46oqmbZhLSyI/0sI2cmR1GpcdQ/P3F4mLWUZlZ32ewsJy7Xy+CTJXUnD+NPsnLHYIdH7eLhpsU4wdNj+vzjxvkXKObUEjjmGRIvrlr6fhNa6OcerETptSPa0Fx+d62tcPExbsRtq4fYmwMeC+R/v293xh0ACObBrsT4AU3JVeA6V5iM/EdPw/7uRAtD6MzUdZ2i0UQYlMGPOKVGBWS/d3gfnRgOeS6/yTgWDlzGC3OtD3Zpo9hg6lcNGFP7gSsbKY7mg5L0PRIteB9Hky3fQCjYhSu4pigF2+xnypz0Ins02e70f/EXPI7NfFhvqiih14sq8oLFl90dAKIQ6UZa51pB9CWBcMzWdOXBT7VL+Dvf+RMLehhPxe77C2AJ0xtVaNSa4GuMiucf/Kp6PB2F9dPWScAcpzkSIBXGrQPgxIGQOrGOQkTSqi/kGKbRHmYZDZ6HAJYBre0uvJqXnC85OKffOd344gEPpTy3StHJZNJ5UARqeCurkKhCSUynLTVr17O20jrDZLtHqM4G5Cawf0u/qzohgvPyF/P9pleRafohFLdc9YNJw8kl0A2rwHwumgqHrYw95/D4mrmxqwV42anRbiyHSuXRvpSpJyXJKGBm619NXxHeBFkq2ez1PaeC3lNEyx/BalgQVFbSoysE+iIRUxb2qOLicSEqB1qzjNfirZqVnYzEaBjo0ZzOvU0PT2uS7n+nYeYXMLMIvuYFL3ehmAZC6RnlvtVkXXQ0P1YDZGlTFjK81ZzW6k+r6HAr6HKLO+TKILGAvD1ANxvyoBKlQhDApS75A9N226lLgPQLwgzMNsZcuCLB8JES0zf81zyQXcrqx/hfvI15Secj9NFA3l5I/ZnWzA9tbkYQn/D2sILmVclHdkriE4ShuW+DbwNjHR+j7QyuCNcqcmXSenqLi0MrUy9IHmitdppOncn6tgUyg2RMzuoOS8KC4UmQnLjiaZ9Fpbkyqx5tb4azwqbTQ5NnSjcvYFLBuxuTD22xed3w2P/fEhU2Dl0Aw4ttEnDrYp6gkBVJE+quhhNXrlS4yKJHYc8Ikrgv1BpMKd8L95uhwXXwVk1/4JA7M/w6j2bgcCgJaX/t2dQHrth+vVvcXzVkXZNmKDonzEBY5yBLC6WEcMee1gXPHIMDFmG12k/lvpSVl6GSvDj6nJh2wKnaV9K6BsvWTckaDsS7WB8AABX3mjTSJoeg/aqFwveTGxe8zEnttdumtLAl5poDOFZzXOcH+vZypyOT8IUrNHSHcIlrxaWgghEUVTxuqW8AZ38BMaB9u+3yH8nBPW5ZtDRFbero8lcORP9fWD+H4iM7P1jW+xCxRzuSCgFHy2jV3AgK85Bj1BYLabTsN2MHbVYE34CY1QPViLiIAfGYChWbWcqWD8v1LVntg4nSJS/i32aFZWtsSi9xRfDcbilaOo0MyQbOby8LAuEsdSXM0QRy6wEb3Q8cACIzrMDqqwTBgdI+dsrvxna0iFHackqiZoRQv4EfOh4llscLqSRUBV0WFJAQzdH2GEKM1pjVrW70OjRgmHaMdwtErAVlzFFTL2K5TgyEQ0HVk+ry9Z2lETgeKN1z6UeEibhE3FoqqpUfed11myz3CAqqA2XqPcbO1keIgina6q8ikq1yQ18ALWB47hxrryKgz28HH/8NtWzk6vsH0+fM1sPzzN837q70vAHEyYRScAByGlrvvln79AlLkxEORWedkqvPaCHojz/Kb1OsoIOkjndZbdnKJmUaBprJZW68G6QxZ4XMI2BrGHeaE5E4Us8QfTsnS8CxJDcycpDdsdrFkJ7MN14OD8h6NmIitdiX5abtRmUCSAEO4vlVMsH3BVZVqlB+SGQ4QDYnQ4omzvubGRosiyBnxA3laW5lvQGORw0RYQ/FnXOGSfMePeRTkzcJ2cMPkrsyJe6pRqtNgDpyIhsAPPclwmml32MFReUmDdvUeD7GAYjyla0cTZuPkJktkzpmCGvqbcV0L9MRua0XFM1AZlTwHEbg2tFZ11VwhtqAxDVoaImG6A0IMiPgj8YZSOcviwkPxIJzqp+Q4YR0WIQ00zhitAoN27lSDqZxKki3EmQd6hk1JX3kxL+j8jRYlvdfaiNRTRH5jIEnjZZWBwKOKHvjgoMz+TYpQu2Bmo4i/CXZjkeNpbterPJyh8np9FJMA10RaZQ/luVEZmw0qbtJ5PxgkYoFPqrx8HdxzntmC48eMV0/lZrQXxjwTO5rczxat2dBeh8LCqT77gaw8gwj2CeHWo5fBG9qBJ3b2hpn/dscNX51783vNDPlkdMy02aTEp5NwbYs39Vjh3Q6ZIx17lcBwQa0EGnZJMB1Awq2lTFe8DLomO34Vy4R9Etyw9PThQfWSeCnwf/O1boH5DCwBk3vcTJttpi98zXirWrs9L0OjGcYCIKqfITmkGS1Zp/aNqf4RjoZZSl5WE7nYG2TSg+UwSN1vTblPAwP7SzC7F9JPFBLB0yLlZIAIamQdC8aSt1wCXdY4L/CaJGlyHxJoBD9FVaGV7C0G/8S0Vv+JKCX3aPkm/hOeUR49MzkO5Vgp1FAquyNcqTifDTDzRnKpOu/qShEawipdDif4QHesDcRNYTjj+TUopxcD2CR9k0a/06JVv0CbK8+DZ/EDEHwwM4/4Jw0v+QG4nIM6SOM98e/TYBP+WqxlEqIw8Pyx/fiogknzqf/ux+f1R3mPbvRPIlFG2Ta3NJMbBbGvAwNQvdHOFqM8IrWutuF6o0rCuefjZiM6Guu0PAQ+gEYEeTq9b5qA/0+HQguxREJSdTo0P//s24Tr6ofdW/smXCmh6wy9LGN71j+Q99P9Hhckh9Hm9RCnmE1NhdXYUCnURdriJHyFme2N2MJKaTYgGYSOKXMgAycU6nWDvCu4yeKrynANidWvn6lS8LYZntHgq3Z5azVkegUkLptFIqruS1vqe85DGTrz+nKHd8Cyp1LaS4k2uNyETsz47HVR+4o6ZchkFHr0/cyRjwUyJhVSTL2OXMhzbCQX9isODyAVsJRSwSjK2+tLfX0NR4d7tzE0k94UaUdulPVkOuL6xiVjHtCiThldMU3fSscjzd8a/m+HQiqW6F477DrHzmtTL3j/wxg3Q0gkPCj9IwRlm2i/l+hzC50BrIol+yqUEbR/W4blzvYPsRzGKfQaXJCzorn0FSiAwf8H8l7gDBHnc2JX1mDgPSS/CrawS+I8bLOCko6Wb2Oi1xVm+Ri2qgQ6C1ieXYndpJCLICzGpXGEpavhnDa93rVCmFsJXv7oepUm4DzRZdMQOOxHAYBrsh+8h8uv2HKHqVTTZCo5fT5SM8qOkcUPQyn/iHoZIXBAEnrdRMmacK6pn1BEnTzxKRjIhaDxFrseBaOkniKbJogD6fUotoOFlJlMQ6ns9tVCj0veCgNSF/enXFOi77JSnkwmS9LA568t2NU1+e0kK82AC1TM9ODuLOoXngWumAyksAwXOheQgH677ucsBeYd5MT6QqwOYoz4yuIRjTPB36CRWiq45q1B2pGIcEEozEZRfz2Mt2ln4DJ73vCZsSggzxXui0frH92ocZC/OSXTrzhHrrcszZmm7qVweU7tnyo+Kg95QJEuLyYesq9HIoaYLh3y2p//r0ID+SIaffg+2YGr9X840mt0740+di/t0qW/Gyh3lRQI/3IZoWT3Eb4fY3p4eRs0y++IXLSb4ON+mnAQEbWo5tQPNbPJfCQUUfgJ+On/qSI1HxjR5rksZGyjJ8MkYwPEv1UleUlPLyXwxNtYvk/iXk3MZjgzyD2rghFl0G/SHyv6wcanS4uWvlc1cBqOtmEKeQJF0t7ymwCsrEGJio+whoD9/Yr46mvPTkCQwQMRw0DnxejfF1UYBlnLvIoFBT35dD50c8JvRi/W53sAzcwcxJw6q2melqGmAuWnJyqFI0Ad3Kg3VnLHmhiziOHTsHGXOzEgJQsIxUDqdSyVuOXgNG2lRkoGlXdwMqm2hMiwTXMGl8auo9mz33ZqRE69P2hy2q9S8XWLUmAMXki1vijX+c3/+MIJg294jq/J5qBYworqRz9ALt847NepsWU796US6FEBAaSKkuz4MJnxTuoiQFikwP9FUAGfRrvRhb4A7aimVZ8TXQMyRcptxGbO9ByCfg9hOcqLjkoFDyh0gFtVgOtYzZ2wWJpUENzzkl/ZufQpst+pEuNUtK64jMtMTigppRYr362hJWiylwjodjfWDNuTf5unq6vnkNXuIopHrBzT5/h27iIz4IwgJ0pjpqPRBhdabmdA+cvUXIEJskBDV4q5YfMn8ExWNvuD1qJ7x1ZnQDY4pUybe4sLGSOyGwHEOb/lXQ9yktSn/dtjceJQ1qJz9NgM+wTYJ27fpj+GmGCzCWzrdEfzdQpnTlPAJAkLRoTySbahlLJMT1v6SvUttP3y7TEd4E66XYKd/uFCmOHaPTzPi6ZjFB22vPIg9Dvzm7pzH4PU6ZNu4MXUGCzkLrmrYkJYl2S7xcoWo48XY1azvf9ZtyDB+6SBzDCJzEfapfaNuTKHHoi0I2cMqmMBQ/LnAdKM3wYj3ZqvKv9tmyQM/zMh8f1mHgoUVt1w09bVQnKWYRa9CSiUXgq6JExA5D3D9k4SdO0RcJdW/4er9nFGWuCE7KCkOn0LFQQxWzQ2ZAzQNleMlC7EyHzG/QjiyE3gQBdLjg/tjQ34mdIVFdUbEX5e1kOHHcdIRnhnRrkRJaKr6m/7juUR1QjsH8UFOjj3vj0XVkOwkKJuwuR3gV6eh5UzRkDyYBmNIVUJT8EfswAdEZLvw0/SEtWFuvmfHQ5xNXLS/+pHrX8oAHqMMjKICN4XVSUH+Z8QXGUGEm7eI89i4R9SBL4sxx3k2qk0wutzCW6T+iOocuoZGV27sdOaBSbnZO2356TYM1BbOHrXzeuXbgt3LFZz5rlub+ILjQ180gwqnSqL2wVT7jqF991JeDeaWfVxZeMvZ5kilHhYv9OdGVctpoxf7jDpr23SLoJ8wSh1mBcVPop1tc9CWLUrpptnWA5ru8RQFWHCxNEvBsaVxcOdMkja3CQK/TRIa4ZZFAewJK3J2q8V8RCVj0JgfB4eWsa1aCljfAOXqarSjmH9gdpNsUwk0X02easeJP9HNdC5uzDOKqvBv6NGpE9uGHJv8VuxTidrA+V9/Kco6HlJK1uB6+jUjQ3+xA+CWj1a7cNFGpjXPGtxdMJj/sesvw/N85vYtM761dLAWQTSj1PgtJed7A9d56J1l5Kpwr0D73JCv1DU2M7aQYoNdAqg7ZGoGQ34lV8qWnCibMfonRItTlW13EIP3T10sTrTcAaenCnYDNDf/dIdOrx6rYGpdQ9WJ1l0DCDh3eqojWIXqJbcx7WY2/HKmT3WqYONX3POudC1WuPSrOZdCBfc2upNJxVvE8Bq/SaKz7hYFhjvwqlNacn/L81cBV4ARbBKr48iGKz/S/ql5xYr0ObyhM4qL4q0s706QjCNWUO4lA/QmIXM6VBdsIDsDdB8OC68RYSlz/oVC3S/fddYjF/9cw/TlQ9b+6uLHbTd7SdnPqAba+8SgWcVuLaAyd649kl7aGMays55UoxCW3NgYSplTqEuenH8FVDEJu91xK4GiSLssV6BlMgwmZWxz/VDc1+d+A6f0AAa+IRW/oZi9Wa1miJofK1p4Bg2/QGi7XbY3D0UgmEeI/b9NETD8FpJIea3pYxAu3gJQnqO57Q/BWUiwW94pAWmX4KjPrbWBzoUimIezYM3pXAlP2679EXi57MTfX7sPk7zvTTgDr4Ez83XGpUXQ1ffA+we2mT5iwrQy21d4LA2xRvLdw2uelyEgb3GG10uyDDKhLNrRXbkzzIdu6ZaqVBDXgM/pTlckJZrsYmD2hoLVm9qEWg74a7qGyN6Kp3bh1792ysNMH9Eqc0240CCs15s1aomw8GsV3DdantkhrBPSC2lskV9eWWFAKtusUnJzVRaeLiMr0i6E7GSpPgBHDwyHdtEeDWdDjV3yS0gZ3MzcSYNuizbhKzZNUPvx6e4mmxh+2j0o+Z5/b7HCusnUDQ7l4sunMvVZT8PcDuvyrHNia6oB/qxHuCquZFB9KVMv5CugFc2Sn5nu1VBJ/XFdE/NbXDyKYGBoMjt0CuAxD0+oK+/pvi2tV5ft34o78jJIaKkJhdveabuLCV0BhXR0GGJLislWPlr46HEGzCjEvnQ+o1g7p/pIpp/lDsiMuUqYLRtvqIyEaPIi2x+FZvIaCOj7tVQ+lQ0KCdl+YQNV4qtmEP4K4USGwLDZdDv1o7Qh0DsGXaHpY4IigGJ3b0nlzhO6XPEwoZMMZeOA23qOH6x7RPHoJVGUgYz/vr52BHGMj7tVM5noiD7cyyBttNdqkRG6IPgxpdPXIrHqI0hga/MI/biZ1AKPAYxdu34FlNS1Pj5QnBNXE2Os++KbMjqzgV0e7al8Lpk002LAfWxeDK1ld1eNy5tl4B51dEX7Y9mfd3JmjHuk+d2rybttLmCdf7cYDZXyEMXU3i5sYwPNyya50GowNLAx9v0A6WqmP+GJeYky1PWynmwk4qn5q4JdBYgXuHeu9lsBtpceeUS7vZ5dd9ckquUalY+n5rM3HXd2U3p/8Fmd0P5XofJN/wbUQBv1ZQt9iDgRcu9nYnDqf1zZ6uECC3+V222xT1x6t6n6BpZySS0FwmtjGc6xtWz6Xr0a1HattQB/l7ygVLMziaBxw2ZSRWs96zU93YgAz4cLoNcEY0rsHlCJiU9UY9AB1dtqvvPxBUKxd3OIsq31IJ7LNAt1/lReVAWxtBcM/wIYmkwolFximKD0V8SVUD6Q2jX0keyzKFiwtUC7FuQflEQg+tfnjEvuZWQ2g2inHFF6A5/RfKi/rknAhhkvtz9tMbJe5i07yXZw7qgBGxXjwazVUpPAulxmVVobfMpafFia4ShEGlc/IMBp664f58xnYfSxJbXeuOuE5e6CMHABZIThbonSuESm+xy3s8UyQIWuUXDNmRqj27IBNi1DWv9EStyxrYHgfM/OUcv1I7vj9TL7XnqKR4QMtPKmksfN7SXUCKw9+l1DukOU+eOfZngHsBq3REnHXDjOiYkZUaaRqIcUoNaeGdrhDes2CV+GbVYesCq171rgmh0a8X3/wZIfWvbJQAnLnw43Lwy0ZJXFfMabXKhVn+w4e162Y+0g3DlwwDi76QpAhQzLGdJt+MkOErgR+shIeq0fNpBjbbdVZ1VY/Wt8Y0wTkzIvc8XPe7ti+BMBp68lli+keq+0sqBeKwelGf2MyKPQrqxmK7Jc97M0Ykc7ZPnOLSfCN/+poQvtL8+dJidJazkLjIjmFURW0M/r01MMyR3zVyCCt5gPdQ8xGgfpl+jTfEQhwYUfmzuUSwKr1mPTVtkTThlJ3KmnMsKp3MHEAf/v0k1HJaWSdEjwddJqMxjvgnFK6cUm96s/DnsPPS04cp7gqmbex3/0VRhiw6CNuOxR/Nypphd7/eIClOe81BinJZfTlFng82bFOb/gLDfk57cDewvoTbBxfPiWBsuGI+NBatWk2Op+Z5BwrgFzPljOGMVdVbXoXXOn4iUX4h5Hq92P4a1qrXTwan0uRFVV+o77yTo/PGZkTgnGkXJ6by+hJZF3mDteNkCAMzKqQkZvj+ufqPbdb6EZ3TCPnM3tgnoNorokcAwH0MKvhD6OyWbSd7Z7JiGPu5ne08jpGLsLtfu0xcux7vuU7DXu9YlR2vHCWtuvrFWZ/JG+7n4FcBsvgd5jA+EP/e74fOdOtslVljdK8CivvEUUKKew3Lmx/k+/tVGFq+i/wFYY7875WG50plsLhe7Q0QAQM/wNYD3ZF3sN5gmeCFpsSCjVhqYNkzDUKbWAwW2FOhhYLG3qOfb56dRTqYrzcFU8vXwcAkmBb3V6Md7LAjgHhUZveoWNmg7Gg5M1Q0SBwdFdlEIn877quWsSz4a/3PkUgqfE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701994" y="2057400"/>
            <a:ext cx="7756206" cy="4366807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ft Drink Industr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onster Beverages achieves high margins by focusing on energy drinks and alternative beverages.</a:t>
            </a:r>
          </a:p>
          <a:p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1752600" y="6477000"/>
            <a:ext cx="16866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latin typeface="Century Gothic" panose="020B0502020202020204" pitchFamily="34" charset="0"/>
              </a:rPr>
              <a:t>Source: Company information</a:t>
            </a:r>
          </a:p>
        </p:txBody>
      </p:sp>
    </p:spTree>
    <p:extLst>
      <p:ext uri="{BB962C8B-B14F-4D97-AF65-F5344CB8AC3E}">
        <p14:creationId xmlns:p14="http://schemas.microsoft.com/office/powerpoint/2010/main" val="29658248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Vuyvi9KtdcrFWMqIz9zwdYI6vPzLoKgfWeJFJzekhMwDZH0NxQSOOGeL/74mYbRAVx4IhierBDd4+hWrDutDOayXK4A9o54/CPWAKiKFpnoUGdOahgS4QXAgUfXdrtGwnLk3XiwGJgPc/VjoSUVI7GUTFprOmCVb0HFKwDIqgK29lI9ewgkEWhZXcI7OnWrMuzIN4P6dW93ckPAu11ft+jBc7aAgJvOk+XBHxXTAsZIjBJ5F8TM6j04QT1yYDvWzCvrGQ3vjetH3gJWEeTqaVycuaRFLKPZusP6FDWwmiOVQuH8oTN3c+0iWJxxKTsgA6pna3tacT8ZbCvNt/STgSrQRm5vXB91vrrvK/8C2cYnRb81LHWSOtlWvQQuLPSbX6s6NbjnNjxsURf3RMJtmtENaL6KMn5IX974m8ZXHRgqnJnI2LGeUuOccJ0PRu9zenisamHkaPRqb/g3vPuRAn3tDWWoPQRldyGCsqqMaHbVdj21mHk0RkNm9G65Z88BZ7zEvpQ44Sz3Oj6K/muKhSfm74hbUZfiMZOVEJQ7IiERw+UPrXZG4Npm/BMWtiufyQZIx64JFbrhWptKeoX22uZuu2zUkrm1cSX/vZE14Xdad7MzDguT87yyTEe5iXnhAf2t8CRCtg8xXp11CgI23ZyTcnkM3q1YLT2oWUOvO6dubRZGFvLL0Jke9R1HGvbWSpV6LJgpZPDWqalDtnEZAGfsRCGFOUICFjEdLvDMaEVHpRMy4V+RKOBZWGGaER1tXJN1oDRPAk9/HxkpjKDhJM5jsp1j6K62u8keSDQO0M9k+UUnQJIW2IRp1mNhWuG80cSRxbD7nGfG8Zqd/virAjGaUzyLxGc9h2GaQnksEptPxkBu644CO62K/dLE+ueYPmJsJHDhf8G185GxqdhpVKukyHmYjlVaMmteVzTE8k7RL3IkXxzZxPe0PBH1gv3Qx7c/QDXi1KPoI4/CxgJ4L9VTDPKJJc5zu7ByNEoIlXCCGQGJYJUR4/g9Jn2KVNqInW/ErX5KO0etzc0uESePb4GjbT5FzB7GvEyMooDEcso1NiAEAQYXebx/xCkjZP7k4s+PuUYkvhao7X7jpTIExznzKUJxTRzVf7K/DSk7RsImV7PayXNOkTq+4RZk0AMy0vyR9xdVGkLiWbIt/Dy9RZ8eRjfbWzs7A0P4GUGdpKhclD/SMF4Z6VyKvbDu2qx0Vzb3Wb59/4+1hESR7pYZ+MEsVCmjr8n3HPENw5OMud5h1qCgK92HRKldFzYzAW6nWG/FaolkhgLA/skB9wHeSP00B+daQ/OF4UQiDl5ZMrdIDVMBWh9dodhjvOARHnT6Prk5iYh1qOw2/0VDNUgM+GQfl2Xp+5h0tcu5a+HbZTaVYmh+2+AWk8dxsiLj9ekivr6tNLPt+SoazJ6anRGReKAluJAAMo5DjXRWkDFBF4prE0n5jI5M/Vmx23cxgULvR243rS9EIlktuGWXV+vLt3lMGzDIzl0PpdcI2jtSBJArKISvwDYx03lGQ0ctYVnjv8cBZ4ZBTSeHCr0urihOo+hKKS5ou21EmyDR4y9t3fuYlyV3i9KoBHeuIMEFPv7FndejIxaQWTvPJXEqfksJjFoguE4szS8LiUa63WKsTk+b3gsPN5n7eBT6RgI82oH5fgxP3/F9Knb+bgkWSsNnw7W1n9meWFoepzaRrLTNTKfOg2QmL9zcYzIwtqLUVRsRSte/mG6NdrDaSqNzsd0BI40LLjeySsnZDjx+8pucge2k0V7nuoTaDzP3GaYX5nI9kbtjlUk0FNroBmjTRoDnohEsFLXsB4Eg1e+c/X/HICX4r3J1OnRryioxNoLyDYq+OD7XAyWqdpS0KexM5kLhucUeF4+wMoPWZckHkrYU87cZ9SrDhA1GCwhgjhLR+bNiQq2SL7skfDoxxVqTLvoUe94kGomFVPAmQeDVcSu/HqAMDR6+giDwhBldXWknFRC2o83kzEFpy65GbhwdvRfpovECx3Z21fVpKcGDHmmUuZOtFH3ETOqfTLhE8811RoDjGSvbEnv34Su7wTIhYc1jBPqxCaQYtW7FU8ny2QczoUjOmi0bxdjUFATM9a9eghlKGPoQdoiZxKAEM5hZcrjpYHNYh6eFQHh+5hBr0DUyNAsox1EjVeacfT0anenWiDSvxWxyhB35bf7NNuOxEdSgiguKqMuVlIlwyd3VZIse8BpMrqropdgUzZVoDnN6bv1d6CFxTR6J0miMIbkGf6KjXLPpL031EzYVObaLZ+UwexwTO2FUvlcujz1DQJaB+oKJOI3G1IGDWEQJrxsnjHpcxd2B4GSEUepa1LSWFAISLgZlgUnyQrH2HP4TKm9fyHRIMrBnbavePzLDukmi5Uv0rDTJRJVGKHVZTz9kDKFWyGeAhE4FslwYog3wJ75XQNSb++HdGVIa0de5yyhUdr+HlkxQQDH8LBvlj08kaRsbPmQFvvIlSnAjUVnRm7B+HFUQ61oF53gmv0Kvw3qyYEy7LZgOgCWch0DK1TLNq8L8wWKtH9bjD9DWf3K2ZMe2e3XxCUOqU9Q0ucuRropM5EM/+99kmFQWsJzm/cYze3wPqVwNQjvnL+olaGZKNb3qUJXwPK6U/JHddjqO0wpOqwWzKYpWgqcu6cZCku17eHvsAaaJNP7batw3VEXQn8erE5hILMDYW4Ts8IjzMyKRwHakjui2AlukCXie6748bnj7wy6U21AIrh4PiPuT5ETEIhffH07EN2DwePKB4yDFCAORT0pp/97GpLvAUbtS4Iwme93rl6AWWi6ec6ll+xHiMLX/QINLPdEq1DIHP2kkpPtZEEZ8zkVdkY65oVvwzVrHONtBGED+z0yHj6jnO5ThTN3duzwC8ptW/R95t7ZXvVWwHNpQNk0BLXWeau5r2CVAUCNsjY8bcwoyO4N2tZfK4+xI9yB4lZQDoqmkZbK1b82IY7qzI9RryPC5L+zOs5tEzMRzc69zBXk6peWrSbZBPggXimFxLnGJ7rLJbcn4bclRsxeg5z79blgRgX11TAYZGvNIKK361vNta3eWLuLY0IfsbtbK86zH3nIyIDrlGo1cXxfeK2WKszvRpiBRHyGnz8t8VpHgflPuG0iXSy58hiaNR5775LlYVLKjf9ZT+FP8m52JBJTuIjnUwJt3a1a7bJP6NNbikRksa9YCCbuAz0HhutsFa6rb7OixLo120sKgpGljtIj7NdHX9qJrOHrXVgndooAnbJOjzon9gMH2DMkH0aVI3HiRWBN0EO3nTS0yVV53kipeVJDXsMkG7ny9mrg4KOsZclm+gd4std5IUAYQkJXt6D9SvQhnzl8qdmmiWCF3DO1CxJb8mVILAj3UA8ne0Qn8poajwBXsFGU5K4VRLWX/D6CQwDbN8aDYwpTz3pBZG/I6Hcx1elxQ/o9fRg5vwSfbGQfgthhjRjrga504l76/mjvo++KKhnXAKPKaVLQh2FxG+nbdNyZEv523plzY8NNdbbPG1SWtxx44aTdCawJkMcwXgLNMb+OKyUbJEosV1M+EkTHwgFWPDp4HS+8Y0KTeCy6ULRPquEghidQpw1e+GvB8+EYcvpZn6dm1n0H6HQZD4zRac7FYj5JV+FB0oCuf8L/OmJtmBWxTO5raiBZyjKzDhqPqPGA+aoblm8BrJmBVETDALmXrznBj9IDSbLNifDMlCshM1dTUQ1hmubHyFJWys1cRqRNdAmhPbMUKMvvPUOr9wq8FaJBgXp4cNxi2utBH0SddKFh1CAjUkpVAdABu7VR7C8MQSgc6IXNB6fQa7t77dQaETZX+HbUklUm9xjhQOKSQbEO58YWziO4T9CqfGmncHQiZZAv8cEZ1MQWY5FMnGAymG3V7wjqVE9myoinbmeADrabJFmW+KGNngI/tNz4Flg8iZBGQR7dBDfmdnJfRu1/D44m9eHhu4fIr8uKJiNCkJjkAVPOIyj+m4/eiUpOZ2CtpWZVfYO//o/PoOaIOQC2irlZnOSz8FkTxvVMqjLAupYgvrrxfeCgjJ+K/vtw1EQ9TAQMWnTQDUGWq3gnBIaOxkNDdKqyJR/Gczr8fv+rrVFfBwiAvbkC+MF6wgOnx8mTirT9SdRnyTlRl8yXrrlWm4jwHFtzELIQBa8w/YXrpC3jx/2z3DSg4vD2V+VdLklsIPgY3ca1jvIJP+enGvuEf+r7Bc/NHM30162k+ILeHYbD9nMwiDOnxr7rGXpUlrwInDngcxkCG03TjBjIHt10J7K82ve26ZM9qIuw7gVZWw79uMjHmfBFsxVXcMqGJuIS2ifZwUwjzSGo153KLCAbHhI3Sz/aVb+WXjjb2PBruxbReKywcOFLFxz6wECAkScxVLPvmrG6v0bgOZL/BoEbETnjJxbjMYa3pETyoZPL66yVch0qVBF5m2C+YjOZFqVqR4wN2bNw2SAB1SNrLmLRxiJ9yDXOnT0bpXLP73zlAQ+Ny4KPPrVYoSiA+DrMMeb5eaAa16EspUwwgxhoJs1T5VB+6ZFbVTH6iQJNTnXcXsu2qAoRAIOnvEcLYc+O44AIv6XwY7KKGvJie3aC8njIVTfL02cLCaRkGlTB615GhKwXZ+HFAj1O1ZvyI6SSnN3MnBvRZtnPQxs+MUCRaaCOOPlsckVD4CqS2umvTA6XUAzIGKBiFP/9xbOa+qNzDmFUILcds8uWAeOVFzJnAXkiUeVHD/E3TVO/KrR8gVDKri2Hh8YdL5ERL0ZX9T+pgtYExgZD7o3ishb5w4fEO4BBJB7xHM7FlM/HtWzezlzpNy9Gf3xRwlww0BotS4wZCwMp5XLIEKEqmiqIqQS65JZNuXAeF2NcI0KPbuX1CmBpx5mFB8R2jDIPnHoH1BZPK0UxgIhnDzU9/W4gD15vZIObh4B9fuDNP0cLhkE1BrdqOJHjhcZEz2uF065Y1SCH08TzSQsIWuEiptN8KnH28JmBwU/yWV+u6VfyFABRxufuxM/kn2gmNTZZI5C4s3GdC1aCm4o3Qp4aIQEF7dW5A4Z/oL3JeVgARVG+xv2t7QeKkOwNAalaUzvYwJjstEV9wc1OSB/JjOPU08QYMr0HcxJl3QXxmJsIpnxqWNQffA3uGNxa1AEjLemZFTVvGYWvGP1uKxMepmZ/UgmaytcUfr2Kx+6Wz7DvJV3FlWfOm4lIsgaCdyWhOKGYR6/su7KmiaHJFyU4BnrURAQwgUAhh98MzWhwZdJV42mCcCSL0B8t2d5RQKUaXEoZv8oHnouUhgRhriCtNGUZ/pkwiG77R+BNqiUPoXb1UUIFVsdZVV4OHBY24ltW0JRo/Qzg6Ppp8SkIrgrcvDWllXOrcsFg0Qm0mgsQkel4KZrWfI9isF0yQIgZ+rq6RCRirHkSmtaL//6SzsQ80DrAvzG9O5hhcy6KHu+qg/kpsINMbM6bXGFu5kQUaXMl9lE/fXAk8ugGjB7iQBp87p47Bp3fjIxxHCzvWfPydvHHYoqZZJI+pRUsnDvJAz4SnekliOiSbzqm/d1avWLuEU3d4of8ovfbJV2M+Cf5cp962g92B0orwwbFkstSxCjcxx2iEO3r6gLkFPBXrshYyMM4CFSuFV1xUGOCA8TUgvzcxxLPYeLjAxW7WPEhRfnkHZW7KD9WqdFCeey/Bnb8FmkDCK594lCAeCzpzfPdlChDQ4s5TSHtPyRwOm3XSSKqhUIno4F7VgT9AdRIlZ26smek5S9xubwkxmFxs+rgw96U137MOAQWGee7SIda6UnAlPZaAEoVDq8wKJj93XoZKG24N+p9jjhFcq4IJ0kO78zwLCjIEno000J5+2Xt9lS/zhj3k7hqgBW2VQUA/Rtx9jJb1DVGzqDlU/Lzk0U7Te2k/QKaVCLh48QDeUwf8KYwk65MwVRP6qNDxpAwlb0iPaUug0e47l3xzBleQ2LKLkkWKBVu9Pc6QB0kc9+/7Q8HJgX1vYSvTh4KD22QxmM1p8t2HjIe2TVFj9JDjMGhVKXvGMRjvXYJRO7gBT2lPoHJile8l2rzcdlshcDDCbv60LKVxJEW9QCun13OCEV7Zj1kNL1RAbadZuiaQTOGHSYTGll9gVFTQKQumc1dZ9A9FOOxoUqHs0CUs7+QhIhbu2saV5pl0WIP50JTow+PqbYC6+Mjbr1G7JwgD6liJmor/geUtf6CQDQ8sDDHaobY/L1NGf9jlVpWo0ddGTtDG19awF2G5l5rkFnnz+SZysWSld/qAa1qj1KlIKk3JEXeQqo+/iUwyflL5BzJv82L4spDPv5arcYtw3OgexpfXeGzU7fFvSOT0TGBCayVZ2319G8rX9Dc3MQ/Ju+C/b8L6YC+1cYsX8zWHKLOsqwrVFvZeI4Rnex5/5xH+QZAA+utPO2DZnk79lw70xPNV9nD/2itZbxGCYDq+I9pVYF0F20Exqs0jNvawPod64m8M/Ou1NE4iihHSccS1IK0KN8V5dU70LbbSpeDxbiBS6FpovDG+Y9lkGavENTKqT2AlvV90FdFgF6WygMC7WH70u96X7KS3wgZyq6xIEI5NjlKkcSet7nXcz+dct5PpfzFzp+SyRongsfjQ9O1OEQ3N/s4VNmLxpxIPWUlW2+QIfB/bfYThGWUXRT2iFQdakVhYRp3y/evWjZI1Zcp+qcVmt8v1Uq7wv8/LsaAs0FiWrrpbf9jxySzjd7VF+AzSmzS64ZEf1n59sQ8N2Lpkio3uAKTCUgcDXLNWTerkdhTwgobDwpIwYHcrjn8X5ogpZA6s0qn9P+/SODnYKq3XQ1Ip2EZNDvtaUOlMr6/7UvocaoOlkwVPCVMmGx5cl8owoKghR8Y3x8BJJvTn6p5zUwJ/gBVNZIoyYCe0+Absv+jSssPm4ucSmQJY5eVp0cmDedE4vyPCpfbW5Mm6xyKecgQA9tephPDLnpovflI9PB9CnZVmNEa1/LUrCUeJqC2//f51HZdCfVuWiPeAIvUYAy2F65/afeupawxXnpjjN1mebB/UGatCjcYKlDGMuUyeLXR6oBKMJitapERZbNYoNtWT9uyIlVQKmGYPvvPYh1gWYGY13sq4lQF4g/wyAfuTAU2bMfhGeCTVBtYUUI5QoOCgBT8kmk/vPrsYPhaikTuKZvGrsokDHcjzZ0LE1VeVr3XH05oxuiffdo6edmydLd+J2DHDVVk8suLAskDo6X9/iQVunckKgON/PIFh40R5cuuV/nHQ2oAF/4EDtLgya+5aPQJYN8hvd4+COg1gG3GcuDjTHKuw+MyR5/Bb6nundp9T/xT9vYqx4fEtCXEZSYqRQVUUWOQ6hBFdjm9oWeeQIP/demlWk6PGMNMQB0kRsAHHnyiSfB6QY5GGh3A8nyNpCn7IU0Nd8IpYTC1/jX1I05twdXqmGoAs8YHhF1Xwdnh+WBL17et0SgrfFpgmIUf4QulMbDDKVi4rBCCvPRRXV/oJSH6fQg7uNzBGSBfdTHlnsRPdvyW5kigsTcKYMe3SjAss8IYM3Lh4eXBtCdkPD/HYw2SloE3cXhC2sNmUWiDx8Ps1BRtmZf545nmmkXwupbr6dmAdPDWkl6gq/F8Qv1nlO8Hl4HU3twcEIWaVQfq8lvYc8fv2ST6/pOjoeYRZdbfMviBy734piBwMQWW/Cc7kkhzaEfHiPUXgwopC1fw33d+FX7A6YVlAp8xauqyRJrU4nGupOyq4/DU4dh0N+t6UKbxNJWYmLrxgLJ8xQyUCo9mTjemiPhrcfrde0tdeiNsyXWc5dJYt68oFy+bfMNJBxGh5S1jp4ZWeti3ffPzX/KmpikKOx+YOr2v1EyUu1o4kXRCkMbScwwqXI+IAdOHqC0tXV+atv/YqX2MGzKTJaZ9ADfc0aZqu5JW5lp8ihGQRurbWxRRK4fMEmZgA2lsxWlTuiIDOMaZe8JG8KBXVSior7l4CEhi8GF2vIORHzzijgsfqs01g4CfP53AGYnf/Oo1wFcrANmzZzAmhQMoNrqLZCL0CiWgGfT6PHK82toKWk43Rhniii8BFnGffUs6tpLUScCbVngehZG1vtFEKXH2SWMKMzPBYheDJXjb7nMzw7Ham2CzV8SwmxmZ2KUySN9rMS1CCbqCe5s+mo+VMbhSwIZRHle+j74Q5QuwPt+Sw8Y/Pd18H4nSJrnm1ue1YvY5zRfsfHXuzj/7KljZsVffHe4sk4YksejThGrPCXQKLHMbUSeCdszviPjwfnLRJ50XTMEoEK5a4zZ8Rmv0UhL4tsW5QSXSM7PXb7jA/FqxZJiztDl8OLc4PkTCb/Hs/KpGCYaA+UZ71rPDxOhfoxRp9sByXaKg5+jLsYn9BYbPqZRaD17peUquN7QneEMz+KsvH3Q6qv2r+7tCcb/GXLOtnRsB+nbUxioTdWBDisnnOSnrbXfI7jFn8YtOiqnXrLI3XkNuwo5o2Oy5NPhpvY2krm/GArLy0BH5xBrPqphlrKdRtlwJfNZy6U5OAH8EiGpCOPFh1CFC2HFHZ42Ii0n6QUnAf2p4e1rcwLx6Qg7o7f+mEckekXm2/Uaqw+WhcvCKDtHDEmj9ifS7ikrWKm7fwZw9Sonh68GU/ZQOi/r6JZ3f70Up45uTHMQSaskmYp0o3GR+wByeiPJiIdVNqLeb/LAEqpwGg3XdVOuF2bJeSbZ8f9EoAQ2abOQm+6qo8VcESt7R9xhCS3DeJyydHZDer1fPXqz7UCYTUlWMZpEmsV/4XzPIc2L75Z2M1aCih/DC4LKWkLkYu1hxRSxivc4IWD43Kc2yjhZyTd4HJK61Y3+XL3Jhb95NeO3nFo0Qa2mTvsOIpnQ0hvqLwdp1NoUGHmATld7JIuIl1baUx9OKajY8cEPZLlktKwGiRpHHCmKDkLyWHWIpFCHzvmG77x1eR9jZoD2zIx+secq+0ONiYlF2reAwGT64krtslqP5P9Lw48VxtyZz1y1EofuiUzhPxpiDaucjbPYLPZrXSneABOnM4ZfncYgRLNJPRq66kC2qm9h1SdYLBwr1wfNvwU337/H7dsS6U50iILqSQaNSkF2/ngJYZMIzD9fy9avbVhLWjvsyUZtAe5QTrMeDi1F6BduLNkN0SAv6/0G5UiegmgQeOQf+e8YRR8605+0WxWgYz1awzhRxjd9NSB8THOyDynZrvUaA+GFEjxRvkOw5oAgZp/+adCQ1cnJKx6evMBnjiP3WWdooZK7J7X73BazjBlqN3eVL7YtKn4WCyrRdACO8/TAywyWkdnmlmKmeS7fM+mHHa1HR/5rcfTGU9YcDzBixQvemCWFOo+f5eYssEsnnj8AdfB5Z4ebpSOd89J2mK8W/MEgsdu1u0bVPin9jhK8adzlRfqIfSnX56QC2R9bBo6SMtVXHA77tTFxixLJBScdF4+Q9B5KodRwu6IM1xvSfhNAVs+GWuQjgjkEJttl8e/Xrj+rQ8v/yrLg6nZExjk7PY1i0LEULepFOE68UaaALnzvC0YCzGRpgY8Pvuhj/BY4j2W0EgdmdTIN7FsZWrvMeZtBPeaa/tr0bTRMHHRqqGrpb2TQ0D0TZKcDoXr6b3nz54XzSmUsUrsR0FIXpe6oj9mabOgb91KBOM6Guz+pfZuyN5H6JjVxFq7uQGVTv6XvmUpZcYNcd6jgPjidlY1sgOqFU1HnKj9M5d7z3OChsCBT9t2AjCVjCOSV94c09REO3/AdDfEljMonwdaA1zsxVth/LKkn1rkVzalpmDrYUixVZc8iZJVfi+GZnZA30J7fjvndA3ekjq6ZDZFuOg73a/xsFWWf+GlhuVnzDZODjSCz8limzfxdrTTBm1kthpNXKS5xCKr+AGoiAxe25Avhtr2nsZ4duOTM1CJRq7nUNyBwKqdPauAf4RxsdUD5BMM8E0n9La2PJV0kwaR/2UFJ7nCLS9EKCVptigDz/7EKwBVXDPVnQi/Hb4HNsMEDxyFyVIgKhBY2ObPImNgRbB6mfHrqQmueLExQQ3aUIWh7FwJgvDsjGCMLKZR8NbYXxMDozCoYLYA6EUmtakc74EJyNTIi9i/P7JZhWJw5rlx1Qw9juC6bUJtaofOX3n3F9O5hsQ3o/exrbA7sz3bP/Mpnn+t+Ug5BZV4EFLU7BRf/F6iLEsn4ssDrZ/eCnQsdP2suP0Xd/1VmuYFxOAjXsBNamHJKIijDWTzQFoBqqsIuHI16kPPcD7jAMCKmwgg5D+aAIiHRUS/4UFmMFGfLUj7lUaJOHzDS+yO06FdvTY2NXGVmMkwzcJFccqI9vRNxaSmdsE4qxHYu5Hg8Qyc5UQpoMY+Z98DaHCD+faoPhQiZNK15zdlqW5pulNwtkKIkaIHZbg2jjtA4NNp5W8653n32folgDBKBRthO0O/ovsd56hfsK/LWp0emTP1WDDvqEcBa01YARTDGMlzSPUz/OF7jf9I70v4LR98i/OSHX68QyylaHjSXZeY+OK/tn2WXM5vyGoH+VVRKXDTCWS6k85xg+iLejtnJC3K0+ng2WL8hei6NFwLiwgh1sJKVyGevM70mKD6CCkFLxqbivAxLgdq1b/ExQieL2/Z/3b4RLwjX2Ecn1MPa4N0/a6Ed3NwJrdMulVKNVI83rbKGKliCNL5rWhSYiSxpzxY8UB5bfd2FnX5HeXCuHgV4Ox3qwv4pRLeX7fTO+0YVJ2/J8x98dLSfNtSBpSv44Vct5mhcJIQFqCsAR5ksyE3XTRQfBKblkvMJ9ZJDpSkOEkXJbsWuhRpNpDTSqH8XWWtclopplHbhDw+tiWAjv+7UMD1Erk9mWNOQr+Q2UnYP4EpE+i47Y2NlIl6vXXFwgPqk4igpB89KG0jRtUCw9odPpWGBeAYds/FJtCGUBx99abqWgOIH0TyOP8IsUF1NObxHuXN963LtEAyT4jjvOipZn7S35wXhA1si7tnZwWeQk4/rv1Slq/7QCERE587gt/aM390u2EnflEDDI7+6Aa13Zna4CKvs+2P0M9Ap4o6W2aWdSxniyUnPJTHsQ5Y0YdJ1JSa4G/YbHpUqunvHkkh3LQrhYKIoUzw+CYqNkOlYx1Ve2uexU9Cxs0bvqbe8SNJnEZMGKAfjTZ/gFYsALS4gBngLxtk6HWOevvarKrLfC4HCWsJtUgW2YZS27RL+GDVEQZSJIiLE/oOJvmlGynwk+h8CVyxb24W30N7ngNoNqObVAtmQPabDBCtBcwCQy7PoSxtNkSJKUyNnBedzceKQl5uV/ip7qisDpQcjm4N0Ygd6VGrSVQ708yfj4Q+pWmtjjCo0qzxW+APROfHCe5VUpvfsQQMbuEcAs+KzI4jWpFVH/h06OR2yRU7DYyMUoZf+oNJQEAOvLftHvQrcGHCnc87E+3hFrZbH8Sc042fo/Z8t5zuJ42iEAAb+OfNxC36uqejvjB0FV0Fx1iutQWgB5EicMrOfntCJ/3oC4hmB32uMF/KFWMwOA3EZiHORHLIVsc9AskdiCetuDM39yx6D+vMlFGEoa0qhfByYf3VcFNWj+y/UMT7nuxjcv9rqfQFfbGgFjM5JoyFoW6fysaylvooK9IyuY/Uo6HZgO8DJiUlqvV080/IQ3Yhn0/NR4RV9sfeBEwIZp2FWsZOp2T3EYM0yKeIg2izfyg2TxQngjVhtZWWJdq59IGuhMTFjK6jker4x1yxjgcCcD4Ik/YHtwgnmzKyhC4WmR9u70cuhHWtwO2C81blIcTXpng4Cv44Ju/qqroQWUajhpttoaEnjzoPk80QsZpWuy1BS6RomMRvB82y+h5Z99hUfLY1QQ6QcwOFdJmFFSp82eWecfPumARPsyC+jVg3UbHrUyl+yzq+qxhPSJ0u4xe7N3vqcEYKiXnanQfcbdLlnHc2EoSKraCd2v7JhFBZfZR0yn+/TaXiyD2UaOk+mv/pW2hTLroyWLlOHPtBNVN1vfZfJnBYXMYNoxW+P5rG57MR+ESwn+LFUo7fDaNGWU0bJydug4bF245V/1xEfbahBbFmc8F9VW2K5CAq6gL2wzjRrijMc5qUBG5sgMAcMXcGGvgkbiDYFdPXeEjZsjMWEyJqASoSH4bWXxECOoB0rEZc1LkZJDAzc96U99AsgTSxyH+x2y042nKhpN9GDGJrUYGbMEYW1m+v0ouzCXMiXqyCA+O2hJZ0QcJmCxc2ZEcOmEYX5nFJsCKXGZn9Tz6doY0Sdi7XA92dTcA+w7UiGRAUHutHb1/WdrVwmI6ByKLcbv4v+jL5gcs6WtFxLB7+D5VFyg6xYjXgX/rg5Bl1WQMSWsHqPd4hIprPfR2wGHql+SEm3PbQJtKe28NIK+PQgj+i/gYC4wBmI8py/B5rR20YeGaODvf9F/U9yxqT/unf2KpL/e5l27MFH8orm7Or+E8Enu1pFxXi4FLM76CgNigkryzbw6S0PPXg3yIn6dbqhSXAKWjgcdE8KdcU0m24OHxK5T1N12dG7GqqKdaV/5eCTd56e7kfyoawfU5MVNTT+L7xAXRMG4qHIBzOGqAQRgIZWMxzeMI+OaeWkhDH3SVslzwOzWyQ9tqt/jX+KD2yhT1JoWnQIJk+wvbbm0SUMA3olmZOE11s4bEDG/hW57zWNnHEft2zYQUSkrM5Eu8ErO8+iQNkCgX2hTYo0v/x0UpHF++A9kO55Afpkg2aUWE8XAoAZgQtOx1Uz0BTnw6/FumkZKLF4kGGTun4KFGdBNB6383hJe/7RJ9HP07ZLnCFOqqWCbVDRZHo5p4O6qUhIWczJSKH9c55Et26GmI7QXRLdihZHdfw6jnnNfM+6V6UDWjOkp2Mn69bDEFN19kjKlEhnKpHk+sIuU1Fv9L59tLUb2bLgYx3HuoxswfWqOyfmfOYmO8ZzpneLsTBuUGwBB50E+Zt7UM3HUGjaHxnVXn4OWWKoREHCgJ+pJRy0yljUcW6nFS4pD/JYZHQc2pMRaU8IOxdP5CsQe0d0wJzC8O4m+/89CTVnc1qs5sAoB7jLtK2jbL+jhf9Ivv5EbUsgSQCktlku2Mmj+f/KPrACSr8pkiY0AHg2z6M/pIk9oo2OkH1K+VQxAjfDpLIojzvty7feyjmMia7T6wevAnmZ/YcTEjIrqN2hrmFxrsid5HdBvjAPKlUm14yZ62gu36Zd5g6lqXXLJDoOKVOBC+QTHC99h6NwlP5nWOkdNl2ESSNLssi7huu5skIn/8MkUT7rEwFtyL/BxPgD4fZsfOrkGaHfV9cFs334ZaxlloD4ocBKEruE5j2fR/N2fJMW592+qYM37atWUUluCj/4DwlEzqcV3BcwCWxbgF18v9v99jdAUutU07ccLAGMzzmR9E2+xB+SbGt5Sh/Gt4Y5n8ZhmjcXk9iSsH1slISjQWeCrtgLoya0+EOzZq2xypuvQUjkut/Zbwt5kny0wVOXpSRlv/sbDnmojA660LtsPO6bTVYL92FZeo6+MBawEGX/B8PuiM/xIrW4wLqYuY/reUxQnCaQhmSHF05EpqqrQNoBHUYlTIYR9joxxhQwucXW+q+2ZXMzToDbEXsyTOXIFNNw4yM/Zu9DAGqwSb/1CAS30B0NhkaBdF9OikflNgkETnkBbBew8MipY6GeucBnHzYV8D8dOuYyEMLxvIuHKIM+cJmNJu+gbMlY+Qo4mzXzAPY9auM1dr/5yeon2+HMACfwYRNuVPNagS6arAHzFUwDY8ZjoNuHkt7cV39BRSuCl+0hrPskao5l6Y3TCPNz1O2C0x6csftg4K1o3Ury5YCZVaAw0Rdpcxmtk+990EDiyEU2GaJZ1ZGbjep7tzFwctPJ1qz9gvsoQA1FjPhmaRetCnbs1Ezcwb63TlxVyYNi4/2ipKLczpr7TNLqaOE3AhFdg80XWSPel7H1a+EhBtwdoS1B0XqvHz8PCUfv351wdo7i4ZVIdKehO/10dzUA9gEZN1uGU9KZfh3T7Y3RyMSq46LPEzC2eL/hB8saVZKTwHmmKthxW3EmGkrGmeNgf5anf7y4VBi3R3Nsh7WkC9SvAV9hpsYP3CvzdhpySVKSKJ4xqvwOwlCCQJcQjJ0h4MrqUqUCNpZSTYi9vIW/3QNGUB+TElw7jAefg/0WJhLQV1Yp9dX1mymE3KQWjfsnJJ2Y6jAR2C3DfCq8lZ2JxR0BALZEuMdqIse6sed0OwZwDg+3aoLyqlTFPZowq/ungOfLE+qiMRWDPxNJrUzXh1WUiXtncislcL1jFJHnz8aoLsjjxWxRg0D4wUw7mxbHh71xF3zV2di5GwghMjgOXJ8TYyju/tQL/duekFybtCimsH6xMUWLybkekZnZuicA4JIYmo3TJhLKiI1E+YplclTDu5nSMBD2oG3KN8JYtcKvejeE52vir7qjFP0BPSkvAuJEOdfGlDyey0P80KQggLT+4cizSYiabPbYT+euUWevDZtmvaEIEjXiKk5/jNK/zZLcRj6qXFkhjLSeIzYtEBtHQtL5D3nZtfhUyW1FUXz3cemshHW9vTYmmW3y+emQfmCI9jS4rQcg+26cy3mic3ViYZ/ASPRpq84KgpPDWFtI/DQce7KsS+6ZfLfmjchxZukAI1KCZAG2BXrqCcHSdiHnraY1TQf/vQFJvZkq//h2QSRJxvTcL6NVP4hbIF9KHGymqb9ex77SFY/ZaG0psa9sqmnL4WeKIaI7unIKFk0unNYeaqr6z+MLIBNh7NL++w2w5ZImALyUKcpRQGEdjVTlVOCdsPHxq2POY/uyGYe89SO2GcEAaBHFdpWyuuNUIFtZajab9RVoY4u5dbRhmAktjgGZP3M3E3ryEtfKf/uuwo61LOXj9nPuYRronnt0gAE7z3jKnQVmnO+qYQN8Yktfta4Kjf7Z/VEJy4JddkTiFkLrVAtVt3aYdBRd78Hm8OVTwc8hjAZkCsrvcxPFtzk0cAW9zQ0VqDfZVgy568bdBUhKXIWzfsWoSb9DT38s4tM+Oa1KGArI0paChyPXbLHLAsRi/8Jug4Mp6iwYBXRtg+iqqpONPW+mYNpvQQ6mldZePvvMp2lAvWYUmFmvkpw/mSltTULKySg4fDog4gaz1aHfPaEuU1sMJ67CxYgM/VD4/CQ8AjMxT+83ECU5dwd1h+9JzF9+7L7B6SDaCyDFfOi1Q2LU8iqyyxjjxOTozid7PnxVc9wcKtb+mCLr8DFBIL4DffGA/pCWQKcAC++egY9hGv9I527xEm3d+t/CA3p83yd/vS1j5ooDxc8WDO3eV1vrSTwPNQtBcUSI+CVSvrO2AcvgdLt+uGE83Riu4Ca8O8+gLC2JjK8/hQ5Bg/97z4SwHjPrk/hUs17p/YUNa0Ih3QD5XrIJ4/I6LbfHYwOHbTk7D87NPoo/ORX9DqlAKOUzUcnTh9P8XiH2/zvvuD+kATaxUpRPmwf3lRWPWcOZNd007QXFM1uZBNt9lFoFWeXEt/f+IkFdEUwuZ9VnniTIwypqugkf3uft+d6dsHOjVJ0Znt8aZAiaY2ZO9Z4iLwAZUQnVAdCFzWSzG720Gu9JIJOCNSoVqj4Ape6bx2g/yiOh1siWzbsoJPEVrU3srXMOfUybT+Knw09Fsvol4x9Ksh6rxZLO3Aj3mrMIdGWN9ieyl4l065kUxjZ3t09qGj4FAMgHJgcPKDx4AC5jQRTd3BESO7gw3dBkNlACswtYkz9yEHhGvKpCL0t8gwXo+oT60MuRHMmoSKBQQS23lXGuh3VV9spbBUOpSRv177+fawvmnbeUKfskRMaj8RGNv0K/GO8gGT3d5MA3po6iCMQz3HpHNV55lIq+CMJ/1dA3sJNI/z9O0HJ6bRNjYqxPWuTii9RZiAqWtE/gnkIMi6eIiiBmWkcNmRNAY0wWbfhMJpgtn/CrS0dL3IaD2dXQBPwk4C/7n5vFIVlLwvDN2vYqEOttFZDCNd5WtTkisULTyV7HStpv3oOjarjByLyeg+vwTId0LdOsMGYsdgGSxkOGt41kGLaKcAe41gwBVnj6DrbJeAxd1PN8IsScsL9MG7Vcf1Sy+Yzdh/lYfDM3HJ0/CfreDYsnKcm+Z3ZnfaBjZK5wVDr6f66TJj7yPSGWp2OMOH7KtFx3YF7pA17CgS8SnxIwvSTUTRPoi5FLLWFA9jfqevOT5Mx9eIWAX+VTjJRFEG50dEMQbrjXb4EIv/OQ+oDUZNPQHVQ6IzszFa8rAN7FxMutbZeeAk2iBH8D+UlGq6non4oWwKgLSePiAAoWfkcWDL3vHlx65i19jEOidbXmDgSRPRvUO4ncvWeY4TK+WyyVWvLeBiizIdR738QtkjG6Tsae0I7OvO1Cg02FNMjfUwUXWjO6HnQTh+f6MblcErDfEpEpHAMXd+P6XgOUDGuPeVP4WHMQ6WgKsfxZ2XpkM6NpDtODcuXB4HPVi91FgtZbuyMwA+5abSJ1QxUToptToWkzQTQ5GSHO5nyF8GlqybAJKoxLGt7Z5fF3IfA8swOp0ZfzLueiGv5GiCI3b8v4FkYZfc5mepLlas9VXbMcqE6Mwn6CejX2PgvQsR9aTVjmzuE788TXT8yx96XgxXeU1bd7s2/rjEkJQQu66XUK3xaMnbp3E73j0UfCBcCeM6Z9uqKbE94+nT3B/anIE+ObgrkNDD3FgOv5+7c5cgi/5QmLiHadr8W87PoE5S5ofzpbnIolTZZ4nARE7QuYZn2eWhSSxhtj68g+X3+Yj69mVxzmSTbTvNbcY0GD44eOOAdndmxZSN/STj8AOgeLpZOhTA/RfSNELjQKRehf2ONQm/GZRKLduVcbBMaPUEsBEF/mZq1vURKQWRcALEJTW9XNLl2DlxipClI8rbIgmbu1rLT06tfk3fZzUwby0d1bvDloTrns0PN57nDJTPu/G/EGwUYG4Yhee5M5nCn+Lw40eJGSRw9P+lmO/5sPedXmtR4n5rBwZ19Dvfx2pBQn269Gt4SZ5tiBMhFsSp/zKCsd2IyTvA9EZzfBj5Ufx4vOgL7UYpOjfRvUiFqFEwA8z5b8W9o31GB860CW8OmbRU+WeW3RtUDzHD5edZGeHh9U7zBq2zXtGDaGJOAYW+sqAq5pG4Oz3n7Ssb31WPRLMex8X77/8zlTjexM6Ow4zQsBtIGXe8uXx+lhID2bijqN+drmiSIgr1OifRFpJoVUiXiK1HkUyl29IP2yupmrmVRJin1dZlTP3zeJZHS9oRkOl2wN1Usyq6BN4tEgldlfm/e0akRX5kKLnkWmYDRsTBMC/7dN5Q/vGY5sKnK13h6hg7zTKE60Pe2xnpkWdG4u6oCVwTLOsjy1i/yyeHSIInfkAtfVhNBNOUOd51bycln8uC9pC86VjF+V9WViEf2m9iyOj91vLF8hrAnKeuSeXLdkbhhR8Vig9PUScv1YwbvymyEid9odPMQo2HBerTgLrv03Fwl34pC49UYmc3+b6z8nf+OkJOa7850liNjg1Vo9UjdC4y6nbXruPzIIquh5jhjGgGCvclYGemlincTsULnoFxylWaAJcS1Df6BS8vEw0hocSjsUQHfA6CUIY+C/XQaKgdcCN8FpgTNMjnnaMt3uEyzlo++58ahN4v89uOiaKJ8TYx62KABj7qEKiES/uxBuJWFodzBOnuWfhs9A5PDVkMVMjUz9HfYZTqFglKp+UDMIemNnboSindAk80KrZsfkOkJt6ds7JpT9ytn9LKfYzdxnsHVZkbC9UUpk8gmytnlZ4ik0SRxNmzUmDbBLQgUNI07q18oPJYnLp9nmp3rOD/uEm7pNz4vUKAsLq2gskU62HE9oGVxJi2EvvP7g2xVtwjRiv7rwkuM9LhpZxWbd+/CAHrzd81T/TqNn7fsw9gxMXlACDT+6jKbjSUCgNNqWYOqgHiW8+53Qlx0aIbC38hUys/phKL1aIkhapKmekSC0ljxx8modUnd+5u7XXUfSt8em9uZqUIzUkgJOjMwZs68SPh9oA0jC9uD/NA0Whsf6w8TUiCZF0/M0BIApvQW15l+oG6sD6CNXJRvBkyhmeB/s6OzBXuGtSu054CwOF9huW1CrYIO4eVBOtovr8JLwPkhGwpQ2zR1XvBZY7iCOy2SM1JX46p8Ce1MUQqbXHPqmtvPfvR3OI+1YJQy6IXl5QiRHMG7pTN+jIea1vmSx5f+TOysEYZ2xzS8q3tTtiUb9zdstjjCXE/+LPLBv3zHIzcv0pjIMAcPLKQKG17uLuIz9qG9R2LHEYQqaxRmCo46XthCbB2JhRGnk2nVonr8kw39EwGQdbf0ZTwJuighnphLArWqfhdhSvTzKg0/oHbEuEd/AIKZ7UNfeHpTOYxq/A1S/ybxdPmIggaeIMcOcGG5+2rNNJ28skuwfRo3ivVaAewBnd12lTMwwPNalcrwOrFOEisA9gI+3+rWyZ88vyNbc/GooBYreYhCMY9UD4m8fOl0FVGwqBgRk0V3k3Nb9z59WQkUfH85M6NxHbgbLfpJ52nzcgoqRx5K8qBzEXTYoSHVidLriOOA5rD8XwPkdOrS3NloIGWNQR9admxuYuTWDfdtyhtNE2/KND3lDmevfMPF0glVZZXEIMF4t97S4yMdXYYgMM+cTqjNLQUwvGZM0xwYO2Z/A06mRuFZY1vKoYD4VRSmGJ+VAuy98bCzoi19zlRFAoilDBaCgclWbXguSvapKBqthr7IbZQL/1tQZ5UtzfHsRwSJUer5L7pTL0QVD2pwDw+SryLcSnS8604ddlCSMWNl6rlqBwR2NIhxK2/iD+rxNmy/5hLkG/vncl3MWrlsCHUNwKc4DehsFOd0/UL6a4uYO8/rEywDQb3oxL7b2SVE1vnbUAsi2M1pNnTH2WayaERKvFl0mW+QHkdBvUvJAPgwpvrpC6Nhh01aPENKlkwD2sPSAP+CcPOqEM47VL/I/7r22ysYFf3XEOCy30U4NifT/x9Gn6YinZ4xA4bEf4ygnZs1nY4JwYsG9jtKp0+/jmywcIloMgMT/osJt/cYk/RPH0C8K00NiCYNA1ZC7nc237w3NZioregXhNXS7IEt31Med3Vacqno1Lxqet4xRajzc2HDZ3c/gq050Tjc8oO9BhmBwzfc8oS11EvCOMyVrCRFtxmgk2/EvLUlFjrXQBAZ9QPmyld2NidH3vvaBorZMEy4aN5CvR5eCMg1hZ58AQ5O/RJFCFzRuioqvSZUKPy+WtjbITjPGrKvI57Jn74bZkQHaKi5mDAX9eunyG7kYCWXe+zhibdxAcCqh2NoYa/kn+V63N6xg/WkLVK8bRL3eRh663KKPcECGmAdGhRIM/R7jHGvfMFfChaKwNs5+fuJ8uBffU15GBu09BSHNONBeduDCBl7IkBPYx0Gt0OZo+Xv00v3leCMFJHKMieQrJBPXHYWXE6kY8geUDtd1DlE+WhVBWyrDdd9uBMT74p+94/NOU83pLaiVCj9HfsxrMYvleizhp9RpJL6kWE7BsbCnJt6JFx0UW92zo+Qj4m8Cbiy1WKwQ2jG5VbxaMRjYDfsYtr9d1a50HZwn+0eG1UWmAAjuhChixYIJl6ImJgp/dCNu3/c0429p7ePxMiYVakbHzLEZsAXKw4TkN9y9CQL9YYfAvbKYe+00fey0hHkTzn4SSkTjBchCjG2b5AzBmJ5jPwbGrw1vJZAor72vUSccTqaCkaN/frox+Ja0CPyHw8SeUOfdEM0w+YOjbYpJonhorYGqXNMvKUXtdFe4cXczRX+1NoU/IIeNSt5xpvc+rYTPtSe931rwp7n2bZW2dQ8A+xcqN6on4Aw8wnnABLseI2QuC11yYX0qu/MQEbntmh50KZmED9d4i0agCpWWPUuzFPAuUj1XiflKveU7WcEF203Dj1BSD4QJ45MJ3aMKn7Rvnl8PY2dVuxA/bUMEjdaOiJjj+7qMWPYqFIjKPGbcloU7tkbVbopQfH3d47DBA1XXg3dwW+Pf9VV9WADxLHitLNEvCDlIxCnVr9FLChTtqo7D13PCIfZHs4RiPHsT8jPIqQXRfVO2M674eTIt1ffciKalxMHB90BYBrBZlIa8BC0Com1fXGeBOt3G32mWQ6UdRXBTJjkOU34coH78meXZpY2TsQqkYXWOxzxaKhdq+2v19sIkfn7WQC8+plD/hhmTPYcHTEiOu/tp8Za58v4nua6AiIx1dCSPaAkaLnaN4uh0i4oI7mXHZ5mgOfUt9RitqtT1XKF7ncTcueHA3OFU6BDSvj7l1ucj6vdPtxzJojIrSRjnFjN0sAhvl5IBEG/PE81qww0e4k7AvD+CRPfY25jjGl2qEqGsKzUIyfN20TbEzPX3+ppOEKvHoEvFqHaHfWWXL472qBWdoiByVRuHBLJYeO7KvYDGRQq4hPZWK9eu0V6w0Bw8VKPfD0ayPtGiysTwDqHv9nOPSi4wRT2XZ03o4D5NyozfE7OnE2Aghu+xAY+rpK0/phQTcU6UtZdXuXXReN+smC58xnYP58Hb3FK6cgcz1O+Ls+IO2BGTzn45dYY2bjjK6cb82G4JtLip1DhvNcboH6YIRbIyGr+eCqGBkxXbpOh4u5vPOM5z14hNb2ov2dIRS1cKzoDjw1bEam0tTTt83+Ef4UBmTp4Tee+NDWHiI/4anS+vs4V8VVIhB9k51bjXpffx+OdsfCE6HLo7rXhWpL1SXF5exL8j8d0dZ2aqTxrMia1UQ7GjirM51sfku6MgOLrJMtuRNCzXLd7jnIFIishH0qyfKx7Ok9nNs77Ll9PZBjO68JRGfxiveRx1evfuz9acZYEYX7LoPZVZue33QAsaikBAF2OK84QZkIj3L9WSJakND5akkd0oQLT02HfHQrTwqUJxo1oXWgBrSEY0xADTb9v91G7vIDSZ6Gk140JnW44NpJhT99Vaf2ve1u7dUuyefmgGrfzN3skG3fbmc/0ZaNMGZDXvaU/xzTOyL+Bw1tYR7NNThWjyJuzVDTLNbbgSM6+/IgeqcfAQ6ST5TZ0IMDR4aYGUeOvjJ5C/Ok+6EtFN3CopMlCsiiKlERzGnWkIeI6OU8BBozHD4qZLO8CCMiArznMPrt++m2GiLkaav2xELYEyqZduT2P1vuNW4bdhmCzGwIJcZV4tOMuC/3oIyI/m6NhgfZhqN/MJiQWyz1+iBN/BELlFZ5IRRQ1wxMUwYnDnO+4Fm01G6LRlDTDK+zCZTuTisRZuOolWfP4vo4+dQT1UjMHPQlmhvFC6LHJN6IiEeqalHmvAt+k8aejMIZF/9NaIxyRnPf+QhmGyQTgRfryjASjSw/gCUUdiEs2HNU8/HpDGaE6KoF9vWSbxhg/cZbPKrQOD7mQEWw4c1cJbG2y/mdChXaXX1qHtbYcuXM3uhEoXPRPZTFjHQI73XjgKDuc8zP6wZSwKQU15ooe9IHaqmqZKCWum8u8yGO6Z31dcCev21lVCRVCahVdQJn+rmCa4m3elulRwHudLaFlnmeo04MtwYaP2wNWLobRQo1IRru6VIpyd8+28lo59Mg8eHXY3INwoKEiazySZ4rSLc1xayW/oByKWVYS56O6HbcGG0qtI2W75cC3YjYNs3GzTIaaoEQOXdMFWXUFWP6vGuS2WQayiNsoTUDqzQjLbWnXrBuDn/YN/4VsGKK8f00n3vJKwWb1HyKQ8/CwivgCM+lSGAsMiDkNdHxP5u2xh4rem1g+8Yl6kSkuoNzQs78iYrEgWj4DMkFtJaFZPEE40oe5XGmmYKlZMBFCzg2P1oylrR6G+32AqWgXdeGzVv5B+bazKkRQ+sRXxc0012dmzJGrJL7QpEphBhYjLEFhPM3RZRaGWTE1Jl4QRceldbni6ADZZDWGHrvMdgZ2RkKDgL3YL9myWnkuHielNRjvChevDzDsMzknBTBvz0QLp/Gq59RMERDv4bPk3kZ/ITiv4BJyWlFdoiJ0GeGUrclryD8n3nn1jPDPUR3JUIT/hSSmxcd8gUqfqIpP/WAoApwCInMrhsStAuh/WwG0tfv/d0gzzGunapgPsJySiPTglrI8xLBKO+9TlXzDQzs/lcn5qDlIbOquU0Bk0bmg5I0ZyZpgPhfFPTN4Ej6X0aWBrBlqIBMweEfaHCCp6W5jvugj+ZOxnTqSng2myoptyz5QXY6q977fwPFBejwnsqBir4oTWTYZVoz1jGXqacE9InrW4gkxNy/sRMQksNR04vlG8MALl/LSOMdfeGbdYmaRDt2B/Qx5rEiL+bKL6vwF4v1mHv1E7mvEhYfcahUH9V5A9hpdvD2bprJU5nQstzPwIv9ZxNDbjH7uiMResQpn0R4q0CL2Y8MZcDYwPY53YXKwbXtX4ktSsiKyWTYAN4Oh3PWnLNlnSKJYaSgns2LE2NeKBkYf4FtDc4WFAMbNheAFeC61+JIgdor+zLOme5YCJShKeQUayfOicdTkRpTE7LUx0dxuMuxGUUuYZ2jIsGUbeRg5FTZiDjhxz6ojfnsXOOtZ5AqGHC/xeo1i0OOVHA6jYhqhCh4js563CH+pBD0HHwaRvM+Fq7UZDck4MURjK4P5molWOWbfR42PfGGaDsJE/M/g4eQwt/N5c6n0H2bMbJtPW3K/75/dJNhwt3+otWQd6P1Lkep1D0x9X7kJ7d8CfcmR8YOf/TKJmDpYzv3GLdGWQDkNWpmR+S6/BiNsNOP0YMISZpARLNUf+f4zFwJNGgy5VmeSCVQoe8GKz/E4yePX+cy2OpoWaPszhx2YS2TpJSY+YnOzrqdfPxsm7MtnB9fv+dzcBBUq/Aylmgd4YL0J0uyvjsK8eAN8uTPkdnoSKtMZ9Uc4tKo2QCOFs+B6aW+Os7m+xzpnaptzNRDzYp05b6iVM0zBIGyDbHO4vJ2NZAsz7F36pPIZkN02nB+oF5eMdyc3UhZEA7S0eSvJKFz1JMD4ddJ98qmAM1Fz08qcFj6JtEpRoINyeHBpTIrQ2lmrBejBlJFIZ8EBp90aFoP9TAUAbJlFK9BsgLAaF3DFo/oCZVg34fOgM+Up5MDT88oQqhyzHMYz3quEmEEeQ4gNHWJa6eDYQyViROzlzjwSbpuxoJ6tBkvryCY0P6rJoypPP4EiSrYgqGkgPJLGnUxOiwx9HhHAsYRtYzqPFGwZFftnw/5+l04ipg4JPI1PbVZGfarZ5CFcCOnfGYrVPWQFCj4k8Jp7kOOcnArUGJvjCISeShCx9BR4Yaghl/l8qHNNjMM4Nz9RrPdZLh+/cOhgWfWW2L9WZREoXBFuodE7029pCLYJDIP5RloiiA5l5s2gYZxJdVytKLpR2qdP4XVCuZVQCdFatW+nhQtRYR+bLuTDAwllrruo2Awc1eDG1FhCumI7s17QXp0VVKhXYAQwydffh8P1p32t4LJITzB2ApKIsposP3cyhtVIJnN5+l49SI8lKdTmKlsheKJUCKs2Rbt0mOOi6aSdVqrdMbN7aIk7n7iMPHvOh/AP8nT8oeySWek8aiomca7965eGgmov01Pa0pBqY0YmpIbvKuzJ81FL3I31/dM9Wn9TU5QQlOry5wPjXRbq7POTeVHOwqUCBhV2Mzgnnm4uQ983SCicUhTu9E+osah9Ue4dzO1474YUyERGVhBeVyhN3jkm04/JxLqGW+ZQzNgNay4zGORUDogp134AYxmW80rtlWgimUIpUJ2/L/dvCy97jjh/HG+RpxfO5xc46oGrHSdzUm9eWs3ggzJ3/hoOL7xhvdMHwWffNb53y4aaardgdmzrSisP5IbFa9vtoB3VUS7FEXZW0iaOPItI4Rbm/W9MOFlcj7in2nbjzbDFAuSoFX1LmmGw7iYmlCjlKYpu0RM68w5FAp2JbXG1QAMzMedsOHy7A/oC1iCGRfPV9L43/CWYM45Q9+qt9B9Qod2ca0LUkqJ1HvDBHPMcHd9rtuxiZ7ZY7XLEJ53DSkrAs8wsJdPpYI9qzXD6VQkvpq7AiQZCbS3jvK0UOptuTX0ZqtfWFRK1zTWh5Xu/9rChR58tDV/KgPbZXejGvcCmynAAcq/jkk50f143Wb4sGdxNoApjPMd9GwbITNNl4eLYqaKl0W3s4qDs0XhGgU6hQ9eSxyHHYA2WZfbyGTU2fxbWXq7J2CV7kLDtv3NMyuxMmtZhW2MQLxWzRpTT929FzQgxfZ0mShsyQF3MZJENvF1wMUykjRaCTgTJkj80q/28Mm7LbvxBYpFVON0ZMYuDP+7hY3UpyfvTn+7Bd81UpYv3JzX7sur2+qjW6NwqT+XQsNa5JBei5ExPhcdKQC473wjlr5vYShRDfVMpyafkZj4PaQ91r1jSfRK7NZUPDsvGyfCh5wm2Ctj6ePzmDPQU8fzL0dzYIMzSuh64k7cgEJZAWtSyrhI2Xs5rWINJflKatePqotw/QbWTW18c4fDvkLQen+DGiBintXRng+XEY2akzD3hBMjirrJRumXKQDU9Sski/u6vnSjOdmTQ5dr2uDLK5jlxm08Xdm/zzendIjjbwqmohdoJMG+IbfwHHIiz324AP4aryzWCo6VnDSM+ct0gKzQCrNwlRTZkk0f8Hy2I0lvLV7gLr0lgHHCop65K03eJXrcCP6TIt3wLtrSmvOdW1nfrMrPd0k8pV71/2AOwFYuhNSGPIaNHE88PW2vA3VJT4lEiniBluXWJ7gKUjZZI7zNjOcWb/2B3ud5d3pnLog8RzpD6+QlIqJuSDja7nTILKD78LA3Eav5KjJa7X17i0GxkrzhsZ3A5g4JxV2UgJClmZHzlZkdaa4WOVm5Z4WXLPhKM9ah+20PWOSwrJwLu6RML1mM9uMH4VBn2vsnW1PjvdHWr0NEbKmcy/jaqycK5G2UNTVs/4anHbFDWw0RORzytWHQH176HLcPe276xlVpFv522bC/HUSO1H7BqP391pO9MLHB43shhMFzHk2Db5VwuAuSHntJ4V57YNopMj9idcraiLMoZzg6aQELRyDTl1zNAA+B3Ibfn9PnD7MdhhtZyde7MoMhJUkNsM0QE8eubTi83ATCbu0rwlZj3j4U2xE22WhG9FrAediV8byrZ+joPvalBmvFlXUedJUgNmy00RZmlTTDjT0frbQd8LNls7kD3zW9rgsqsNnI6wCDprZn++d4UIW/J8UGKdemWrdPyLBYBsjsSOlwHHZ4K+rT8qpBlI6Yi29LN5rOFWhGa88I/eKgWL09lPZdMrTtkJbm6JN2hpdnjChZxujZfe8fziFHUC7Xqs+RtC1BKKQ3JcyjWzfgPhYkys1ZpRjkF5NvpjUhPgk1UPtq/fXHtQURkqQrqxlD+zpss7WkLwg3LWlpAxc82HC3CrSyanw7h9VkWkq2gmlxI1dHgLByLcOMhj4zkllEhyvmRORzHWBr8KP2OcCMSUKBa6HkGAf8cfKjujOr6Zo41gg8d2xI8rqa7rYxA/DwqY6VQE/F6kIRIeK8OFJHPFaoAtYbfPHaxkxBjiFVNh0cQ9CLlXAM62gBlPPfnZVJJDJL4rCLR+1hYsbuZSx0ASEmSADKCpMTItQ4FrOx+oXUOPi1/zcPmdKjAjHMFYJKIwR1btpNQ02HhKP+FOxLBGQpQB3dObS1Lcn1Jlrqrhv6qDDg9GMB44oluVXTNXdgyWYajb95RhtMtIOoDBY2wKioY1KMYPo2LNQn3vEsCcyMGTrgMmxp7JuZX8B8eA+nJM4c+NbER4FpmKH3nkk9ZQBsPnmBypj7VQDuI/cR9JAb0cknsRYNQeVJhJWt5z3gVVJ7zQ8s2WGIU1gNXOYurs5pD9+LtOAHtKYMOr/R/V1JbKKyC7ssiFZ7QmZ7ODlRtICDz0tjQAr3UIEM3x1Knof8/32lePbSPzOXifsRY+I4xLoHvuQ05u1eQfHdG+GwqJizflNlfF2zjeZ6pC4AxIVQkQMEmfFLzmgSmyTC94Gp4ligfqOwhokv77euplWtjREHh7yI15U6NpwpoLKtFQZIAYFt5hKYTzsCX67bHZF/DsMoa6+BK+Ha5ihmjOxXe0F1/xVp+Pj6BTPaTJkJ/yB3Q+2ovV8DPg7TWyvBbDudntDwWdYmAuPP1p9cPBkJdkGfCpQVIvs1Nat9o+bJoE3aafSXd6AyD96809FkxhS5PuD6od+pQTq9GcUiDq2d3nNQJ0dBu9S+EKshYuTN+f/JDm9y57ASudnRqTB3xDIALz6o5BXR1WypsYhTSlOPjpa2B72oRVw383XUs4m6wwYXCuVYEN6iy6mW5BcYM9ibwt6yea72Qv8ZHgj38uup1mP9X8Eq3Kfz7mGvjGO6Eu2KOx7sKcBP17M5xEmM6+5zshyyINTBAu/bpb28DxEjbuVRDCuLqdVlisPgART677Gx/sJH/Eh526fBFoIn6etBHl6RBUZ1hYSydWnZbRYZtwPS0hMFYgDhqi0bJ5g3QgXHeB8Wj9WOCz6v3Msjd2YIpOmdmpqpLGNOtPsxWlvY72ucAMTxIn763NWpWNgjsisZZz/bZ1S7h8gL8TP5eDJuUgHPF57GeqOIRtH3DgyXSfgVIH7gfoCIJwDtFz+TvRRmCEb+irAwIaytuCfyiYW5VRDCMHEzwRlNQQYaocHVy6ROudd7gg7EtjrL8gxdhb6xqFqOKOclQHpdmq77rF04goFmjc4v/kG9gGSsQX8HJfEO8g1sdqukqkZNRZMxSlYdDEy9uqyeME3+DpW/2XiZT9EnS5eZXeeY0YMl4vjXyhdM/+F8vrFg6Eiu4KyGSwVjnO9eRWyjJdhWETjufQwXv18sVEnt5j9uufOGxY02f8l/AWbQDF/7lsrY87osG0wgm9s9EEZaIuw+EaqMqdYTFhoVDgCJlpTZcrDFTPhRmyRet6wr4ohjpjazd/RkGmA2teng8bka3VwJIHXUKQ800jGfA+H/CQGAlpbSoKZRkP9w75Yw7UVatYUWSRyP33Htw1uSX0AUyKrJbu/zL7T+9LGDPubBhVz06tk56lUHNuddTG+iZDKSohtmb9mnzvCAyN+8gkstkgxPO2zs3coCx1sD6LrxyZCkEjkiZTp18zpIAuGaPdoGIsWiYURAW7PfQchz2FKB3Qa/7eH7igOJik8nS37FbRIOpZbA/5GoAFetwAe5bRQKkAf3e5QVN5dAS4L0X4jT42kenPZpJi4eTyDaRzoN62eRrFDzWUQKK1Hs6Sh3s8jiJwMM168D0MCSRdJozXFKiJTJYXREtf3FlKLlZFuxkB4+jUwJsRoij0MIacXwHU7FeykVW8p4Cl9A4C5miQ3OSm3Fh9GfwTxQrsI3KM9vdEyImH+P90ED0ioJw59Wg5fM/0mIO/KyCWqoCjsRs06n2Eu3dtx0xPOJBc7AbYSUegMbfbmkUxegYvKgEDvTSaot+XOicef0Hv5fwfHqkR9KggKYC5wxsbU+D0Q2eWqovGncyj/h5YHdv6Tt6c7FSC9014hrcM2sPJ3Ot0iFuaVwGy+tmP12xoZoC1HSfnbuSJ0K4uxL6uJfSJh7gz8W8vOTEpSlfDBE2hObuwnxWaA+lPRwAOWCbfczGOouUoUfqVC+McLOyfOt81Q499SqTyZQgktfAb1mvEP0Tcr1Dw799xfZe2QFOdUWLJ4IGhiyi4U5thTTmCyzvKuoRtTrNCGFH/EsIiiaYQSo3q4v/8yneko50HtrJwVyIRRu0BzIyOMvd/MoAvdMSI6OyJ6DQLET3waaLliAh2j0dW5W039GAYPUNbxNIuVx00M5UG/Dftv2ANetgRMcPXdpHC6Y92jGiGRiYQSwbi9yMiNUV51EWVXsZbi33m3jRVgqkI8L+b3dkOfYVQ4xymGJT+NrUNX9TrDJ2Enls/w+QF/2RRjMcsptTy/uloEqZbM1hBZyTRZZxnFqsOT8VxmZ6P01h1NlMegVPcbYiMQOcrmWWA8N1P8V0die2eXoM2r2WZ5TMGemTASMIXKSnKQQvdCYRWaDzapSvQGJTVeT9s0kSFqra+6oSwokqk4gJkD+WRJhOSu/D6zmgazb1p7BA2ItGdtvuD5d5dd3TCb76aB0/TmTtdv0K5dpx7i21yZ/pS6GFg2IJqilz2uksP9ht8hRJJxmiOYTTWVSncDgBTtFlvI+i5ksFibszl3WcuhZ/mWTzIez5057NzFH2qHEvst4K1PiVZugahElRM2r9kgk6XAQiU+lMVCuZreKpoWDQDI89JERzgwVV+1JOs6qZEGQTMcUJg2772RxIDypJjnAb/DvBqv6XeWrYCvP6H2aorV6j435Fq2Pilyo95xPWh3iU4AZoPgM6gaJwiqubFx0+1XZM9jvCZClr7rz5st8WshTj7enUBroMDZJqG7Op9xZB+OKL+Ah7VjhB79WhVLY/rbhir1nSJs2HvJBxBsdQBSm89MSVhodPRQGf+ELhnm7j13oxpxkfAnIp8FbdkGDgpxVbXeH/meF5vKbIR08gTIJ1JBZlfGfVZVRXdL0pk18/qT/0gN717zUuBq3g8KV1fQI/cTb7MeG1OpwKMC5S6+gQD9b0oyLVu9tdsJ8KdcG2AMdv5cXWPh+o94yns/Ll/A8hm8Bckxc2VKIA4ffDcmnPOxmMqA/DV+JzITiFCJzTgIufDzEHDzvdgV7tBnMk7N9zzU66Rv5vzFziih8lVh0cbjK2pYIYlq2Vqsl3TLfpYlemHKUQSKhkkwKbOL+lR4tYRp7kMKXNyIZMeCWlPgYyq9mz2XrkcwcNd9r8tzAwDXPH8uX4eP3oQwuRH1kQl1H5ivmlHhD4AYMFLC9SXrRggR5NZjvUKBTUhoGakxJY5Wh9a01tJn0qbO+51gLVMpnuDFw6ibWbTZp49oa9+uAYglcz4bLBECiFWgH0y4fuYfdSMEq1pDssH55VtDdvUJmHVgZ+iee0FnHyUelNwogzNCX0yKwDQ9ZHU3kWdy1UNgqly8ow6mHPM3mznn/kKsSooYiXTP4LuK/1uogcs4DjenHBh2Mp/7A+jpxBDJ9uaTQwK3TD2I9GIRMVzugAES/Xhf28wvzWIYyDzYzoHSY0/J2Z/g5W3HrULOikP7HqjFCwK3v6f4Rj17yln57FTOiTsU3eXQRPkE9XW2oPTxfh83g5Z6pEZ0II+7sz++xP9NroSTMysAzexPynyHD5Tw9iAuM5pDrcNrGwaF3somCC6p48O48CBECCZqSZk2tEV3iz2VTtrtFQaE21m5P4iUPCz2CZSgsgL+6DgmTmegCrO0PhrLUs5PsEixGlBETHK2vMRNwkeuTfSwQyEGtzV5R/dH3ioiIAPYPwuqKljQ/qzsPHMjHkwD+jedN5VgoXN0KUT1WEg5RyMJ5mcF4QZ1fla/i7oGqk+NAxJZ0+Om0jh06HWkUZGTBpZ+wk72Yws0ZTVRaZzQwBHi8fa6kduQN7GNPEZQ36AW5Om9eU4Z5yEr+usU5mv5Y/V6KbqJMhdTeLEQ98PNM6umu6oI35Lq3G/Qi2OJEFGsbyisTBhoLztHmeQGM525Fb4c7XSGurJkYoRx50zVx4zuBncbYdnq52ddVd3dgJOkvKeUeAj0hh4F/LMbxTX0Z+g4OiV3JructXSgBYMwF/AWSQaVBmigWFph4Z6cx8egYDtjGh8lLh0VpjgH3yiGzqpLXYJaTNEmx3LgmWBRRT9hjYZf1BS9T87YAvYthEeet+y9Ffu0dl0jPrcKXlKrz2QUn615mkuhNboo7QsqRuUY1OhMpIvvppv3mwI6kButUIPJotq02uijXWtOzlmdFkQQZ/J/bzMiTxG2kxUlyHoivJ0IRtIEnAwirQ/vJMTjwRm8mtDW6x10tXGp5MGzGVmeZb/55532XlecSmlrdSchTeYptD1dVogYTLDSsURZzdVF3aZvHhjoRxU+EGA4uF9ofUfde0OiQmSujjLH22DCtpaPxqu1d5m1IOpfGfAESoDFH2ODfJwYZR7zUscUbxNJid2mPcaCvytC4ErSbGgrVhivZwpGXKy84P2R2ZlBZcMQXZhNhVYRAtsBkFWaMi5TvEmYw19OiNdTZuSsseQtz7jP+oT7xWzDSHsrGDMLE/4YFYUEze0Re0F8ha1xhBL6Amlff2sd+mS3FJyMhGERhkaF7MsVLq1DLc3HaxD9S0ogJy5PmbkwXdyivyHTbMh2fyqFpLVDKyB6orsVPHUyBVEpQMz7qhIyMhPtymFtkMbxMQTqjlRhmvINITlpDDScDAL9fS/EuerTZt14LtF+a1YybgjTRc/0WlGGwaSNQt1FShKX0gk44y4BgBo8WY/OS2h0iXlSB7IHoaIkwWXGmwQFqfCjml3tovOb6AnH5mmFHAVqX6GRbu11zcBe6QkOE0nEmGIh9/OWL+NDlVz0tatGhdHd6CWTDxFrahvEuKLMIal5E/nAVSJj/3tCc8G+2nSCY+hWeTJf7jF+FaY5X1umD02JM8Y2z37qrt6oRhJBwZe12LvSWJa+F7kn8M0dEIG/3eyomDQZri2xQKxS3ngK9ogaEW7kv9Y6Bs9VAzU/OJxLCHDSMcKUdeisiIenZbvldklQ7Ivm3NNwTMy27xu0KACrVTBIBIDcbf30R6rDf9JTcMVSq9yhaWFIjP7gobKhYHsu8yCBE/yRqB19Y4KzwwxW68PUnAh+vNjSqWRFoWadhrVIFAHtzRVxjc8PTRK0hO+BV4qL5dnH9my8xutKRzwE2IP/0qyVa2gZqr/G5Qt15kmHY2BoDd4f0lOLViUiH9+PVjdwbiP8EuhNUChvRFZwg2KaiD2JX1zqAWRoWjgC2fm6z2ZRP4XQs047Ag1MPtGCpqzClhUBQHawd+C1tdHE5MfxVngak4hXC/x27EhN6FN1tCt/KNPM3/rueV6VDJsE8u+wFWa6cmA23iux1qc3B5N1SQY8uAP2XFLGio0fgRpbyb1c/bK0NKj/Sh6kWzYZBfpE5nMoZdpRHrJH9X+4ucpXLWY25cqcTpkH0qJWHo8z1AZ4TZHb19ciCsFnLII+DCdNCDT1+EbArd3nqrJeIkrfv8t/8b4aejSwSdTaHvI1hnjxGmyiAVaJAWsOuas7cIBYKK69eKBAt17dAVXt60kBDR2J1f10knpOKrI2BmZ16Nm8Cyjh6EfMh6H7a2oJ1B0MAuCtloXFmfPnFnQt9nF9ietsd9H4sBufHZX00OUm4dBIt4s0lblB/YJttf4UWnTwelLaJxGKOvVvKOyP6+2IDrzmWZ0KJ7QOz1t1Kpe4ZQ77RRkyjcRpHGTDGl8IdyRjGXN+0H6uUc7EaciiAAlBxOiZoRrGoaC8myMWm8P+xqKg0sNoWaVChonN+/PMEfAdGFTOEPh8XVc4MUtSzlhUsGwXBiNKragfFODjzGkKVvu/FeI95dEfIlketSpl1YatSUP/9wJK+QvsHMqVuYDGK06KGsUon0mgTQgx1jpL+s0gbrjNjDJmbebJ8ij8pM44584zaMTKl5/sSCJw2695wRCAq4WmzGfMYnI97mAHEzf4PunCPdpejyF3n2/gRqxm12TajPyCgPbfjHZH9raLsIcTfqGW19dtQL10LonEr8p4UNzI8J8zEmpagsz4yhjyLOzP+sXHleHwZ43pLzj/nwp7iJm8/TIDIBOY1n2eMGQ4T+3Fe5i/5zi1lI0nctnCSWlwI4g6ovjjhL6HYA4WmGdoAfVExf0+F1va7RHo3TwSEMooPcmrsbrkgpcSluLuK3B3XYKaPCY1qrjdWpcTm47T+7DrW7rZpYVECm2ZzvNcpU2BznympuLX26/Ap7UQCfmH/dBbKLv668EgIG3T3KH4UXLDGf5DkNYjMNnUwEtnHQiBU/RKoxbjcdZavgoXrj+arxvfO46GmcszKbF75fKO0a+yd/O1OdZOkvkxKUaL9M2DIgBtsRUzhbwWtimOF3sHw8off6M0HJ7gHIn8PPUrcsMctjZh6cEmjAC48WD/7ljtbLVLoPbSMwwt1QGabKsXVqZRFt0FJGL+ikA5qHwCicggnY0RSsAyv996fnv7bdf2UWeIg3ZvaJuk8cF5XwQvIT7z2sfmAaU+aePz1hACJ0ryczbMxRT+bDZgTls4mzMImCmP/bGwGxBq2JvsunGyBGsb4AXjh3kRvrVYl32rHBDvMIatCpOhH8sqlgd3106wLh1lbl+V9zkHOS3qnpahLQ5kD0ZWIczNmT3bMbZYeYpNdZgrNZs2hcjMyDuyBHVQUxIYSaD2da0JbVwCfFXhNYJBZnv7vH4gflFf6/dupIuqhzfcnKjyeFOE2tGSVhM++SAUhw0NXEKHTlaPu05g0/PeINGZQJEJwD/O/rQOBjl3VMxVS4NBEOjwrwjcopWuO3+fXiHxQL1HoaN/4YaLb5aDE8R1HuIhMGdU1Szu+KyY1gN8KjPOreCnj6MGV4s/ERZo9tC4eRILltTVt/y4xDhpBP1QH4cEEyprsovLwMyubwtHYSfTPbjQl+xv4+OQr65ISm7UQnBl7VB7PSiMn8+fDbpvUX3C+HTWbvl1a/o6vZmOmOT0JsjbpfxHjl58tQPkr1Uyisk7yMji9zB5Xch7nwkf1OAEHQguq9rO8fprpZ+Y2x2YzDW+Dy/Rt/bLYT8GPfMNmW68ya2H3fzR6p8jKDFDGZr/fkF3Yxw5DYysu6oMoxSEldJdn205cvraa755U+lR2OLAOb2M13m0wxndjLZr1xAdtxT8egRWn3dh2x5ONBpa1kpDHX2K3s33iIna5dKbXY44Qa+cRaDgKxFPn52/4mJbq0a3hkiGsjPqHb7jNe+2oxrH6Z7rScc8GLAA4irSdz7UFoziFRbi/7dtPsunXAE0xtNVovwohJcrEMu6NNHhJrXULd/y1b8H7QNVK5NMiKw35lEEBVUPMjQp58d7ydQqdiS0Z4LW0/ZK+Wbb0stLmx8aU4NI10kuAwUz1NL0DItWXsqinm3DydpZneckYmfpw8uAhzma3Uxc+N86hXsx8WmoyBEJbs3C2yxkJPb1G1jXyF7jAe+TBYyQJNWXZtSmpveB/2cc9p6zSGtPwKT/EG7MDuCcS/0eCowtPc1EdNvQmdShoK0sPf/nYaVtlXaFWhL3RvQxDMtvuWyKvWigGy7kpC3ejgo6sPmi/Mbhx7TjBPZHPdi1aqBC3Oj9s6kyq4WMI42rEwVrC4fW9aAJJiIuejU+eJ0D2qv7GCWUC3vuE02ioNvL+VWp4vQi0nxs32uK9IhWe3Y5bqQfGo+vvZCJ+wwgKgiAa7xwsnbdVkcpwsbXA4SXXJhda+QHqYwkzimy50MhFOYX7sVkNj4mKokrq+jH0Q5vRgzvKrafIjuKf91ZFME8Y8dNlotMrGDq++hbQ1LKgJHMCld9DSIOemsKqrSW9agvCzepIBebLZ0tEEp5NGF1LUfTa1cHBpDTT8rp/Pji/RzqvCFFRtOPN0pmN54X6/Do2m12RFrQdw3KJGTXdev/WkEcbVo3Gu4Ntn49YONhnQTnrBPUzu2sQTuKxgjphTm7wIeYn4lnWGhhs1nV1oyWYcPRcPt4nFCaJF6HO3QBC0lNexCKcc5vvqcXnFCyWuyU9VJHYRIl/N17qNJKQ94J3xovRfTaHdkw1gBPSJIsn+y4rnU2MPaHI9WdkaSWHL2BtPmY/ILv+4CVQYY5ouHoIgs8SrXPl4/quwiY4lf3EC/Rmp6YZYLKUogsi4rE9qINjTlYLffzaq701fQC3XsgFVgf24yay3MPKm6gzfUTN4K9k/bywmSgNSQ+IzT4XwQFdK5uQl9DnaBomlKGYyuIbKGsnqVPazUNEAvy38YEzk41UMmv56xRTsCxI8y5KNC/hvq83U3GuGD+dSWQ2J/58DWzQFP2yL0I+LsMGOCrX160hDn5d6hNzd5Darw+L3DPp1lWNcIYJXmwG9WroAbjWq20DoyJYS81PtmCxvP2zZyF7vVn9PsH3RbWriEI8nO0nyJaZu+uZm9bBzr82IuWn0lJg5mSQPJ8Cxpud/LCYmqdi3aGugeTCW/O7KS6ckk3omgAN1uVg2WXCOmZHZrcxmWw3MTKYkdnaBl2hQgCwulssf1N8WKsOap5DPfC6A8PbhGJYTby6dUJMqS49xirX4sjuK7kcxGNgtmHmS5YByN3T/pxeRmRrWFFTstwKVowt4D4+JBaNtu/cGi5NyUxVw/5nmAf1oWO4+vqgLRP0vr3WvKpY+jMUP3p/f8UlbxsbdBuUreGtFm6sZJxX72z0+ki/weY/SYMTBPi8LjyCbvc53dDlaF9zok3pXzH4jD2ntpsHe6bGvtM4OgMYFBuSrzME+8MIgqs1hwde9FdLElgwTma3tgilWsdNhaAMOjFe3QcXQHG20VXS9KKksELLrcCbQF2gsxHC8TgGNlXa8jU53d05GNeyhKJIa/Y2R8NqxZtT+C4DS7cU0W3SGfz50ja47DJ1qxgOMXjQnE4du3SkEQ7z/4MTao2ViQGAK11ByYDZr/OFINm7OpzjURaAaS41vwMLlvCWUr+4SB1jdbFzGNSk0t89xh53QFjiLabIBLhq4dhPktXueOzPaFzn3U4ImISK7oFy4JSbv/sRAHmZwHfsa8eFg810l9MH1M4ysvBprsXE9sM4M5tHuSz0m9Ofe8o+OkcrNjctXvUB1gDhUIcVexm8iIKMF4gEsLNVA02DOS7BO8X+cx16aF5cJjmvy1R9WCHyjtLCynIzYJPSSZ8F2A10r4TCTt55R+ujm7BldqUKMCmDva2QaSYxaU3dVM04H+Potzx027YUPFd48DDGY1l3ndnuZfev19s4Newgo0rugPCiJypBUw6SRIfP+pbaefPX2Qss3lKYjJ8SWubRCeGqFQcyZaWAnT9n0qwV3EkcGlSriwtgZEBv325b7TniiLroOrtLNSJqffpQViDXeaNCRJumNs9IL1L1/3bJffjE4vFa3OcKlgAxkJl1exgnRAuAU4taneXpV5Zk1SmXJmuMmlLwWGLdfu2EhaHwbNqd+uqhH9l1f7F0qLuYIMRNaJ1q2RL2rcmV3jXsEaTG2lhDx5qzqGncp3bDtfwv85wEY0XgI0r2tX823X+b8ghUT9Qg6YD3dX/EZkwIt7+WATt8DO4/A+9d/FEIwVImJan63xp8uygaKErdrQ8jR2nezwBwDSUkbNJT78A2EO2HEMFLNl3xxdms/D6lb1SkrtpJ5d80urBLa94waldODAdDTzmdwMisB60rYhnvpGNfi5hbqLvRtwXvWiDUKAvA1iocdbfp17cN+2OPh9YxsZPGUyV/GzBU2GOjC6Z5f454eycRnD1kP90R61moAypSporLTf46fykGFcufRFqRpK+TGcSQzw+VZZZpKZT7y/caBvrQTy3cpYSHj58XZSzCkt9avM2yeIzN/JKiVUJdK54F/IjsNSchOxopIvYjW6JVUae1CdQnyVm1WaswTtpXjdprdmufr3HQnNYz6lwtk3bg2HSQWiFGXJqbXpB+wfbIXlnEdDRUGDJKpepem4TCbWfN1FGztLPaMCMMWpo2qKdaQvEkKz3uWgAEcLr8dWTRpgJ/9PCst63G4Fy5nXUJU+9ldJNM8ohM4Ei2frSsvg00Q783iImuew0UZ9YW4xTS2WHthTYszRXepuaMrWw0kBeT/GNGkbxoSmqlbFSd+FeQJYXO0DU7+9LCQBR/8JL3DBD5jzzuCqYgjGU41hNwsG9ZIzyKAFtsmuNvf7BZumiY8+Pp/U4dvqmMAfBZokX+vR1L1B/lwqv00KXcETz/JhH/bdNo2aXcG9Sn9q+D5tDR05H348/bcfAJwLCyPT3YQ534t0dFmO8xZqgvNBw/Mn5oS3zvh7ZmU1zLPyO6sYWiA63Y8kB4Cf63A82zBouGONcDtds5ButWk01zwryvw1d1Ee5atw2uu319AgisedHhl+sXTmH/cXRQov3lzxXZZ05L86GRq7qwpksRtVQ6puqKZz9N0SpkPQLYjxZNHNZ8dee19hwEvYmHB1dEcGjzqzQdxRk6cC2zTLbq1BcOuy/8cl6kr0KkM8LYVbUh+OHHT+sx0+bVV7Jt0XKpsUPEUmI8oUGvOy6x4DAFwbWXNCKUKHKVt/Gy1JrvcM9G4/oiumAkBvE4Bljf523nQlw7wzqYymG9SYNUiRt+U1yMDTwekvJCNliDZW7q9D64jaICyOXyihd6Ql2bomkKP9EzbIXJC/5q3wKjaZK1BzJ2dYHeGZfWWxNfoVNRYjNVAGmFX3msmhBHUbN1BZFHnSDpX5bkMhSLHhZi1R9PJrg//O7mVBT6dae/CTcW0b8HQ7s1x/uFhKHRasRJ8qxdYt/95vaX4Rvmx/zk2m/qKfGzhPSGsf5zvmecmJBiWI9Hfm5Levyv/ZixBuhlm04B07xMtmSlXUfvXGcUxS811nfcnUG2OQ6/2tebHEMl4xaL2PpoXCTiVVgAyHC1Q3DTKD0U6vXuEwmQ08Fo33USKl2PMCXkAbuPmsZ7EhOUyJiJ9mjECyeSE3VtRoN2HrhZGCtBKhuITiyy7+7LID5bT2BljVwoiC+PPaJJROD+B8XiVHZz6d9b4hQAN4eFWyBLdIC0Xjv12HN9gKcO8/7yfN1Uo/ohLlgJrVyVB0RGXgLaxO6CHzQ5/vfMt+bcJOsR1btvNtPd1Z5H8kTPmtEgXTv8/7qCv7dGc5BpLJiaVSLD4h/fxcSR14xSSAEZ3bYbLUWZ5n583KCXs5LNtKUMNWRfF3aU01X/05MvCE90k2nk1rq0l88UqZ4byNy+YUBCMY8n+i8M2+IZNkSywtQfN80LcQk+8Z4VItwdY8uVYf6mKmtrFqKH11oaGul288euUjDf3s+fgEgTxQdw74qyrCWimEpWym/gm5QLMHw7Ou+318n3u2ufvE3jfYX98ZOy1EVciKwJ6OY1SBOnyxNZGLJxMGCMkZwSqF0a7Lv9rXUzfupYez7aF9v3pVUr0bJiinFJBhnRIF0FvhO48PmCaSCz+yWmeE87yjs3nmFqNNlKXSuQISthtKoDHATL+8FiseeuMPAAWIBX1O3wRI3WYpYw5TeUclt6xB97OZRxPCnGXDKefTV3zd6B6PYA/WYlTPEQTlxWsatZ4NrAL08o4HV59nUsSgIFxAbm37ikJneruvukzaTHBKlvx2CbI4d9jWyzRvINThPouM+ezYkcvo3SxTwgelauggwfpEEc4nfZsn98CZTZH0RNSXWe3ZH6s0jKjoRSeRMYbGHMFyT3mpK0+bbnN5sfJzbYc/n2LOQpZuQpfGhuRSEmEAv4aClNptMl5DDVBz8KrxVIrhOaWR6ct95pEtKjtCxQInsNT65fqhyfItRu8jh77edzVx2dsx6sLpzAl/rbtLUu0uvijBVl31Hzac4Tnx40HgqtuGdfN6h9jDcjY5/OPmWBFjP1k10rYl83t6cdVvbK6KROCH+cGEBh8jscJdbbH8IiXbHcX3Q1xOLc2Vzv/shaZzsDKFgh3whaH8cESio8H4pPxY9G73xDjjXrlsGiQ8V2Dmubt13kJtCF2GCY1mUTtz7W/Mnb/guYnNaz7f49dK33Xm7xCo1/0V8iLQr3awRZcFOKpuKZWZ8IPMclHMj6HdMOkvPkn5RH/J2M/FZvdjmlwj2m3LRXAnfTyNnAHXEOWn6rfo1J6b+nIEqZi6ZE8Pr0JifjEn7UcwEAcZIsqjQ9/EhLSjPWIXvpIazraw3F1juJpF9KGzoBputGHgiSdxrHF10c/xMEy9fYsVR0v3WohRGzERN6xaND3Ubfw8UGCneLwq1p70S40Nz9HSWAsh0VO+6B5i3pQG6nLs2FUZelKEQ3zlSTCygVHKCLtO1tAblvmlH57QGzfG4ly9grGtULw+nArI9tfMF1R1aM0jzCplkK+bqMNt2fvz5Kc9J0uKN/IlyYdritndgHy3hA3OuzQ1UAdkdBcA1bNQLGPESSj2PBTQFlPqEVW2eJKS8atwe2OQ5SEoSlnjKXRuYHLAAHwMs2qyzE5dQ6axCGLUNkD/l50y+hlX0UHQHHgNsM9bnqBfn2tBcEnLge+VQSKJpkcsPEsDYCAxKUD4J7bNcNpNHy9Mukh9f20qaQ1WNsm+B8sLweYSlO/JLLSLEqZE4Esf+RqM4ZXgLG5swLONTHPDRA61e6O98UalBEHfTMqHSl9ffE9HrN+KIHedwXnbpvf9WhpQpaqEcjYhig8lt5Fl74EVpYQezkaXIQNa56siWx0KKcjLR0/uY99gtLfKdSUHtv8GdZRjDgN92VXbkfxRNa0AJqZPMcejgjBlED0XtQKkHilwm/8Hi5pThwwpX1qLjFzMZkxSteCZbxTC135N3ieoqJ41HnUKFB7o+VjHD4naHrfNXIopvsQ5zddw+i9Yy5jdpOp9dYKSAeXHAJ9iQEy3EHqIPqBirkYqnQbCTZEAL19lona8j9As0tZDSaFLqGl/Gcwm1MbQge6qFrNzVIAg4UV4wEnNNhtLfLHFVMwxGgcH3IFOw9zOFlPNI1qr8Fj19upcNBKKzYdxtk4Ke9pl4YMwpPKoTHf7gMO0IVIF2BK3EDqcFMl1ikVKBvX4c+/56bWxJDd9FM8eXCBSUI6BpVu5QgI8kFv+ybUWmM6ZRsKVGnoNg6yXoulvJxCZM4M5YXGmmBURDdDVrT0SaO8Dexios6SjolkzhuSdUNu9r1Z3JU7adxRAj110zJtlrd+9VxkYToe+xs7Ff1E8IPVRh7VkturQrq/o1n3L2XmuAFGoMLFIQKAIsusE5tZXtAH0jno01aNpFsyQxyJC4n1N1A2cLMck8Ki1zUepc0tdR7DfsakpfYX8ChL/3R2YS9KBDBfPbLH03b1wjCdXpb45STmAh5D6lNxFihfRad/i1JbnziIKmHJ2EiiOfhv9wtbfGGx5trDmaiy6YEXu38984nqPopJ40dL6MUwQcLVwfIZ2VUKOFk0TDGwIIiWPo/HyVGZPfvNCttOBFvvCigKqfJAIk3cekkynawWmaeHzGGuLPlDhzjpQrJeUk8B4FCD0T+vl1/Q+3wuhI4oGuTTrnWhCmkHPSDAVcl35OU6bZlScGZXjUld0OYlFvJQmNnw5DylG85ySAQgyAOlOVdcR7qEkA9oZp0BXsB/IXP1NU3pum83NyXXZTFVL+PWRmv9ycwnVQxYqyTMzvHU0LtfaiwaifpfdatGUDjB18cqMr6XP0IIa3UZ6FEMrHdqwBU0m6NY1HL0S8xiwcjQt/8uzttv/Jgsj1nYjVF7/e8FiouLQgGiG589aX1OwU8QWwkwc58SWtwpekmkySl6PF/klHmBeDAlFUeYqFXr3a+P0lytQu8pNjFCxBVr+q/9C5z2Z1USvtaS98U5CCFNTohcZ1OMtlZTZFyHdGn1fkaxNLyCvjqTPesVP7DqfLM2u3CqZKRtI77hLHJyAikvuu+pyudpzBd6rdTfxXYENgGN3heSmszw7ne2+eTO0re2YzFbvYiZPQt073hZkTCINGQUFkkWF0saCU/P6bqsaB5DaxmSzCYcoRad8yXMJYs/fyxfcftEPdX11fjtpHbaK3RXttrjzomfoyb+JYTO4fdiS2atDsWU8AMTIGY5fssMnOeqtrg+m+Z8uKgpXtqiZoBE1m1hM+KALtvS9EBZYP7EvGk/gX2lMcIN3NLbVpRyr50CNttn7TAJ1k+/+rvxhZR4PRSR6UY+7rQwiAyxNantnD7qXIXgnXBPll+mGv7TZF3Kz5pSj4JqdFwYIXu8rtuwvMRUHKrk3Y/vAZEAse2PYIaytmJyEyAqwjOwnSJf6g2T5U7J1nw2Gq2QsZiqEX7Z0GbXZ9XP/H6oNx3E4MQJZKW+8ADVM5wIRlOu2xS65oBkIayZ5JmbxdLJTvy7jjLORzqe0U7CUOq72n4UNBNIR3vAOz9kx35FxzMBbduc9+96jMX7zAp+PeXqbIyrGuwA5lQsP6yQCTufEWEox6N2gfjBdJVRkSm0tYep8ipWUOrsvI8qYpg9NUlSEKGwZjpw/HBIDdhC5rLhZ2o7cqNelqioMVRqzLDTwn+3A8pG23StgLR8ARtUUgBWtZv+Hp/orJMRM6dhDGOmaV9QlQGcxQNXTK728zG3bSizrrs6xI0evlSC0y6LckRqzXPnU8KrYHFIk2jfXqHdMDHlR5m1qnyLtOSWInuifDnan30wIdKqaRGkdAYCgSPuUXbnv4ECS/lt2Sqcufq7U92JlLuDNOYuvq1sPL8r1uO9QFPlu29hlx/PYjJcBvs/ETSBrP4JfB7kA2G3Bs5oV9hCKy3IaKKw769FqIjOsmJbsHKbFrMPoOp0s/YM7pDXh8K7ZxHv96M1xidqZUrfcEh7OBSMkl8k8zZOAOWEnxNIifSt8MKrEeEzcwsqX7u1Gwy7hvRctzNn3QLjCOv/9tY+i0dYmxGaCp6u+/4wrExwxIr+eGI00DDCR9VvT3erluk/XTunrxSR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34146" y="1828771"/>
            <a:ext cx="8229469" cy="4834473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Wine Consumption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any of the bigger consumption markets are declining but China is on the rise.</a:t>
            </a:r>
          </a:p>
          <a:p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1752600" y="6477000"/>
            <a:ext cx="77136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latin typeface="Century Gothic" panose="020B0502020202020204" pitchFamily="34" charset="0"/>
              </a:rPr>
              <a:t>Source: OVI</a:t>
            </a:r>
          </a:p>
        </p:txBody>
      </p:sp>
    </p:spTree>
    <p:extLst>
      <p:ext uri="{BB962C8B-B14F-4D97-AF65-F5344CB8AC3E}">
        <p14:creationId xmlns:p14="http://schemas.microsoft.com/office/powerpoint/2010/main" val="21631041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Vuyvi9KtdcrFWMqIz9zwdYI6vPzLoKgfWeJFJzekhMwDZH0NxQSOOGeL/74mYbRAVx4IhierBDd4+hWrDutDOZg9+9oltQ27GIsV4QU8IvoQjdBtlCins5XeBKdnE0c/1fMf+qHjcLYA+pCk+zoKfxOmHY6sQ5yQfhIYkyBvRARSskX9wYquYfMCc1+wdWNFCW5BwqUzWe/7erSRBHAVAFUj6Hnfdm2KTfkTere2RicH/4Ua9J8jPA8h/51ImZzju71CnMOqoqOkP5Ct5yJ1yBBi5/2Lk9adiWBgjkE2mQlZJIOF5/jx7ckwD2hI77AbKRBUUFfjaxO/+R4vhtdWlct99nW72UQ81g3KYly/L3jnt+2zTFbe/AkrCIG2tyba535mDmekDF9N7aSf8LNAe8NNE9ckh+NtG7UVa5k9B733NXiLyrsQb49hASqqYBudTE/QozvlOm8ZJ8kRz/stq5J9tT6OFXCU3YNM6B5JijB6tY+RLrEBdMT3MGbm9nwqRmJ5Eb/qqgYCA21aVwuduLeBuSFjjoxcejusCcbmoe2fyrxj8hi0IrAoQW1GvBzof/3iA6NsTV7khg+CwjhfV2K8YIfMNL4BbD2MveOlcLtw7mui+tFjSL7p1YGnWUbqiKuVOoRaUdQYqn5pNt5OSQIUYyMfIrKXChpeGFGLkcfGcUXf44c5fomdkp/kkPZwSe6ntcRQizdpxZmkU1umgVibl5DcSSPuzNAjDUEC9+dqJiN3D8pXadcm3V/qNF67B+0pQ9wHP7vqn3R3USDPMbtMCACMVTRmqQuzq3AQS4wXRU6RFHobc9FUruEf094eFricGPQoTy3YPAxS9mMwZBnYiAC6iAFo5UKWdDBwAy/DWswUQPGiwn8zVnGgn+uUard7nT/c9iUZi4MS1iATob+JHzBbHL69KgU16k/hyHAl5C6ltXFGEXiM9AaOk/tXWXjyxD9mvyDswyhkGSzicBdbUvDVkdsqhS33i/ppXBlghd8ZXcXz72zhJ7Fv3+0NtQuAp3Zd3CJ9d2wM92TEDCCNF+K+/1qko+D2cGTH21eNLfECHeN96yHBL9SxEqznVugYeEq4oV1Io1awKruKhaHj3jeC0JSSMRh7Aqr2fmnUpX6mCYY/L1cJVBAmoNtBb7/X0LxKTAcVH10XjDCoEs72OwC0N0l7P0YGKLqwNEnYXZuhDOmDw+ZvpjMqNnteEKskItjgTNUv3y+sxDT7l/2haHTQixiwItA/xgWif5KI3bu0MJSeqmq/aKT4Te3+6sG8z1Gxd44DamK6g2DocvXfIJzsFpSWlqXxHjtZoLlMFfxmZWaiI2gM6UzFVkC0a5R6OmxfkdkQqroiJZxSjcopeNAn7SsOfsDYVEk9BORVGRGeBbOjkF4xd7h+bhNlEW/3psetcBy31qURGLFrMZDQOUieRUx97X/qlMywGJzQ4foEywMwBfcboqyxFEQyZm5f4gVXHGUIgF4dgYBaZe5Vwdi/cGDRif8bSTwV6w4IMwj+Y4A8HqjZRNzgdvRlzVYFuLBws98RqJYIVgu7NVbHSyXQ1s0a2XhqAUyEKvwRMdMwOPGJIVEAUdKEe0hRhZRvE+IClyll/OMnFR0N4NU8l8Z6/Ktmsg/gvIizNh3Ed/6euUxqLVvUJxpGM5+XE+BYENqKF9mBWWTX0tBSS2ZhWGp8JMX247h4+7Orin6ALUaVINvYrazvMiICbiARmuq0BUcAa55qNnLx8hyarJh9lT3cmhRt/aIu2poOmtyZZBa6z6vY8aHuwhqWofiHMpl/Xp/wxZlsWm3Aw78RFm2HmJK67psdwLUrf6F693ftv08OdHBrj8Z109nIc/Rv4ELqn4CuLk+b6PTz6f/qkb8LrIhfq+0V81lmIIZEpgdwz3gD6RgYSkGbQ0XgCKzqk/MtdcvDWhq/OfB0N8YWYPQtIRAA9thoJEqtFdeTtug9hZQEDipGVKROxpXRW4z/SM1WIIi+OGOzb7oZkrpVl6DKzOJHSzbk2FO3Wpo48j2u0oSZA6ItO1sTQso+cpTTmniMnPAobgtseziChcunrwZbbbH8T0qntvFadcHWqxYTvLIjBWPRz4deewBwkk9MOr09zW79+uX92vSICG2YFeTjPdf6PW2A1u5fnxcxvW/wAoyG+FCdGTGjG1zA6d+YOAJ+qsUCEoz4KRPkn7GEcVFpemp7POJUD3TwUyynSAvCqOLe0Mr7J8OGS8b2NwF+Wyj879nWJsgZGXu7C0T/5v/j+ZRqxfyd25POv2jSe7j1C36ibaCVtyqyZgiCXS2IaXhqifIqjade7l/dgQHkPrFpq4Hmu67bk7JWDh+fJcd/05eIk+zu/n5fCXgW5rUPoIb4aNN6AfErCFHvv6P+L3rTT+HQ95cMwr7uG4dr/+fM5g28LbsfQH1Mb1HMb9PF5hGjgelx4PY/8OoYyEdmmrT28/VOEZdK7TNeQQDRLk/kD+7zPcpee63qybDOdq6UURUHAdv2luN6H4wzqzvUjLQaX8DOOvjPb/8U3dHWFMDzAFhXNKwyKNkVKG5F1Cl55/yQWCi6SdUTsLnVlB0LmrVUr3WRNfTPP03Tuw2NO37ygvu+KrEe5zhPAYBpTKfm757GcXuOwAkJyUgMvLF6c5RsmKIX1i8oS+/6afM/SXvPd3TutufmmgyyeMKa4Mz/m9RWQowLY7W0+SV+7eP5iOyUrG42if/86SZ0Xe9w2sSQw7xmmDMlkHef0OgtIgIf63oreGx4Vs/eL1w5aTm2OCSUhaUNXN7qp7hIEcQL6YBeV+iBMIgyMEJ2QeRNoprOBvKuaLplxERWyn9nL8c7OjCyMtf6GgzF/okZe9pndRFv/y4oqwhQWyGdN0A5TmpDJBPxE8ILRIXHZZglt+uTaDE76UaRDdMqKbzCOGpBy5oOuuoOdAsCdGHG4Jet5l/onUikM+yGg28Mty45XDSDVjcpUyuo4t5ZpMOgEoJ/8Zd6dIYKO4PlCC70G0fE5hr+Q6YUfPqP+lAuUgXOa0x8TyTS3qLSJcY0GqnWbXSBNMAPOEyigbC6+uwe4YYjZkIxWQ2txTLvVx1ifVITboN0PLnrsjbLWCqhUm3FW9MSKaWRyIXAG4cv/EIJzQUQSXccPtAR376/CWXgCXofXiVu7AU0aosCsa9Yfx7HGhTM4cLNclR7hUO9yP+FA5CciY97SJdEX2OKPuToel1MhjElmEtC6dW83n3zUY6gEXnzgaPNXiZcotuNxM27tQEORCwp1fTdLv8YpgwWXpmXSTP6Vt1+zyrCDEsrnWCJosHBTEWSWfHMAwFm3M5q5tDFXyyqP6awdjU1ktG/SkojKJcPab3yOqMtAnmTVqHwb+vo+Nm5KWYEO5SQ/wGAgBObmAPnyA55aDT4g2qSdTCHWr4xR9tYdcr5cUg4K5HTIB5IOikdpMvFjSMnWtjbzSFefsvNqOA1ruYUNIS14AB+86PrDmhUjabwUPH3xNyLSuHptcl7A6c5rG2wUXBVdA0wHMBaV+wHWeLsOxxRu55IXWKMv62gMoGu7WyIjMsg9KX3XcWJhw1NEytsXn7ljEVW+rrWIcXWyU0IzZTlzCINiwt8FL9m1MsUL/oOdUsZHe1usuAaAO6qY6TVefsOYmgywQ2Ts5q8P4mc3cF9S7UBnP8j7A1zzLNqzHv3QSYlwlrmwOatX+LIgj+515rrpX4lDUeg+acFwSa0fN/d0dNsI7EqIJwgTtjF2QtXcP7k3/Kg7HjDDt283HPm2/qF0jfqRhi6jPIKW9f63z14A6PMKAqnZnKs2PyUAfRWwBUW6MO8qIFzjBf44zm6e4fwQARBFBo/PagPyH1YWgRdjh3Um84L0utsDOedGCLTGX5scYCkL40bTkKnNHGlKR4qIl09XwnlZDc2k9m1euMO4SM+kxCg5RG7sc53SaHfeMWnZ8TicmMoczBV3vSHzHr6wv3vPjT+tbOBd81KrOCY0pvXke0+2/ncKVWXAkpXwOvljo5+jEwYnuTBnBJ1WFV5ggZrl/MNyz9rFHRdzOLCfjX331UR5s6oO493pjE6bjrbZkf5USSG5u8Hh1TD8wKEiTMmojPFIcyX2XsodnER9WQp0psaTnY+at1U35PtxQdnXsv86H20vv3TxAjD/CnVxjn5/sWk5PR8By9ZY5RVQ0yU+bNGDLBuocwcQWetvKR5KXEj9iUVjw3j5F+4MZTYcpVAEf/wNQ8EeGP3p6SRhv2VLTmQe5/4cBHZNxVFRzYmWoYls0y1RpPe7rAD+E0ZiJU89f1QsHOUtP5UwGv4omEpUTOPDGi2G9HmCjF9a7r6n26YCiFXq7a+Ie3bnOIkdX5c2ODhx+AdiqVg90nqbXfANLuAxQ6Cy2AfKGiOQhm2vOmyHKq2cdiaSKNJ5C6IJ3vSSNVbOY+75vcUqOCSLZRge73iGmW3ZT00OdkXNom24eKEJklAIp+cQ8ILOkqxU0aGc4B+OYvSDSeu+G8ZFUA6hv1W/7GOXz0/IuYO+JHRwLrKW0dov5XoluYVSjzo7RUClZSG9xN55WxwBLXPLuF34+HUrA5K/3NsJlOHZTGQZYyDh188Rvj10TimtxBXuF7TenPlcb7euOVIyfUvpdhVW9BnS+JQffxtvwVlTh1LmL3fHMcXxtzBophXInVPdVeomaCkLdU6MsSxgQ3JVAoxSRD2IqdWqU9pIxLmQ+j+5fmaCNsnPjSJY6gSvG9aaIkah6j6GiR/LMBBv6Xi+q+Humps7GSPVbpcWtkOHu5+YcyDKuzit0H5Tpbix4N9idOyIM7G4cZuR4g7vn79Oq5mw32TyVapuS7C60s6JCvxrx70Mwsh3/BOKHcOiIzBlwnGZFGB6WmWQMrTGJbJvcg828AGdCaLKQ9bq7CVmAi7Gmsb+E3+OWuCKlX8zNuDGismLyqfUlNT2ZVEUc85A+GIiT3OxodptIdsZT64QCAGmDyRbpQGJ4ZHkP4OcIocdj7ZVrVMdNvWs4WAPhBIQR1/G/5c2jSKrjoOn/JkLKIJ4J0pTucpXA4CchXg6rEhc/qM2xDhiZmpT7HulNKplfiFvnK8auOoDp9/3BTfLiyFZF3TTja+zMtHH9c6W0qsJzcolq8NzDfPWKCmpW9bk+wa4MPC12uauIbcoy/DiijD0GRbUATPnnHTtszEZTEimpvkAagoN93gbd+NmgKYV+Gb91KoHko4M7ZwGQbjXwdZd2Sad1qYig1dLY4ttFA3wS3dLGbnz2bC+jbRsnuQ/3UKXeVSq1f/CtE9I/2F7EZJYticBYqFBlmaxsvshd6qhmRHEIR8D3v22hFh/n5cqhSIE2zBuF0vERCJtQUwV0cZPz5sTiaCNk0VuHlf60mNnv0fHnJQD9unUYHYeGnbVV630zJ9jcqMKZIvZ5RQ1/rNgEHgoK7NqF82VuJC0qtt+mP8+iYOvmE6VJ0yaIw7OvNqLopWg8ja/IkEpaV6BxGr20oRcj17fcc2dqIkEJ0sETGgmh5qgFBp2mcgBQtqlleXNkN1NYkDBgt94WQI+8vtJNaqOUxXB/CzDnQdmw8acrkUK+8gCAJRtyrj3GrUsFUaOkOT8QqcdT2i1tUCPl3pGxENKm4V8nogVJBsfSNUnm2sO967nptNojsqImpZvUdw9CJwNHJXWnStazoMNGzfO2yDzq+n14kcvEWpNR59AdclItch6b3FVS6tWyiX0c2n2rc38/BdPZwziv8pR6mkB8C2lz9DNAC/Ng91+ALdyuVIUf1X4y5P8YQicYUDWaf2JZdySwq0AtFHat1A/fJUJua8ijmkVp5RFG9CzeR0KMGsxoprpah7OaIl/YzgyalRUHJAcYnv1GpMs+Geqv0qOuqoIs0r136MmWV7KIeYHHtNdnXCxG1j7Ze2ynbcPq4mrE8eATR4l1ToYrjABepJWRkhwa/YXCda1L4gwNpzkMyFVvKaEvhCIuRHpYiRGx7iWi95zlyYmHZ8Y3QbYngxcbLqo7VHJOL3Z9wW/s+/6e9nPi4evNIpm3ESw1mvwMQWE2kBFVDllBC+UdxmVqC9A3hcy2pPsDxgFW5mdIT8VZQvZkbHN1Up6a/MQWiRLE8Lz4I9Dcg9aj4p6qpkvObtdREPkQlOIUW5Rz1hbR0E0vJVdpaM8/WQRbn0kiK9VPZX9wygAvYW2wb4NMcNYgrvO0vOTMXdUgulJKZC8rLVzSkrConShUWCIxnGo7/L2m3ge7LnZ/fNSiiEOvvtBsFGbRZxQ6AJhWEC6wO9c8UAVMipAojFiMgWbUB3rJN22bFHbZWPpuaJHYZqo2tIRvmAyQG8l8uXqQ0EfArzIqloWPrXQQoVGtB5+QnUanH2HQ5h+Ji28v6uAcSqj5PPP2/xER3cTEOYGfSnSymHwDDGUGQI0wXhF1nsESY/xC2EOT5W+KlmjCH8m22ETSrw+MJMYgXOEeym+xjeFFpBbc2p/rEmBSQ8r7liH9emSyIV/UOFyBFaux//6PFaQcer9zencohcZtuhqZJ/wu0wedoO56BC3BjWlI7vlIR5SJgFMYztdC1Tgur8VoeL+oZidu+rXuA464NGS00wQ8WD3h1LEEHgQdLZhP6iUZCouEOklCO/zVJXKVU32LR9pvcNj6oUPvsch9fi7yGLxAaRDT4WCtrcbzkDGKv6QOMRiRXhRD90tEcpd1uJI5WJ27bIm58hlJ54R3aRd3Hhlh5VtQci6/i6zj+z9Ct2tFvbpOEh71CZX0ZpHQbiIl6J30oSRz2NExqqr4/HkIQSYpRuKO7kFyKrYxa+fzMS3bFQ3IscQvxRlg06YtIVr+LMumTmK0F1sSWLmJeNcZMBe4ASNOv7oHbh5xavFxK34+ns1qIFtCfPaer/MiKlblrgXxRIn3HoNY5y0zPH9vxQjcalaHmskUJh2PlMeEs91o+ID7f0qWEHgxfrRjaOtbwKqiqpk4TjBUT8uZ5pDtJ2eF1ztbl6frGRjinc1KCoA5Eu5Z/u+ohMFhHDyNP0+INX72NStSDR81fZgbb19m/Z5+f3vASMElJZcGsbPXHGDAJYm4F3AhgOwpoUvCWdIfWn1yVXL4WXevl3Ma3nZeCglmLNOwhdiGjMdDxxq/CQGHyKP/8trzEBCzWtKw1LpbfoY0IrqgJo1lA3qpgq1YC81rwGHCFiBxOv0ZQ8J489dAt5oE4x/PM0VMBFpUaWIGAkY8ZGwdcE44DrAsEjKF4vUu1jfkZSVqNeGC1M2l+UEP7j2Mv0oszkJ5pKmg+aABr3SbQFantnjU27JAEfx8+YEgK8Iqq06x3cPF9R7q3FBE7LWlQGhNtizZMU4bfNhz/gG/Dl3+yloEFTDrOvQ0XmakaWM2Dk6pfKeQgBrY+av4qs1dIF49ahw/RN2yuRveEsqRj9hGPhe6quapcuh/VRvzpCKfVUgEMXdxwMG/ZtDVrApWK3D/bQCtDpWyWP8NJbXhFSMKRTp2J0jUbadgJx4ph3nAstGSPYxlqS6Yzg7LTdpo+MP0Ll4cKo3oeNYftAfukrgPugNUFloLtZBTYQWdkxnix4bSKVu3ldNSXTmLSe7tXlKEtKz+00uk8hVjym1fGf137FiwPjhnEDTHlMwLSTaCkhf58tJ3zRhJHp/U0QHzj+94rVCPJ4E4MojFslKq7NLEWE38uSjMP7jAHiMIAfAWgReic81Mc1sWjSJxXl8+pbTghGwPIuKMptRseauBvPuBon3GBmr3lVU22YWNqwqsqXeW5GBx0Mr9CtUHix1sA5c1MRUF6K9k7JMA8yXBzSqmNMFuc66Xn/v8AFZ4Euc1QR5Y/cziftbfj1U4EwMopenxCC39UeeSC8QZAWp/7N1f5COnBdEa4OncPARTcThNhDV/4sN5dKB4dJZmE9r4SI9c7Xiw3cctsBNtQNIdQO/Fj8Paeou1faixlEg5c8NmsAWfmJSaY9+MkxAxURBOz4aby2zRk+y/XDzxyY8aIZYqcekbjN5ZMOq8hbCITk6WZcPpdkg+2zVdrfRGWgyeJc/Iw7BzTjcN9ydOAVLdL6g3L4VKlxTHTA86QnLgKhBXal+obYbYn56huC6aERVbeiamUevMblPgGwX14pzGCK0YJBRMPUrp1lxpKxjnk+Pby493AyrCDyCmQP0mlXZ2l+tSXCcAV4nrHL+LScOAsa2A71ZKStJXIhBdu39hTlJ8RcYt6FbEOYH9j3wTCugYIZAi68ErWVrieWKeKG+H3r9ZprXx+i70+pNxcj0wQbdCoeCyxZBKNlz6RHv3VpF14kMu7+VQOs0jo6pw7JfTYUKhgnr54/1N7Y25Y4JAh5rReZDaZ8ukRjfjK5l7btrdlhmGZrKtzzHk7Om4WDGGdsDZ6RNCrLBO61V+v8Urfwa4k8eOS9EhArYNNODEsTrm85e7QzRE69Lm1zKqSYRxh5DpgTnbraLHYDuPnynqPZqqDmY0AJE1QxZATW6ZU5sZRQVBTKZxFWdI8ndR1It2AYuNC6Cy/U48g6j/LcYhq3taZhLPcRwF0aXokUyQQMvGc36pJfQ46gqMGR7sJke+rrq7eNIL42xvF095yba6ofzBgPrcU45zmr6lSR2dmkIEP3ubNtWNzZzKr1IBPJFjdORfqaL8zuKHQlaEQEB38vVwM+hjitdHKrnbnLsN0Pw8RWdlgYREOBoQXtmHaqij7C2rM2m1PhBjLN9kNASOz8iSre0W4T4XbL/HRtceC02NSs7XLOLMRWA0EaHIStHNBq0oVQhD0lt5POuEEj3jlXfNPhcA+EgN/JvSBBV86TY3vg7mBGNqChSM6x0/2xCEmZdplOKulg46JKIwl2OhCc8L1Oa+XDyZTEm1Mdx8YJZbL6iuAmTQGU9Ya8DrJWa4/ywU+5vXeF6McMldgWFJT5qqpHRprmJ1ozjphX1IQwbxEGCTDFY8DwhniLCqegcbT8o1yUWp9rMep6XjhrFX8x7QKDed+RQgbZG0+GE38mUgcVAzuMb0u1F4H3Nq89o8SwzSMXxneCrRsbvHT/Gso2CASStFy1WW3w3ttCxAnbMH3ERnVsoe4OO2y4+TzDyfSSeo98KTldSG3Utc1Tjb53WHfOvqCGnWh+IXXsYkdpKQ1BmdVmqIfzRqBZmRiG/w3nRtfMvax2ck/xSAwRCqbJDs+679vSQuMOexZdTX0QpZ3NqzTimaKu82+cP1M+iRepA+Nv/xdNRMJdA/OqcqsshS9GQ2nRzGzzkprnEvePfkK9MC4CAspDfokOhKckN003HbcdX14Hi/1gru0IWRD0g6rv8b5ysr/iAK7dF37iBwWS3FfTC9PgBvZgPIFAPKQQIXz6TSYc6D68NVPEijLDJDdYj+x0JJXgArRV5BzMs9SgvwRmhDN/LJveewtoZGCba3SszVKHWJ58VMRlHfyLh8YipULVgg0zTlV1XdTSg0IogHEcDbXSW+JCUWSvSNXMCVv/vCtdLtwOQFetsVR+2VsqpmtY7B+SBNtoGS8evfFkx7kUdtiyTBHaNE26g0dt6o62hnrqvcGn30A2VPLCC3CpfjaIgn2tl+XzDxMZaF17Z5S4KWGEDzfZ6xHLujy1vEAAVt2ukUtH5twp5gYdCR8vwTPQWv1maN1YeLnOTHfr2rDlBrValtbBvUpBzISflhZpb0H5H7gwTvKpBQfDsmFitn9Gq5ZJwAAjzaC+sBI866OJe4KRNdPan+19o20w4eS0yRLPOTFt6NkMkx6RzE+m7+QLeqj1WPNUsw8Di+l1hgGmjHWmIUXfd+Dd82vPBTyckrK8mFUzhlHnCdiSEzQ0fyjbowaWHhr2g7LnctjRnI2HVBuCXTMLTyOAfifuNEb58NSYyyNcNx+HaKI4SEAYn3fAzUiCrL/d+0+I4CzIrlJ+EM9WF9+S1aDqEBbniyKlF8jvbfMkG8WvQ0Pxjv7AcrFsy7ZlBib4duRPJHHlbJAGmYsicN4Ak7gQucPH8gNzUYCAkgza1RxnPwacPbp6UmE1XCoeGKn8VC7sqQrzxQZvI7bCCxYHQFhyyxStcR6h85HZiXwD8fB9IcIv3Go00trUULyV319nnM2/8RVYLsx45DKNZHH3EmVymzxESjhyGwxcIy5Ss+TmuhOP4+dsPGQBvursU8rKrd+kZXN76IW443Hoj/wWWuJkAo6I4ggvzIbvorRN4Kn3gug3L/LumiGhG+pH3xwJanBTtlriW4h7TMNT6AGVYU5dZLK49rdVrjjkk/pdEvYcD28TpfQ6LcFe8B+cGFjBtb3TG/vlWZZGsiHOSJvdvC/npzW4GWU1YVPxoj2VrgqAQhRLXaPaOz2su+e30wxBBWi+7BRUDJ+KN1JyDGH7DxNJgyiAEqV2eEGs/XDh012PL1wgFBMi2JPb68ulsCvGzSQGdXDbOAMntBa+FjSOrsMdPUP7G54ZRWVzIdzMB+kipHnVJ7c8C6Hg1JNuGyrhApI+zAcWz7DK1ztQ4JWT0SwxWUoTn/Uh4RFJVqdTDyfuyWaA9rsHjko5HW/AtKTNectUu2Z0HQw1XZPjZ6MjAN3VnjBS/AcC7ET0UH/UhVbaMEANOguBuRt5FeP1Dl0PE2EznzevV/13E0xsz3IMbqPe2X8rPr+LiPKZw5KLaPrUKDKauRm4MDTB7Tjlu8Ou8y9zNANfYAwZhuFhT+6dIseRaIwrO6vPLhkqwShKkkf3tDxEkKDfpEFe0Es9dvO0sH3rpm3hPRcOaNU8TBUkyzoaNFZwrDUv/rajWcXDzFYnV8ZEo0DmEruarh7DUVUxlOdBlevTLPqdOb7B4ygPoTWqglrFeku0gax+BMDJHzFudgloyoss/jOrLWMhdPrI8jvtlMSBWqy2LBiNuIFvFa2lIXQGE/AofL6Wg1iWjl7CqLt+neHf6fcNrAI9GqCISq/TPTcpf6T8PwlUg/Uv1Yj/Xi/pWt8j/I0NS5yXdumKKNaxTLdhKuCd6GT8ipfuGoG2rgoOxmITrVc23R2UNgqhTBMmtdgJtmx3uAZBMOuPiakpOMCVW5iCQBeFpkSDnYkap6hlvW0oRWRRgHAYZYb69hLFj+D4g+5o0V2gH1179tiv5Fkz0qjAe9C+yJKSFA78+5AteaK1asPb/R7b0KeQFCvdPxzzJAFubswTY8z3xGRzKHmc3AJW8gx097yvycHHYctSArZewUODxuoFPgJ4oAQZXx2YwbIrXz4E+tedQtySbe/a+ZNzDaQX39EzHSIBjTkwk7pBHX74MLYPFM8jZZAy4sR5xKMFytt8rU2mmVtjp/L5PvzFPJbbZLnp/iYGxPBQmpYEOH7dEYbepcMIhEnP2Ie36ar4LNjN9O3FebFKsZkUlmDHYq6ME+CZmJqyeNMCzWtyJ9EBXR+k0XVnIBP4X98mwDVMNbYfCTEl/6N/xnhnXMAVI5NwXmgzpA0smkRqp7eOw8Pble5Bc+YmjW2MU9hQSF+Uft45PFZ5HRHnS4FGCEJjD5/dw8c8hp5uYKGP7j4J+WvGt4MnqJ9ezigV/n1tCRn6MB6JlwqZo2ajT8ZQMQlCxgYLvp0uUNSD5YN8gnPHTx2JdMcI+t+oxOZ/0YU85LaE7zctOAGcQO9uYjmE06dMQePS0aVbbBdAhkFYlliO4w3YLjIPDNwgSkmT4A+JuunZAF0BtI3xahnPbfI+A2ZkEoLtuKQt47tKsS3gwc9PdPV+xQgFM5jDeHtpv2wWSwfVulJQMKQ1dxH43+qeCVwJQv6GSYpdI8Cr7h5I4EohbgfY5odJpkoAmbcMfjLsA0CWFEyfCzSfMMnZ3DtpvPgqnWrqwo1SB4a7azo/kR+xW9/bQsHEFx9rxk34LOL5XyaobUhUel87YNwFDO2WeZ6pNycuDHLXqvjOYhITHA3eTBPmAZr2AHWvVDMzOIiZK55FOThh9CT+mdokbk5KzWZKnL8UACsL6hz6CB12nlesdJ7Kz3Lk29QXwoNDWDdr3isC3LCoyuI/LVY3RVhkzfYNwnrnQ++E5F+Go3UCaModl6yqe33LaAeGqNrqj8Yubf7AtwQAd65LSsqWJj+rAb27FbAohn3oNaS61Cz+uxZfNKIwUFx/T3N9hSCBmkKzuZultzBFEPQ+8mz2EvXpLno/fDbfamRULBUbEyZKiZysxKGFb98LIGgY5n+PI8MnpQZ5qMmnXoK7WcJDx/6vc0rCcIprk2fYoEABthioZoe2ZnCSoXs3uoHlL1Z58/pcv6i0F8yuo5A6IqBmcEzL/yLjQP9NctfHgIh7yz5GS9MNsOjE5yImzcbg/ltSpEZyMgU7+tL0CrlwB9OXobO7VwmyUUzvEo/4zbjDhvCK2yEoIVGzpEOGzAnc6Iz17X6Zt1zp4mirkEkONdoZJ/zSPuVELZ0bmR6Z8epDm1MfRHjHjDliQbll9Qbs5EKfH4FDH0lqzZW0EQuvaV+5cK/SKbSw4A8HAN1jVzdthguXOfzuxFeTh2RI7aVD+lv1U6QIjzc8Py8PTgbHfS4m62idrsltsv3iBmATRvdjmsug2RnuWPbN4iY8o3MmNhiTWm5li4QKprJqDe2HQydwQtCuAXFKOO39n+lHCr8eCojSqnnvYJHPMyLPxJ7ezVD/9/Y03nt42s5ElXduePS/iz4eOZKEdGQcwvrv7ameKNk8usriF4oWlLMzrtE+Cv0SJ5xFYv8uNzTnl31skPXDiDZJpPY0z8Cmiu/AJqyYSp4Mno7EhY9WEN9GoAbOZ73C47D+oIJiWmcVf7n/X+/OgNdfBAARGr9Q/WREI9ggEcFqvopZWbWx/HA9oaR04BT40q3bqfAy2ICHiHcOIEvi26BwE4v/WW+b+PdLnn+zlGbCCI91S7QgdE4f+70szQLRj4/2n+CsWOCThD8wvuScpGVrUoi19kJpslTwz3XusBasUqxPjnLwMxlVsQAfGxq491TcdNTSmUipf6155B/h4F8vmKVnevAXetXWuniU+r8xfoghu4s5QF19C44S4hiBiy66TaDDsovyIUUiDv9PevTYWiQ6ACcyWPsGxTImhb1t5PqmBmIZH1vJhcJPZEiG+MI6dtNQ3ytrv8/kiv9cK0RLoLbSVtSCHdsQioDMbTQE3XaF0+qRxI9O/EL/Rq9LZC6+wN5LBmZwLh+3TqvUZX2r/soXAEWcdY4kSn1g69lxnUe9JsBXtweI5PsJOMwEC2yjIwKEdxW1E/ohi+nUUm2g7YhJwk4gwrp623DHImjH03MM8BdFhHPI5G8zfRoFhTsdtyq+BlViZ0rZxeS4i1MKa514WmV5Oiy0QTThniEevZL7lUoHzvBl7jMxQo/5U8sjGnuaB321eQrYF3DOBRxKNqnFP8wB0RmPfhfs4XprHHRwykQ/Knx5dKuiuy5GQcRlU8MSyafD+iRxI3jPd93gPCKJ/fc+JLfiMsnZ/s3lmLszfGcQq9MPFAO+cFfG+tlEjoB2M4nhTKmBVo3hPFhtaClG7tvC8mzBa/bT2IA3JLcN1hN7wf/3Pz76evOHsIQW9ogi8rIpeCj2plxLkyN3n9JPbOVNEFILvAffGC5FZpudMtMctD08eUQcZNbF2qgzZlQR0XrU8aaRT+7n8Z3gk+abUEcaqoxZRbRnECJo5I6vVZH1uheRwConPKCSCppShXkb5vQyQuwW+X9Nz2KMfNEQIQ7GwvSM8h2FX/aOn9HJ275N+ukUDUgYbWItR/WgvZpyPkNeEkkdJN3Q5hP17Ypg142kcbYpp0wBoxS6PWTKVHuSWuMHLpHsmZjhh4rUCtaurFLBxIcF6x3VUORV7RWpqYqPHQ3OlWGTfZ2GOpznYeJOZ5NqA8HKk5BAcutHFiGEMvcMOwUxjZ5SQ+VRq1D9QQ72P+qrxRWE+OOWQSrzOZO9s/ZNtVAX+tDSNd1toX+VdglAYX1s4PyF80chnHqJhUWbEJL/Djnec7pHDNMSCo0AxN4du4LwZDK1XXxAH20vzIxNt1+h+Hd/T1gLcxBgrPmfTRNoHZdVD6t5cj+SKUFdMUgmwiwLB9MfSS+E8Tu9OH16ZjaD9qHSNbdrndxTgXqto7y1Oczx3RQBiYEiu8jhV3Yc6pGqrZrLdw10hRe42ixyihryTvSnsoCo9K2Jf6ABRyVuSJuUYStUSuF/HL30JIY4A0mcedIWHLCKVi0KFlaWmQBvWBkPZcsxrApsovL9wxS3Y0DbSb5XV4l8YW04rSJiTx1cI8v/y88M1aMxYrzq37AtVFtpyQ14rJqqKZrSYRSHkgYoWg0nARTnhG0uH4LMPFk4283/IOqv/51fIrs6b8Cv847M/OrZF3VqnOUFOfr0WsWgE1TKqlohedV3HnrRnDe/l70lleK8JIoiVRkG0uW4+uqYRChhH+7qLwyvipnxTrZ6gR3Niu+wLIG3L3emUyigWJdEUqnDJt6oLj/T6Qgxckly7Lgk4e+mnyHR4+zxH3WQGTzXzzcfYd1aKZkAh/u7Fk1ZZ+V0OvjqmoJwJUfA+dqOp9Ag6x1UhEbWP5jcjpWsRoP5uz6V4tvZTRbFECX4lAO0G7sbfSbdlCwOSX15og3+Vi8RkAanZb6yr2SXdgIB+6VGyGW9boCUel0JdQa0Pi0mFGZ+iNQAuN1rWPbZnThlCfIW8B6Eo08URhryRLvOa4/+rwvDkE0XGRT4ou0GiIgPpELau2atHVhitZBs9rZEnhS//QaEyRoggx6G6MLpjryjBX8QZU2paMaE0hUbH80wqslFxhvCqy/bxec1WFQuiP4VCXN/ypHTrxJpXhzKCNJS0NK/wt5BxHeTM6FC+IV2w3xa1SmW9h4JD1TxtOVporeapwKPLSGmieWawrrKXPiKlkwgMPp+lHhAHdEubGhqvMkE1LPrq/fDV1jPqIKln1A1CIhR85BEJwAnwlEuKrbER+I6qN8xtPI1a7hTGFA/2lKgwDQoLZqYU5H2efnHl/0QHbH9eQ7Nl01GMW/QyeDNKDx6B2t7QW4Jg1sHrxDsOn9PuThojnviFQXU2qtuL3zrzacmiY2BPBiVI+dChwOn8drBZXRi866SdYbAH9egNqFjwrDJ1mGXWjeC97+32OJyA7GRBHOKqQTDXsOgHjA7fTVClrT32W9vjHytqTxoMSPsVLiPQK9JKGfzg8iS5evJY5afTY7j0jDLAjEmxVIFBXUawXJ87RFbT7lk/QXwOYrgvTa4FiZgnZqGHHhaUZjlIFBZg1ONuxrvhLAlaKWpLvVgUROxbLjFUqqAQPINi56vY7iWCH2CbQAhQDTL9ef+AEuvzWNiU+nSwV4bZxL64ODcq7QsTqSw/XHLffSEoCptIPDZ/rf3yv3uKEBgDsajJ7YTnux49fqQYSIqc5kOk7ToDvaCMWysEj+wYiE4Vkl5r/zbMTF8IMFZ1AHtecw/74UqZGViBdGqH0FnL8CVJhW7860Tke0v/uQATGOcUILk8DW8s4x0wQ2LorgVOnzNWALem1MV4og9vNZDVq87Cmq+XUJQ3mj4lt2y0SYLruoCon5velvUl1V518bGK4Jtmo2NYOlbZED2QkoPzfowBh8CXtNG+C0ibPbpk//J3UOQO9864RgvviGzHd8gMzbBjg+pumU0/vQZNjc6dprvyNRCffvUSvytfPuzdQLWRTw+qUcDl0P5CznZueIZSvL76muOb7NuqvhhihNlaioMVpzCg68sxHqG1aFrzyXdfcgEbi//PIc2qzp5sb9aNajlolRJr9Zt92fn3q+2ij6DcqP7YIItmIzz5H4bVh3t/Qn+m47ocinGga0YC+9mMyP+lzOfHNgW1YnFGUxxdPe2Y5hqEpeVdCdntfUUI+MOC6d/1K+eSyuDTvWa4uEm+BBTWJdgChTw0wcpKRTg+qxjz7iYApH8PRWxvbq9B/e5ftnEf+S1ABBLIfZx4P3eORMgHYq4akN6HwEhKADYA2rSichoVihaIavUc8OuM/pIDT0tIi8KuFEQ6wZqzrb4B93RZ7KDPkVxvJnxhYJCDOCqVqw+1oII2nApbhGb3cUzH4DmmxKLDjDQ64CxJOtgHdTgHtKiESbJMiCFnxAdcGJXsxCSGoqg6HwNuN6/6xejdsI8v2HfmXXfNr5xgUKtvGFUMCiG8OMw+6Ol7TtDvUBYTUzjWVhBIrzv+m5xcoTWdxOzDJ3TsWXXHKoYAL2C18IWbmSCRadnPfEUlfMtXZeWXIGQxE8ncAqSr3KPakVpyoLJ2/CC2xbscP/q+SKQdla03Vv5rUiGb6Y5oDWa50VliNWielIbNPTtyHHftkXObHHrQECaUZYNG/pcejvwTQ2aqImQBjtMKVJ7fHnVN1e15jq4hclPJRt1qYrLWhs7SSdOiLOE+g+P4FMTi4BBr3+moCEy/FYlbozuKYD0MTuq49bO4dc38MhurPvbmkZrvBsi7eGf85vzFIZOeyrOaFgntqE5ZjxkTH4xjfXqBaidkpJDOjLpqSrgcyzUqCtE0/w77clp8+vSJhg+YL8lVNC+JAjzaPH69OfWrrZYY8W2wfOxV2WABrjlV/O7XCPwqF6fVwytzVY95JXsV5KsOVNHij224Fi6F7XME+iTwW6mD/66WXdWh+T7ecDqvercw8gGdC2W2UeNu2hdlE1hnFjSwF/NZnRvxtGhYH9kcnNZxarybFhSUlEzfKslKGi4HuHFrVd3vmQ7mURld7RAfZJk6Is+tTXD0wVU+p1XyuvHu5TuD4zW3z/hss/keZRnxRJP5yAEhEButiSRpkwNfCMbTnwi9NUNgiv0dlWGrolw6+fX9mBMu7Oe6Z/Webi26ykP+dD1HiLVYXbiOZmpfIgRIMGTki2uCrY268YMlEFh1nbnLcHd1bGtd/WsPSAwTZwV3O9t/ir11Kfcu1t0kMg0CAR+7ExZvEmkI/gqLpSyG94C/2YJgBEgsFt+Ghr33rS6zaNxB+kyL3U8lq953l7guGo4yvkli5bH15bTpS/ws0ITD52grjhXWe4d510pqqFImGqqYp3G+Dh9tguMNifHJG8liiunZ2v73qmIAkqKJ98NgaAHVa3ixt28mXeeCJjIKhYS0fAc1xOFtGTd0W6/5aWw+EXh1FHXS9waESYbpLs4G3ckOks4c73X+3LJuBe6pz+X4P1n0adXL0n/3cTgjEmybM9XWXrfoea97SGfM8m15L9R5gyFxwB2hqf8AdFz00AeG9wslhRPkGyAkZcvKtMfY64vkVvyZLONcJaHWd6KUDbIUp9bbhMxkNK2DOre26eSvx4YCcrT+5nSKUdd23lxDbBMfKXPs8xL+pPIMK21ToxOS3grmmTtOW2BXfrR0fFzSX9MXbefNi12n7umR3hhm7p+U6dk3I5DdMDiWqFkNm+/nr4OlCuB71l9UKQD6Wpw67xniQ6NX7HrQNVPE1Pm66Knly+HjVyFr781+YIgsTNG07Gqh78jv83mK2Q6vr7Y9bznCywyz7dRXDw4RYVt5F+UtFwpIKG8/KdUGVr5IQBR5bONn81/Wfame6pSNrX3fXreZi9oCBbkxSMImTWfPcqvobmermhxTNMdIHhnMh6rbh9aGNqdfOKYgzCYBos8exGPs4/0S0v7sbVkrd/w3nX4mhb1xWkbWmGmjE4ONpvUIyXfZ8EDjDyi4YOkKiiJoRVG4hMDA3DAyCw6SC48TB3JtCmc0HXNZ7emRrofZY2R02sznlveUwPtroMCqvsVGHJDd9CzDGemhTxpMm/j42vcaXq4iHdcD7jFlr9NeEXAM7PUbn/Wr8w7OqYheX/7AKHrqWmywhQSZo+QrIsUmHmLYCeHGVqoZaj0cVSotyqXkgHUxuUtTRAP2UT+CKgahUeU/FdTfNshHWp1ZEbCEW1WvyhE10NuY43ZU6i65nQI+8eCdgDjR5/n/xPnGKfVdHDLwC30TD9zTOBVHvD5ALQF8/aCRzG1NHfLFUhCamB5/7bR/uIvaEhaiGx1qRl/Dl37DsAllU/MoKoxWi+1BGJ+891kM4UFbEMq1JiNqhfR+kUGGL7GiWNicFyxYmmZeHDW+cxMD3zU/kIPuQgQPGYax17O6mfbCds3+yky/jvxMatnHslEzsBUBM4aanKJVhIbgHxS2JHxeCezW92szS4W8zQfKnMhVd17pRcEXc0ZW0X61iYCNyLVtfOvVZoGd8TqM0Zaub7lVaxjlJiM03IVXUMo9bgWOGtfq4kEdWZ5ZNcG3r34UZWcUBOMg5vAx17vVXBVBXq4unHGbjwYLlt9CLnlHtpV4HiTPaC5zz4uN9PWuQbcRpTCljMmxzWw4he8Y6ljklVQKXKDBGKzSuR8kr8ScPpDeCPmMOZyczPLfayfFVSxDmzM77gvtvID6Np2COJXLpjaLL+9653+WAvhRtb5j1ZDo5srLAFxjSB5Dc1DwNLUyOlGie0jRhWJbVKJDa48UZmJT1zr8ar9AIi4PGvWOi+WzN1KAEm2AAuerzA0N5vDmFqbd/5Sf0fGAr3TdbPmMmTusCejUl9l9FdxzdhNkxbWrIxUbqllaTZ3XCKeBQ90JZOSvrcnbqL+lBWfVRF1Cfxy7adAIJD4KY+iqGipOZtHx8VsxINcUz+H1fC6S8RLsY1uEd0Z09jIgiuY1QDDAuDgYXCB0/9tUCt9Btb44N9YoOXef0WWSwL9bihIHy57+1WWUq8Kpm9b/MXahC0GwgQoLKLLa1YlZervpqTxNERuNGbSRktf27A4hJY16LMF5PpVg6NPQEX9zNibaygq2rmtIpuTlB0rbSmpg2lBYJ08NY1gymUZXEbemj9Y4rNwXw+H70iWRf3hUKWWT8UBF4llYwDSRSD92/cbeopmKVQYmBBrJbe9tCn/6+rX+1gDPUr8QpgzjbkOZpw1DTs/42QKBjhRg8drsuCti+DcIRzcWcK2wSyLuFejYynWNz0XVYLs38VyhF8oiRwtcKVMYJ4fZhoJTvEy6YHMH7j/0u+bCCA01JpAVo4RFHGbJvzsd84wwPlgzITaVIuG6k59525DfLshovjNk8mO+Q3UaVyTXz9fBQZjidyI+yy8fOqiJ/bJjrljOphqIIfZ/4+khYxK5V6/m3gJv1h1SSuhlxK1JxXEGUc1oe1b1mC7j9lpx8sXfzvEE1/1vICxP1aKzRMuyn5qL11CxIejN+o6iiACSsQjsOKUUyXDuQkiH0AvriZS+0LbrJ87dKCUzxIZW36NqxW0s5gsKk8w+DZTvpgif7cgFAQqCh5W//HJxVK9Rd0bXikFQlJTMKoaPqIs2uO/fAYRLNjK8I14XKdIAaSkS6wJq+oeboTWDac23blUyYLs5tbTFMT0SzppPqu4BHclrCCeGpmYSI5pIVGZXuSK426neIHBlcCcrZxJoGdtyx8nZPkoX5Q8OajKOrGS3GqGwWz8Iwc9OaJL8kT3HGPypRyYjT2a5IEQzVKgVNH/ulO/29Jngx9TBDWSg2JXOVLYBQg/zyLDzwv6/3HtfhsP1b5ep6BVFZ8OdVm9Rbo3wJCwGy4sDQiIpX7C5oUYWcTQ/ipv12IbuDjBhaNHH5iY+fsyU+sY7b8cCRhq6IBqTspWa86CkEUxLPTUmhMjavPsOJspYiJo/LwggtSyRoTlXFMHD9yM336Ku0Qxb4qWFl5MsmYjjttT8rggzZERHW5iDdc37OaZ4H1P/QAPoJrf6wHK/eRgmpXcVmiX/9FTCgkcsi7uQH4lqmzA59fqz+cv7Stv6gsLUpiKkJ9L4An5sRP5MB5g4PlyOvckOWIxugWQJB78BzAJzqmNsFAFMIfIb8RNy4nmOPOompPMqhtAYydHIIqh14V4u+jjWUZP3AePYR2T4vk8QIT0LE/p84xfKbb1ql1vu6sTOC2C8dJKMpbk7KMWJTDrSY3Mrw6ObKTZq1Vi7VWRUerxdcxKbXEIoFVc6a9ZlrhosENhBfcofkpoyBuMfLnWlM8/ei5sd6xg34KcjfEb2cGI69WWJKYCNLqZ1SagHXvp+/kaT0twjAyQWB5OHYt+yBeBOBUL1MQ3o4kYTpD5tW2rz69MJAdOdpiA7osxPFJxuzs9SyHeSKWqR6eujZZ/t4rvImefMazpbGrJdwdYiEFP18KNXNB/sHsJ1kRYleDYiGvOEKk02YfBBYyflJkJ8g3pzbBtdUFqjfrPYdOlekDsJ+NAM68OB3QDjl4vFp+nfvjD/wrV/XkHvxja58ZrrmrRi7L8BDqsTh/vZbH1f1y/XvHQHzZ0jtuIuIsk6rEp2J52T3nyl2LUBAkvMZ2VR3rkeElyLnql2XOF+21NJ+uqKZ6MmaEuRJH3gM/KDQbJk0Meg5Oc51PNbgOCagYQ6h+v+L9RPaVa1tb000JBjrKTrbJU2BN8zF7h35TgUVddmE3yQ1DjsbfcDWT1gzHMmSfI8WEylS/ac2DGUpt5Oma4pjbkvVqW9H+tcXdDusM142Ov/4PhrKciR5KAP5EcMuLcJrvnn1SZ/9H6gH3M4IGoGqoMBKNam3XCJazFFckyrLSAbMhUDNMARjjKuXb7f7EqlT3P0RoAp+4Y8R2VcD4rIEvpLXcESwLhy+5Wks7gsfQWgA28GqQmSGoP2G/UAoAf6MxhQf3TezK4/6vY545rRowdeY/L5dlHDr9bFcI2099WU4ZM2y6c/4X0wL/25gFwtsxVGicW/xAark+m5nJXtHxzcjSUom7Q8kcROSTkyy0jR/9X1pKt8jT3J5p96krTKC6x9fOqZSJefEGxWhewF82iEx7KNR4IbR+LV1FFBnRGGv7jCj0NXQ3Mnj3YIWOIPrHty7w7vj1SALetLNGlDqbzOnGvRXjd/UURYM9l26DVt8ixkgX4achJrMMTFdNOWy8au7Drui1rWrx4GVtVT8nwIau8zBHMZd246Ix2mGOp5okvrWXNwm4UKCiaWYQzOGpFF3bv7+3MkVWziQJf8HOtsY4phMZ1im82en7Ls91guLMPmCHr3vUgG9BUFuy10WB4FieH+CEeW7W+IvkKKqr8iyPeWf88GGbjnYn354Qkmp3TXWeOarCEjqe4dNMIr1m4mlzJ/DXYc9GJzZJ5wHhFJqnZ4WP0GO/TA6700TMhQXxmySYwPDScPv76BiKo9lT+uBHM19d8ATGZcycjLTVzUr1+G3dbf/O0BZgHCZWprjdLkY7mJTIX/jiQe/wNcT8q7yovcKDcrrlse08mv2Rbbti9TxXUx+DNysIFpZFUi/5em/vms52aqIqAGw/j1CW+1n1yGxeMQhd4u8nLGB9k2ddbAZsA/U3rzU22NdR6sHSVUAsprXcAn7kIVN1WJxNCw2y2U46oSK/ekPPX7AZw+bVdbSlDiyfFdJRoO7iGDwlfOq2R+iuWaOwV0A47gc7PD05ArgDapYoGamAIap7fR+ZZLKb/0ayU+w4JviptH8iP15imd2TiyAC+VzTaEPjhadH4py+ssbGKbiuoVN5u6jxVojc4N5nRNQ1u0BevLvR3inLQqpz7WaOteuZs827fXsjyh8qljeasM2OTKpDpIJuhp+uqu4ibgf1NPVdrqmU7VT9BF2HIonxCejLJWapPUXIP7pVtG/4/KnwF9DBJL5l5OHZObXoPB8+gymPLi7t29fQ8HDU7owYl6B0wefs1ddU58WCgF6LTYzmK+ksWTNOnvw6voG9a3SJjbEoBgtFCMVr+sLpY/ureQCr/NFR3GCYFl5v0dLLrbWRQEHqbaTDluEZBNzaNth/uWBewI6E/eaxsEKRISjMwe2VoKM2TDq0STnifdtq2MvuNaNk8vG1IlCUVxKjOeAh/bzNd1bi+ZVUu3J+1okxYuzS0+veFVLmE4BWafhcg5giWZnZ1ePB0TgDlJVeeR1gDLjy7gmIxLqUK1FixB3jSRlPzZu2lsY4BNBtGPrsXfu95HNUhnrcKGZJFcTFG7caTGRBG4XcwVoFTjnD6wO2oR9U02w6LQYs1QyChfkuTngp/pqeny2mH4fJ3PLfkQG5cRtWo6z06yGt9be4g5vx0jswZMjVw6BXRznebPBNYweNUljAs3aXKmJCG51g4bQO/cAu73xR0a0sLqeq3Nbw9HLkCynQtK9e62J7oiJwkw3b7GK/NfcgVPdQMLFNck3DiI+1mI2FONjk49gU5NDRdjPyW7j9HfiJCFrRgWOswOZcK46SJo1U93IyGK2M1WI3QFaRGq7aJvSfOBndxja9MXs9JosdN199P/Gqwj2MeEjqBSntDIwU9BHtaz+crww+aiWpKMmgUoafLIhlx87tqyaGAYd4bhM92KdSN/lm94413tqVu+WagyPgqjlongpyC5bJZLLw7sxgy4+At1PQQLj6wWtmF+7SuF4HIDCIXda9aa+rZ5XCEf3GF03LfPDH3KOERW/RrKaTIxecbE93lFTXKo4wmVc9pO59zT4aeZQ/bXr8z37MBevGiSDykS+qcju2Q9wDdM8UFEqWDcU3PYwBzU0r07dSOiZP6CIpcwo1qKUl2iesu/OiLf37kG/LQwaqtxnH5VzBpIGtUUl7Z5KiEh7Tyu/66E/THUzJUAfn2h3nI0Zm9Z6ziyb6fXwLcdyCh+QWX2I2LbUPSZ5x+PJAJzqzhJtDyhbJ394JqZLFC7+CRM55UuvvzHnLFH0cC5kxjj3WcktdgMpn0RmV5zFJwQTzB3k/jAokipcrMgymez7SB9JBO0Wdut8nYz6pFP4Y5DmsoJGPm+f5+rLBnqp6e7rQSaXo1xkqWA3lYBDi6Azw2nEwlwgFTOS1HUj+Gh7RLzj67FzWSHe7eHeWGCrvZHqsQqA3h6Hu+ZpO/zxvA1X57am0gM67JknUZqZA+h5cS+Xwt3+510x3fRRa/MM0y1ymiBjKylcjDdxAF4k6whzZ8dkfqqNfe9s0rRJwxQ6HwTknDhf4rRyKg/7D+GoKJcMZp80nkJFe7qFWtUgDEEgRFo3WK+C4FmkdnBUh/TOg0HCeF6oht4ANkdWeg3wvReDEmz0BfAJdPpmO1c+o9ZVmL7BwGNjB4iAeOrQjPqDL+P441v6mjlExE32KmHobrvM76MTejnYjH4KgQc67Iwq6Re7L4WkPUudu7AS4YfvsJ55ykoN8LWu+5OAs0ATgLSaVXH9xLbS2Q/LluYY+CaFG2htns1wl47n5/wrziDj8+pP0F1KH6kobJdnx7YoludxvoKhpnJw7cmUgrbxgoeCTKBy5C4d9k1UBEZPK5xGIilbqdxpxgUoam02FupElRFOvCkFRVXBzLzwP5s8z6IwWe3yjZcrpvn6DZ3WzlO8DWYHXZ8gsvJmG7olPbhe5ZYO0b8oRAmwf2o5IBplrxxZQSu8AMuvM4cVA4xTMC9JMV7KcUcpuO77i5k2Ot4kjRsrJ/yA0OFHY5fVRV0PHAIobcw0GhAgJOSEGWP4XLkD+3HmcgpIJwZxaNWHlg8mD7ZfV7Q+h5GqrPomMUuCJH+0pB02EWpW/JzzC2N9u2NKRpHdSFDoEbJ+wTtZwrAiYVjXxBgSlV3Cy24oqEFKyrXmH+3fmRpW0SWGFGGzQEPL2JyGbof1kw1BzROLq11hk+t/YRObg9a6s34KBKlRxRDWpR6oU5wm047dMJfNG7HQH3FNFJr5m52/2nrHGhEjBANqlOS68kkroaVOZziadlqYLWxM8JlDyOsq1nU5R7szLrehsQVJBIgqi4CgIku8dwBlajrxMj+gAiIWzgYT6ZjwUOe+EA9QnzKw7Xm7Omzonilngp7RMxFQRraKwFXNJuZ3j3j48EZOYBcUPtTmxV+qLdNQvPUIyoIqYLjOZa5qoUUBGhE3TOhwTmePSojhq39Qm5eCCjQLkfZXh9rTiS+KqfpmZQ2Dnu1D3BIz/eX9B7tej0vLudR+Pp0ArWtLu3hbV0FNgOFMzP48wgP+6gPpTvtrgH5oT8wwxKBNxDRLvpXNYby8j7zfvtv6qbo/3gEUjyviBJGYwI1x1wCI90hAHyTHtzA6qEkNZhMVHllcg63Jg4SVppW9ZOcYXPgyJdYZGdFjn2KOWIgJ2GJayuMJiAJ4t+yLAqpnIdqFPjcmBzqHNRClyutDebZrggPGLVpsObwnshSjMqr7IY4YQJoOdil10r99IHJfu+bM1wu5OSyZjUypd4FxPI1U20j/Nc5qGXswrCpsKPveeTBMspgZ1nJsi5lge81WgS/gEOpQcqNWSjwAi1Q315C9z6jHEwA2qm1t2Dt+//2IUWpw5R2jqUSyX50TMjlqfdba6unYmznGXTisq24Vb2jKp23K8YZSK6UAr1rL5n25UICZnahtWfVytaN6o6Ly7YQNlOZ/aqb2R9Ml24NPX8dMaUbmswpxVq0oKhW690NIjqSbA5oN3duWMw+p9ya0UQiWz1T1Tfx0sVifLsKyS8BFrRIf0LdQBs2aYnKzavWZtGQmx3ajeJxq7PRPBb+yyq482vqIdwyJzHMAbeJMuP7lZSDeaBYXSqdBakbUwrLcqRiTp8vQLiAtiG8GFBjd36bysWdBorJKT3T2btAfci47D286QT4zsq8A6KIFwnluEsC0nE+438lVi23/l68hEAChYzAAMAjIXyXPz9obDADNUYPj+zO4xdgBEay7fxywLOF0xrHPouYZnEt3cS9rlulCS2vxSAT3T+N5THymVb3mDMuIccADe1sxSrXjq7BVn2vpv57ZMi2uOCScwNH3ToRrDsfec9MYAjyaeOGDIMb3cU0spIkLiU7jVE3Winp4XFIWEL3fuK/KDPI6MUe8Fu9XoKcFcXSUCNbRuRl/A1QmKOdy8TW4/qkJCqva0i7iwpECXAMjqm7CkaqXh6Svimz1ZOjuc5zJhgJ8fThXUqY5ufvJTUETUSB+egAanW514KfpfzMUGgOIVlg1Q6345D8RLjB78AMJPG1LprwiKfgvylSXZAgYmSE7/+Jov10JWlFbeNOipE5a17Ego+a4DRoH0oAUZi9BOwT7pmjMKZ1DP+AVpsHtW48h5dcpmicid34pinxYgj41gkUkgWN9SbW/54K1kGOc1xYXKuNVsbL+uTj0WPZkEY0M+Ydm4Kcas9AWw8pwzYdFeaoqpcCWeHQ40fd9Nst15IPfCkMYziICHzdw9dnDQfDN0Tw0hLiuz1gYxduHJcCTkVhwiZloAAQVYdZ/4CA2dZ419RSvdHbXKQVtYHLDHNekkQDTKsZUTnAYqqL/ZFygBvgtIQ+ivO24RUq5NQ6PbWW20Y1WNgb+ggpbB7Dj14zO/0haArvFUyjIrdFTZqylSd0rFmVcNHl7Re73sqAIFqu+5FtJt4fWS9SeRC5LPb/KOMsM4w4lVnHm7ULufBkMtQh6aSg5qTVGTD+9WcHU0WLOUze4APQdyFx+tUbA05PLxZR0BTgcagFCI+A3uYuj9K5X2K06NmWeeAqiOo4t/xvbt6Ka8hrM8YYDFeDM3G1d5f8G4jv9WpGLUE9UQ66maB/pqMDQ4bo1aRoAiul4IDSksrW1+RoyXeE83ny3fufywwZkO9fdCcKiYVou/dL5y0jk0lfLqLwLyDzeqW4X5+fFV555cxEISdnryVtSolJHNO9kh3jVIW4K5RnY7GNvsp4sTZSbZH/h9heOOxqr950u8sq1KK/aFqdFH+DT5AjO1Ykw8NfF1xejN8MLpqTvAVX9Oi7nYfwcZm1fOT3RxhDJ0jq+Fa/rlD4uJ2BCXhA+NJ+wIHC23aEw9i7ps5w9erXPX8bsejMritOVYGL8xkH870VTVoLs5Q3MF5z44jZU6Xyg+hykujWtSn4J1SqjNwZaJIm1nQsl+A02If0p/XBpWbeVwZOcQHqwGXHjVzYNrQ65PdbbPRsFtPrLGC7LHKkHgcln9AwVXjN7zAnDVnd5PX5u23iRkXOuHiHasU5/A8WoeDmYkADCDZUc7vjANVfPP2C7wZYvCuYmcmEjSSsucuNmA0IWxO6iniSRjaaf312olykSotg259UOKH0mJdwR5uCOWWogKA4O4kB2uXdvowEa98t/mWZzF3CQ9EDOg0a5/j35YaDNLK8q1SPErHU1FL+r+oxGOdPJEbJrQCzaSbv+StgEpgPX33zO6eVsZEVOKOBj27Y3GlqLlapXFxQCGWH4xe+2kpPG9SOZay7lfdPzOslYHSTn+ATArPEMGh7axYXkmLTW8SK+KTZ2Fe6JciyRA/vke59WlYpRXq2VcuI1yr1YbAaeYvJexV6PPLB9vhSmqQpKsx4Trzdq1EWmvgYnudSil4rsZ3VCHoVD6rLbweOKwmUIK6/YQ/dmljznRFAwYPX/2XGmrYwh5iIGmgSuQp3X+bQ0LxUaFsB5x4ogbqw+ZMT4/ddTJz+WSSOQmSdI5FYH6sHw3uRnBaLdBKIBfeRFiaLC33jsrqgjXAMipxeqI8WcgbHRipqxXG7/XkyF6yIolydspVl/kq93U1uOjaQn3iBEk6s0tfSNeHVNzru8QsKJPkOv1WdwGq3Ow6R/lHz1Dz9qYxxWVs8NUHwhQZ4SrTMxRdQ/7cRXH8YyU6II9ErJVJVlSHZgp+P352hqR6CaoNLNHxG45/cu0doJUWPlpZWs9tcTCXz0r/1phzYzJWrBI4/Xq2OLFMkwK3Eh0Qv0mKySq2eUgz8lU5ckh3nXmPjZ3tgO23K/1h6bOTBEg/0ofmUU7U2Ybgpq6wjPTgABTsa6ciaSV/3nvKzy0MqePmALSpH+gBzx1tEJLklNPB5kVZNSqZXrRHXb6nPkRb2JhiMJ8tk2vc6ave/WRV+4G3XKzhjMPNon1dam8V2tZ9hZhcRa3MCxsVEA2hMeBze++mW3SNf8plwbjCQpyEm9tQgQPW+OBDsGBUQlx3k0qV3eRqaPHJdz+D9nLyZbPRyrtRDXleX7FLRnwwNID/ANZ6a/+iL/6wpNJPw0MA9vI53Xh+/T+cDQ8MyM2JWo8M/EIteQgzrnSyExIela91bzS2Cq6CGUWl+hc/3pcwfXTLeZbDUINTng2vSJDUKHdnmKHZtlSTkkOB3pwb8peZ9UZj3AUgki0oxhervk6ECdJ7KjBEFAvkQO7zIY30uzWzoVSqg8crR8Q6S6u8np7Q2qCCwBZrBwCeVbkDc3jOgh+6UFjx/JVJ6tQ+MIQm9c7Hj974O6JaRHb5a2plPgtufP6xRDtGzoKBKiB9cb61OJwTenKPnymqQZkB/ZVLgaBLV7QQi9remxeJjQuDdDhRvouRhNdF3mIuFzXKJdQcmgjykeSD9kxwWxHBR9/vqdkTqlql9MDoCIW5nbSqYTJf3ptFKjABZSbH1SzaU71mJEABxy6S9eQxRSuClJeyOP5izo65pr3tueVmO+59cercSfoEhvW+vJ2W/578JleeU3eRY+yB/Bd1N/F0/CdgDluwDJ0kEm2XGraV2atdVgH/n8aKPzIvvms36nNskQzTTZYTc8MRfqP2QVrQ8A3aaeWinW6lnSXfPbzsc+7eiv7etopYr3oDlbsLTKv6gyhYhckerbbnwCYpwd4W1h3MoKS2UajVL32kJk8Y/dUH5Hzfo38lzGpdHEpFJS9ZngQYMJ7SZAMZ79g+gxWEbPi0MoEEaKh9frhXfiMKXlTE9kebnEhUSc1dY2lHaQsHQhPV32zHz+VoTkz8mk6fI8zzbpHdu+MJaB/XXk26OiDRY5NePBZ8DgLh/COEuavzb8egQqqjoVCC3hANCzCleVhk5yM647S/WST4NpjOENrXXHMLxoBwwxPto/tKSizHfjEqL0yknZJqL3SV/L+1XwgFEi6SqlpgNyjCTnYxmrKDYRhe3i5DBaVlPLNsOw1D1Zpw53jdPdkA4nkXf2iMs8uiTSU3bCsRijuaAKqknswt3h0Xgs6HCOoft9zfc6TDdHLMg6Zxp4ZnQtHwqwQvjcT36SMcfESa6+4fv11+zmL+m7fZZAVXuirqp3fGVrt5+tQkwyOklwZiARIKwuodJZIjntVmBSh3k/Rj+ja7gEO9FALdrF/qnWMvp1Tl5KcSqSqA4GSJlFg9k8UahEi7EZUFDSGe41XKZZMentv9aAZz0TJFAb0LvOyWjFb2lk5gDcdN9Zftyif85cS/34fSGRviOhSHKnUaqdxn8QHXHk0mD8Xu7C5IauokOUk778LeFXdZ9vsSrBZ2plLDZoHFX1ZTQMm8XHffmtN7mwCWD+0DJ6XoVVZoXcpawCaeZRVZAwVKeiYsVRQBoHaKi/uc2ymGLWGBi2GkVMao91F3ta2yISdI/up4R3KnHDS47Iv36S3TQEZh9+4GUlaRKDGBTpk2HZ2qIV2BzAdr7wa9v/4vbYIVmui2aGc+ZcS9zLrglfiavltVx8MTNwK7sxunrE3+O/RgkecIJmox+4JfiajB0hHqZtH8s7tfgqQf4aM8IpyyyYaoffCBAxT95f+2jRG04hWaGfeHVF0nr7FbAsNwTk3/ReR61EzoFGFTQiDsxSIqWbkZQZpn4FxICRn9ksw+TMnznUbzxMCbdWS5g9OuYX+6xozKwuw4N1LXB4oMtLajUXaOokxewOUdRXN5bnm33qHIGosQ1Dcph8f9UJ9Dfw4qFM0W9dCauhE3sbdbBZj4W/dosB0E10dZKBREoTk4xwkneXWJmPHpCl/7FQHwVkgkac1NNu/pwneKh17KUfIkk5KTpgDbDaAxRV3SW9WvItYORaNSfdQEzfJJSPjrjBS05eTCZVN4XO+EXXBuaL/9PsNUw3RLpMIPfGGyD6okCTS904oOOLN4ny/XC2/YbfcZZs0TtHzY8QF4Y9lX2a3WBd8XsxfMwVO5uPfloXiOXUvygNY35HXFtIrY97wCOaZIPt08wgwFq+g/p9EsebibN1ikUyP5/b+07rHDkpl1JvVwh/UA+hVUlUehthj1yaVrnIZZ2+hU1NHjDhNCLN9FpP5KZR4FyGFZiwWFJ1qrc5VeakvZSZRr0xaLcbnyDFJKkPD3MNaTW+yCUpHTHRtHnoAhaLaedAjT77J1jaJYydv+dGn/oXEDK6RaSPvX60MTZvMwtFUl4MeqS0HoxOPEKULaMVB2GljZB64UFi4I/NJGaekrEdCjrJi9iAcJSi/ZsHQEHhZYqXeDI0qLppoobs4OaCwUIB+u5tZBuyqgXs4PCevh2A7Mpf6VHjBTlfNpy/V30JyKG7YFtiOEhpSHPBbxy5AaOjEr6jLYxZ66XM88aELe6oO5bb4SY404ndUMW1xC27qvEr/Q2SGV5eJJQpjAEuTXPuWcOPj6sG/EBhm+BP5tJKkK1mnMDAE3sPEFRj7tEPfOa23XcEkXUYPolGd2+cstC+ONeBkDbMRk6ORtz0zjD5lxe+wJJUMn7x6Z0SP2N/kRrMXIIOCsKAAE77x/Sw7aqGm9Jtn8UL7snK/RtqVuAd1/VewNPR6/ZgdIJz/fHzCB6KGyZxdNAA355FIHzM28gp1IH6Ky5wAA+ki06VgaCd4cC8OkMADBC2Ab63d55gKeek0e2gz/n0LDz4AzPU2Y5rscjpeP2qO8lTLSK0gEMFP0OEWxz0KPtzdo2/BeriWdosL8ImgwNSMj0DNl6RMObyj18LUqBjF+qC5yzTp45nRSndCSrZv/YiWf7OPpStJddBXf0Dt8k/o8pE8nCH2Y4rAahuW3y4YW9IWwWaiFFRXkF8jEsk69KVKLAmKZanMIqd79dPE8du/Ev/itbma76PUc7WmpBULxX4Ka0fpqaid6YHgZVY4kDEmGWe4TXd4eYAt1Nnu7t6JvPUHTkaE9qnc5j2w2nI7fpVrPt864SvytN2OqFltv/LQ8HnEGxA6GB0qc73UUhO5thcTkAGYxN7aee9Nuzrbcfeor1jijbES1KZsU1L7at7OJiBQMjKjs1KHSV+JtWY9njGdN/VUT4OakCk7Tsl7N1Q95hzZNEEiaOhyJhAdL6kH0v6Dd3mx7u0zoLyg/65Hcq6F4E+ak44gLgiKLAZXDdVVnxqR/nRU1tgFcuEJFYlJIP9cf2OlOVYfw4MSWMV7gOy6bUriDU83im8RYOIvE5I0uBJFdhvMU+ce0rixYV4pIJjlg27MuLWY/W0JHysdgC82SbohTr6fLSt/GW0/xgPS5szDHChRljQ38aqcf5Kt1hcgzMp6OG3hmmSgP3q2oVgdfZnoOUcKK8EiidWxRlc/E2EUo97Kf8XuW2ZsvozcTnhXP6yzMhsh+i9so1Co30kf1zLnh/m50lkFBhP/i7umfdx3/MV/DLj3yH6k6q9dt9veczYdGB4sZLpz6wZLtqsAvptwZBpez9xa8mAlH/Uu1vAH7Gu82dccEqQmwRb9QBotNk9oHjJNNjgQQTXjd8We2YXDYtV1H/EjyhV/Qm/KF7Nf5+//SKPETgDPOogJsHBQHfQCAJNkZsAJ29JdCjszEzJfDXfuxiL4Y0S4xEsddGzQ8LXV3ccZFVrSW+UN1C/y5zxEh9frUmNpl4HwmHl6VnrrsTrTgShltk8db/kl1n57bkAuyMIgxSmNwXDinSH0eHFxmdz8tNo/WvEBFGgRLnNUcTWB0n1uYFjow/HKAIyO48eXfYr42j5DkiwiBKZE8WPJVmeZFmYH9ndXqwKevPj57ieenoNwCQzfk0rLSkq/oDMG7V6L5yuc9OFULjLAnlgbMJztv9z+VynzABvYOAwYJXKIDIqS3qTaPWDGRyvx01hCRcg9dr4jIOef+PJjTC2gt972A3McE9xZG0Axsi0X5lLdgUahf80c2p0ruvYRXCG68Qvqnuy9WXyLJBDUcMWylVj9OWJKPrxbUFlrHH3cQETof4XO4g/VXNKzeUoihl4SFCedLq3CmWpj5g7aQXNxFJtbAg4f6kilTs/1UWID8dNlV8qf1KmbPKrsMqdJ95+FUwqZ/uLJNRLsWC63eg0sjxgwcotUooxUPRRqtEh+c6frClsoIkZW/x8DkAqbbAZhwXXBLKNO937yjo/tM7Uy94fj6H8G1qYoe84jR/R2IjkPJSExpsiz047DRwRd8l2BPd3daNKvqyoTVAPBNlASGP0V7nMfR7x9Ek7hp7u/X8Eepl+dTaQl6Ifr83omucov+eXYSug/aCEbbP5bGZjh3sAfNZJtb3b0DZp232+4yQzzRvdR/0lNk6ZurqeyGchE5i1Uv0oiZ3FSb9WQQGvFbYatTOf64M9+l92pPXBmQnHu5J4yRM5hy8I1GM4Fhk/le8HRF/K6ZR0j4zp8K9ckWkONraPavjEETaCrDYgZl5seDU39TJK46dK2O8Dz3zDiB5XqkaUgA1aM33BKmC8MnT+QB1p43YgpDUwZ1i5MPRmvl7/2nn2WJdMYXkb/Nk6NHGqM+4wbKJh5Eu0H70+y6j4HxvX+zCS/xhPQoPQOVdnKX2MKRuLR7tqeHZ+Nd1rAn0F2LD/fYrLTCdDVU3uRgzfrLVOmMWIYiD5T3IBjFu5bxHz9FHq2QScx9AP9ka/zPMJBmJbwr1DOw3GK9Eqfp//je5BV4PSThnvsjigpwValxe40iLPatt02OnNyY1xWX/15aZdhahsoW1a/n6JIeEQBKWMTJYJLhQjuuScCVjI+aMvxr4x69sPKhU/ydunivNBLYuYXv2+1otSnH2n7PijrYolxy2EwpwqfheVUwNO8WZ9orJSzamL9TYjH+7Mw6LutczHjavBtlq6ntgBP/q5mkPrqjI5SUUFH3aCs2pa78cxaLp8oKFDzs4e8n7ri7G4QiiK8pZuCGoK5S7O8+jmj0rDzK42lTTl6tSlXiajc9fE3V9WVWwTc1MIiqUxlR4TvHrHkLL2p/W20kfPFC/qWSOG6io9zt2lRyJBwu4u5kSUHp24QAo8YBJ5QIsP6twwlzq+TUMf2+iOCrgGtw64DxW/JQ5X12UtlDavA3Jhjx+KYNGGMJRYFt0S7y5dwNT+aqZV9NqrJ6fpM3EY7o7Xyuyhhy1XcjsP5pwOqMbQAwxEQa98FhsrwPcGWBSTBeyBtPk1X/adPDI/6W/DqPKL0KBk9k5RFxSpRM/qkfIVFAq9BZ6tQlxnxN63uiJoOxsj4F6/Gb9IDcHZqzvSGKH0s1QaW1kFd0lgLxBzwoR80glRqiVYVqYrIBSgONGsevFTP32IL9O4F6iY/Hf6CYF7ErdrTa3xqCEs8GgGdmJQ3YG5W5b1xMI5nC0Z9Bu9bw+OuN+t8YfEXMJPCYdy/+QtvSgvXzejDAp8cqYag/B8Rwsx9HvVo0kVPgZ26uQfG0MB/FetuHqa3Hgqs6QE+uZ1MzrGaOJcj+r4F1gJckEsAqQEnjQVvY1RGq9+geYv96btFttJgqyQnvQPqYnwQrOsAzWy8MUG+Qbolmuxa+wF06fv7piJGTZMnSqdtoEuu9/bbl4WpRxM7ASn5nQaiJHxieaMzTAfVdvWMl8Ij3bgKm0GA8cR5a/MY1y3Ao7PnJ8/oYKkeaTJ32fEKsp2nlHDjXTIc5qQl10j+JmyG836iy3J1n6G17Zkqhh1rEFwSmBHR4aaQZv6GyN/3Ijybp7UwcGqj15Ar9o4sXfqbPmIzWeplhWLAKnUbqTsFL+x1FQZlr/Qoda82z4aNAR2k/sHk39CIR30uRBoDxgm3YRY/ETju4HicC1KX2h4NMPD17oQr2Fd5qK7bBQxZEOqSRtVRdy/cqTXIBzKiuGeA7+TjKvGYIvvOei5oUjOEHzO69k0VBzTW4xME9jJgWvwhmRviJ1TrzqPzLHJ28DiGwmh0vwe70tkiF62ZzhPA5ZeN/jVxLc/kOZL9L0iDCjQWsspVNq2EyCnjWMY/8ItxVnV6mM+1oPbRx8P50n/wRsK60elN5qhSnVvEYVMU8wRnWr/1RRpfkBrYrMF0v/QsGLEO0OLQBc2gXCconLAcaX+IHHnd6mwCTIS6BSZ67RmM9T+V2p0i7aPGMC+j7FLIEmaGpfRGskyDk+E+bw4x8dTr7HJxxr6Vvuyf7wJc8xuXm+8M6DAgsWtaYeZrqsWzRMK8QYcBEVOW1S7DSMFJ3kL64f5N9EpJkEZanfLSzlGboh0hPEY25tEAVl7eB0vVwYYFO7uSGxYqWyhQcH6VtYvMpSR3F2ylE11sm3YdIjJlURwGkKspZDR9j6OTTJTF7TGonO6PVh2JJzmwtWTx/Zjd/OFurfZvayxkDpnaJMIdg06a2qIZSLVHPdcZHhKZczbEPsiich7KRdjWLJhQzNBhhgA2rpwhcQyXA9ti8aXfIFXQNss8/wE2PumKcd47o1+9P5gf2kphE3Ra89Q/SGC6tpQVQskPLHkvhu1HlRqtD5tonKjFuv7H2wPG3Y2iSqhGREwjzon7+/DQYSEmlHTWE+qQjdtXG1a3GHTl7AoAjirhOZB5g+uTLBBE8KhKsui5v+kXQTU10CKbG+zFsd/eiPjZaF/FPuS6bdM0wSIOPACBA1Uz5GyYSGTqdJaHNZgli7YcICH+3LTW7xDGatsJpxr0xMZwfhOONNcoKX+s9oPw7YC2aYUA5hDI3DnlNVk/4tj8IK6WiZyNqiXddwpaIXKZdq78XdiiczjqL0O2ER37H6UrPmOekNXOV11+aYngHh0kzkDq7mgPDEYjRbM2fLSFJhCIM7ExDx4OtWuVvfgasc388GXGCyMCrYL4gpsPtB1kFFE6Q3leyz3pwZkikykIj4BJclxiPhj8HdiRKtnOnObvFWQGCP+ZZPUoEU4FDemlzBCn4irZwhWyOMtetI4I1kFeQzib46SUVo5iUq08i7spa8103j3sm72u2EacLU9FAb2+ortv/7TLYxllt8olyFznKbvX/TdSmcjYfOe9TyvOMDrQuNbUuEQk3I2XXFN90LjTJF28jdCfVsC86s+Kq/aNEaNdIqK76Nj5jQcsqzj2P7LUbIM3JJE/rRAr962tXQEXuSTJ0ZWQCITfFNYiUyKC1uiDFPbAA9ChQqx5ftorsueD3V4zUQCUAjsrQWBDiPULXbj/22+3zl5Fki9o2gQ7XSUhuU4JmHwR/S7l9OKWqvNAtq6xdehNs7NltyTIgvtmIbWWzv7ed7JFO+04qXgYA+oCtEcr7sEgYoYXTZpkQcPURZ0itgCBzHNWdIYhw7oS4d1aI017H+NNYn2ajAzgLr83hBSGWAQTqgFy/WrdFmF8mW6rZQU4VqsdXsxXBnB6YB3ch2QmzCNbgYkurJIhK64nCxT6XNyuoFaV8/SdW68EBgU18G8C4StMieejujY1/6Z6kLGFVrNVavFXdMnVGrjtsx1iumlDrmio7wZEWzRb8CsGEEknAONkwz17OimBR9ryolNLDFtCErz9u28vg4aVzqXSbqTaHqZ79SMjhsdu/keNbXla9FW/pZymiA98dsQNXdthxFCM3N3KIghXKLIojh87HSzb2Chzb/3Mi/h9jAbVrvVModKHn9v6OQU0ZmCfCv2giYymiXvpp2u1bWN+vxBY0mc/kFV4mUNEbKVfWtiq37Tc/t4m7dsiCFiOHw9bc8E0LZOb1tZ6wYTsbMMpj7Ao3SHd6Xo3JEhrvo52yuerp4bYKzc8LLZYtyNtb0gpItnwVvnUOEm5DVqXzkeZEV/17LFU6fYC8CJ+B/MFCeTJtO7pOXMrLhA9ezr7gLGrmKbGM/lPfkBwIvHKkDlha1mfi9sfJaSXAPFewRb6Wul0iQx8ft1qVeZ+9E0nFkCo4bMAIub8t4E5CKl0vMtJJAu1Nep/Tcuep1G572amt8bDnkcqaDJrGHMI5PGAD+dzEKsbCxE5RmmL4h+41NxY9++/E1hYqt7pW3CvYAyQViPsaGPQaiHt3tMwpTI431u1o5tKqYhtTPYQcy4Wf47WkQIazOTVnSkDtOCCLhkx4Eh3dJTXm8fis931bXkdLYI9XC6LuAP5Uu7rD7dw/vhnz7tbfIhu8md7gH9p8OV5+pFGaKcgJfVvuQ2FVU0mi7bQSVMiSVlXIpmYzZU3len99HjiU9AXWjqoRzcPcM0oThLX/aupYnOFnxVz0p91SfmfvwVz4yiRGjvtlXeR51vYOedI6mnPupx4eQmY67pKhgBQHBYSpdhb+hKWrGUW17bFqQURMrFcp2h6CKsOlPY34IWuvEPCd+mKwUTb1jn2YeQVlMO9UzyTnImjIY8Nmy1Ww4GGz1RMcg06epNBuySWOS1kUPRkFMrzKV51/meJNHHHU49CeUBG1XXe+PnsaZAJM3JgUpiVOVL4OjZeOVj37deWxl1hsKfCqwuojzVMUXVpfvfoJf553yk3kDeNNrx3S35DmcdmhQbMNcljAZ0qZpKeFazluFTFmB2BgbXFQ4YH4lJSLNPIQClfYrH4i9IfVL2jR4MGjIwc3J+reOnnzQ/QkVZYWNF4/sSmvwQeBxcek1l4wyEGMdIuPOW0v0yWKNILAw8ZYCGLGlB2qzPGoeFSGkm8TqqBILhLP62ZPG4KcX0F6g+Y+PLCfL2wqDK6tfczwgjoykTOIzkJ2bLgLPkQr2344x+7sSbgpbLCU6Kbxm3sJhGG6r/M8SCw1Hru4lBvpx0Mr1cCfZJvVFa/mVr+ssGMwuWlZaCIZulwFA1aWjdoKij+1V6m6oFmt7Vm0rXO3HYlsagrfLQTOo6QOUoLIl+/aozZo8tjPAQvzSifLy4zryN9f9r0calKIrVf6yX250EQgYckbg0LgMEgYRUsJC5XS2hcFfmjgnBw/reGzcFFTYWYnJP3PtMsHTbJpPn5TIRtGGceewHb4pVq4Dh2nY6doWM+E3A40JqIim4C0TdmjgamlZ7EzjwDeLKWn8ENQbojfV9PFXmHJji3nu9J881D1EX+D74Msc3RizLaW1Lz8wafWSKrC22m0mU1z/U8CMemxNGaeC+fZsrc3gIBc3eRbQShZ/wSOjW7x3+fgyEa632V2OuTs1JvP9pc3B31mglL4wHCeHMuSAUoFhG3ym46kpu6v1yh3GvZBfp8dOH+4Qgc+sYFweHrWguF1fJElh8ktntSmlduesY+7g8O8Qzle2bi3GmWaDCUD2RDa3bk2iBECCfWYonMr/M+tqQ2yKwd3YN/QKwrGbnaBLTAtv/shySNkvVRf26T++lUGSFrbYfKwKRVlqQH67Mq9weP1h4fZWwsGHEo/CjOFM2GQKkU0gfXb+8WAwW/CQaHqtIYK80irusuyCpOEiSO5v4XP6kdSr1dBZ5w3KC77rQlP3/3ZEo4rHurqddABhlkj1+Rx3TDkaMwxutJ0/Z/ky8f3o4G7fFt6QHnL9Ec7bF/Tdw5Ol6LWvAhkREAkvgwrXEG1awZvGtO4LKfEBqJ0X4rxe5en6M5xWFVVN/81dUwcpbla9htheuQBCOHPMoO4eBqmD5466lkB/h5jE/ksp7LUdn6ahZrE7YIYU+jPzotWc+C/mws5IvhENhncDpDaBrqBjRVEEMocqK/WdMl8VOvtU2ZGzfqiAfc0LKptqdeBzFba7D9UduD7zeZcrBx8pmIN8TILe1XzrQWlHsboSowmhvWUeHW5TARYAGE5ia/e3TKnsqR6xMyE0VestzBSobCzKMhr2O3eYq9DzQuZm8Swg9NYGa+msNdehH8yllCcaxsqAHaFCQwlxXmcmBTQXoKgrlIBj4GizVKn486RECdibmsmiAQQ6v+rUc7QQvmtvllvfTxvg9+NksS5iEylGuVZ1D7RPBAacd264erSDB8iKA525atXjj7Og3nrC32NHefkDsUX/GUFuWnk6kCoEO1VHs5dTJi1mDncAAOVZB9RPzeT10oRmLJSE8FRRwn92KZYA4S75JctD/jt//dZxdGFQf6EsQmCmAWso1AGkFSpIf+siNBB7nAX7EhmZsMc13cSSeeBZspOT59w75qEttis0g8VG6Jc++H9KmWkjAxL/bCzulcFC493dbYfO99xQJyBCc46Q75/XWwzN8zcpxEUAvs5Iyt2XNyzj6PiXRhmbpk/MNhT9JM/zBO54/B1d6V+auT58TzgjgBsCnD4Qia50N0xq1SOjcaujlNJ8W08QZc//d8jGI29PdaYlSmTpEl05sV0ljYO0mGN5kliiD8CIMw6Vniy/GiO5X9yAyBoMuVudpSFvq6O+OTvE46wzTdJDWC7nUlU9xhrU+85wZk2HHgvVqwE7lMHHXa3mUZ/ntCyqP9kjsmZ8ULe+0HMDN8KKIHsN5GUPnyyTLRA08OuOLt7bNX+FWAV+7nXi0DzcomYRFrU6AsWjORoXkgejxZmwAJ7Sr6NG7SQHqghDx7ZJebm6ot6t5Vr0BBb+yfE9T2yH+G10TFcCXYKfz4kblpkUMv9gyqAffLx5ePmbF3Cymlnu0G4YzQMGOmFduPzcztiaWcsvpxKthN02q+0AV4HgKBy/sQHIhXWFmAmYIkCjsnR/ti/JLtXMGSG7a+2WoM8ivCJIAVccmVQv6AmCc06cZqL/pl50jxn2/NGdxCVNUYvwpUpCi2c2P/nC3zagfeuy14e2BiNH0UX6n2TbiGiKRUPSabM9Pz39118J00yY8dumIxiFUOQbkgrCEJRApOD2tlmmL+Ool+ZYvFbA+eUkk9M21UvdJPTORM+7WZ89bW+koXSGf1MDwP8P65wNDLe7TkxztEpi47gRUbdo3vdJhaqKcwfkwRdVQ+6u0hWvMgPJUWMVHenXHx1jj+B+pPIJH8+yTQljiWhQcuzJ+los8Xn1sRTOMX6pMLgcfsdXRTLrRT42b0p6g2JwRevNIKZWOVGCE9CE+QyXHEzHJ2IwZg4//ryV147Avha4yJLeALfpct+giI/XfU2+GGBRnYDzrXPyhORjuFR8FVL60OF9yPgRpcHnOkYl8AobIcPyP9ejYH9x7gPnOAgKIPkrflplT2LebbKRMWKFWyvi5sr278mddTlZHYBsyhztEI52EmuSjB7Wjhlo4rAprwUAWETM36AZodCTXu2d857rD/NY+X6ZXf+gDYdMjtEU8tyvTHfXbPZNCwx6yVFPzxQ6k5MlOc9X9+oNIonjwmgm+IpCgANt6HZm/6aRa/Ewi42PUrVnh2u3ow3BI3eSKEpgROPp9vuYsZh6Z2dUNSkctNwcsid8H52xneSIuSWm/6G88QEBU09pKKIlWpIfoaEjQw+58IA0EsbKKJ1KWgAH7KHi+iXqwOxa3blrHhYjxBCoSvzQOG0RaaB0t7+PmOjir3Y2R++qj2mOmyi3Np15F71B20n7LiEek+RSX+GtC5DxP/bi9hCIl3S6LTQ82YQ079hC8X+p1wpt5Lu6rvY9YJGSAZ2Ahjzj49MFJvUSKlN/xVAD8Gp+AvUDxCKV595iLWpv6cHIRsmeAVQ+O11qAOelwiMTfphE+IcKZ9jvZijDOkl+chOInA3nwJ6f/1Qt65ddf2GjruZjYBOdk/Yh456uyqNS778wvuiRW+6RxyVJoHWbD7ZNeqxr9rJg6LxiVXkwwNdx+FieZ432rxdr/Wzrt7gmEHeCFU9TjsCI6S4Aebnr1L2QeB/mDnDSM37HuNZGpdjDJrSnTsjy3DlEeq2iawVhwQ7+o+KpU3rxoGVbZfPBXRDjlFKCLCiVHR8rlPBIOs/UJQA1ePJd2kUeRtkXnegd7GTcFqFjZHaxNVt+SXmuZzOTPvlvB5TKHNKY6pbGb/whj8laiVxp2vw38JLdCIn4aZe8Ymnf6aYJrw1a3RsNtJ75hrKwyxYCcJq5Urw+s+5pNZM1FgwYpzFVgiKom0HE2dauuKBpv+mw0WHU1BqE9bFBTE7CzIIDUx7/NPWSl+EAArvxYLc+gHbl4YH9g3Y/62UlIat4ZUuMBc6VGINGp0OzzurCKQsHf4pJYyeHvvnVWTkadTAX9xssmXht67L11pNjdHguYwKNYoS5/MzPiZ4IBset82glrSIQ5uo+LCmx3TlteOys2AApM1mE1Y6lHAL78Rmg3d4xanp81Cyf8eUm77nEjlvOEHT0GJ5NRc1KSp14QWgU7/ccg61XhK+ajWYE5Mou+hYc20lKMrn48fSUafk1kqDcqcxToyreFIdc3xY3dhJ280LHbEdd76LUqFU58PEsnf1H6Rr1fI9WPyI9Vnb1ULQjXbk3y9V6ZwYCBb2jhBvDexkUSI/43iys6psKviSWaPYdL4hBXdTVVlpeXxLCi25xW0KTBQhh8UAu36uCGFm1KpHSI68+vV26Af0McZjDdPcJ/7fHAaoW/51KEGCtmTwrWm/CjDCUb26xAOXDs6huTeDG5CmgezwImPTPXMgXHfmuwYjKM5cOJjGD3tv/nnOMlrcx+pTx5KzyXAz1fZjmb5Vil/C/o2PRiBRkTA1iafYI3q5/+9cQspc2uMtM78T3FwPP5OvM5Yx7W01/rQbfQfp/C5UFrt57kalk/W0h/U2HsiAdlF/Kb5GsrVF1oPoj6yuJ8dkYfds2nAQ2X+AD/8DWZ4Ec37dHW4tgVoU54Yjz8PduBNy8AIh161yfxLNQnXDcNpJVGAIQ9ZsxEQpuzcr8HGTajA0q35s7p/G0eoxyaHun7f1SqinARI+7+hvFn8wKPNOli7luFyJ/rGnqlO9rxJzO/Sj5nM/83WDShiCk3XassSc26CVLjrMalSKE4L/On7c42E6fdyiBw4S5APAA+J+cTzINo6GGikWlkxzAKtiD5Xm57rsmt2RNIZ//THgt1gemy/ztA6HklL2RC9tJT6Y/yIAKHer6HK5Tt+VgeWJ5F7y31TNkexeYX0mSyi+kDFvnbdHUMRn+LqnuL1s+Fv0Ly1ni7o8QJlMTeynwvAPXdYp+jncR5fl+M4WjXSKQCRWTe6EnrgVD3MYkU7C5Y0T/5tgivT9/G+gVpKr7ZZAHYuLpbJ8gyw0Lf2IZz9pOUt2pgcddd5WqHh3uVjNk/PEKnQfo6PQLrjapYf9mQgHKm3v77RbcyNMIGfStspTGUIjHUZjJqhjLIuHvQ8GtM+oprPbwpooTIQauqxNU1dCR8AyPfFxawoCaTPZsvyzA+RWnxqjh/NfD9pwqgrC6oUPqtQl4hxvXYWkJt4hb/xK9AYqZYLj+Lug0gV+CoFsmNtAtrYg5B7kXJ885wJB0gHDStsO4eupEMQBkuh7mMjs5T2y4E9osiYuuyjVwkfqA5iO8nrFLjJJ8XClc9IkRhvkxYcNfhJXxMIZ1KyDKLrEpUpeXHkaY/mkRyA2p+Bo57ZJawj/PkXevFEtNqtiWuk7DVq76mN3JrYlYqaEjJ2m6NXbFHYyN7Z7TZdxvXxQzlqqVfFmsg/kNRWBXk2y28Ld+7Ge2cdDv5qoxAg/yPylU/nG05NUcMyFaehbYysLpkw6o9AV5QyAm7uwrfj5Abf/bXo8AaWOGdHGocIA9OuLrHdLC1Vh6LkOiJLz9ELSSfcmEl0HXFYCdjGS2AHYsh6f9hU3YAiKR0QCtYxqMUMZFAqkiP76ccII8JsT6wQridm1khDuk3EP3pgoE96wZQ8iYChxGJKcCEg4MUCtgdCfHuqArps7s7wF73wsu3q6Lor90LcCtQvAyRJ6vGVeobVyQM7zU5LVX/3ZvouWulbiadPELe4HibMEJGsF+3M0m+XFK1fpb5IY9QUwbo2voJZSCkBtuqyzF7BU5k3vNK2YELB1RdlC9EvNLsacxLFprZSrSmkvHNj6btc3iWNPCU1pTw5Y7YeDQ9zktauvL5AmjZIEb6MxO7ZQETxGs46nTWBJuwON6AoIVAdCIwdB64coGf4rS7o+gpUBJZUUFlz7aWLkm8FFPbo5N/AnldcCvVE4j8T5FLBbY3nFIZ8v6UCv4OnHshVtcxJ6nZtCXSPlZ3LNF27Ipj9L6xgm8XUh6y1P4OKwrWPeYWOkg6Tp5JihhBsKWTd8cZikX8viCaXtkgAAbzydGdI0aZdWVMEK9Duh4jm6epSEkgsU/uJUO93fadmawtxXtfL7LY3a6Q6dEql/T3bPc6z8YSX/6ygCy7OC6j8sPL4lrFBrTR8e+JWTaKhgQ7+fWqjg/qySNlS1WSFQ4bgRZSlWeNw1pb19pQ6Pu6hZKqDKcu3FRJAKi7vpetknP5jXLdTJnyzf5ISbf8qwnQAXLMpe+oUt4Z6tBt85dMi5jnkrDDKenWfH5kGPJ8Qp04U2rMr5ioVcbkBe2jS19c2ts40usnI3x/hTWx7ODbZOv/DPaI2hxgPsWSNRunr+v6YeX+QlI+cFL0u/Fv3AW8bFqwDUJJpJkLMNF/HziskAo6boznzwL8KqPQrR+ccPpq58sHPYAzacni+CuViEHD9NOUiZMAJ5BCD74lp6JKX9u1VYu54mnUETS5YMwCIBL7D5V0Y8t/sBNbdDvxSY7AERQ5HOwx658mWfhp58jogww5QC6NaznDFsKdiQNC6ltNiHYtRVcTsH2xPu1MieG71OSRFrCzEvgJwz8A1dalENs2wK/LLTsfNNCJCbZvt2lKprD0IjqLpa7ARXNkwvijo2Wal7dM+hUL4HDsXwz/vsADC4glSzAMd5raQBJXVkU8GHwmiQE6PtpMrTezj/iXbzroQXa4nqrAyEpLJP6pZOcAJpbW3SSJf6vY34sYlItYSK9DXwtvBWwdyV3YAUfXuwkTuz8AOhd5d5ah5n/939i4FqVsOk4wFNOh2GQgt7HE/x+Amf6pbGagODCkw0HTtxgbQ4b+2Y+vxyZjhc2sQuTWV/9VxmNRvUUHUNAf76U216BbD6XiVf9vcvEWh/SfndWYJRl4tRbppBVb22T5Zx5gbiSktQwUsDUvIBLtc/K9OiR1UEF7tLOeHr6mFTOQ6NcC3uaUZn06oGfRwoPmxF9vec30tqbtot2mOcM8am+8rlOLVygLShv4/PTSj326/2cMA2q3ceaAqYRQA/g3kterircGWCChAKEzQyhkxe/Fq76hFXnKlsRuOlmOmF4eCgNckVsAx+zaG4vm0yxmgCO2L43NQzKqIa3uSU8IK96a5jrTq0+X0g9yU0asPRmY/yPuPcFX9jrFlnKe6vUqcnYPxgYbDfZtAxcivr22fUauw691TBDsvYXTdK74Ck60NZs+nPWqVk5tSnC3yRS0SrwHXW7Cq9UsVwl7jUT5F9tftNlu3uktjnmOndksrkJ5jmWvySTzX4jreodlKNMd5r+qL1zqm9BYk060702NWrHaC/IUyMB7AeduydXmPPSKEn/DauWaKsVc0ndO9W/xew82twbNOAEhCJn3cpaWuzmsfumoarO7JuR6XGWKzS4JIukiGcKK5Ond/7FSiJIqLxsJpntEgXQEZqqkkLSd7d7SM+8TFgVoezTOvh8SiedKBmZex5sw6Q0wurKxI/yzKGV8QBpWzIfteKFZR2bNcOk6tWAVa/kk2hV8RrDsljvsd00IcLdenXwwLfhDobrwpT8EA5+Qg9c/0uJria30k0Pdd16s4hLTuku5yRa+/mLexsHrRtdGyimHSCSAZ1RI1pdvsBoos0v3idjB4KqrvvnkoAEP/X4W06WATseO5JqsabjKMgiXuY9s6wcZqKRDhmftJoMCPys1dBzg0AzWPdn/PwTlPPMl/M8PQXRyIZH0mFaIXu13RvdSpARLG1VBuu9u3iWGCXOzXS7mD39PTnI4i/C6QbkqfB9YDJB/ovy+I+bR8mfL0EfhTxgeyJtHQtOZ1jwraYaZBySuqPAW/wrD5bLaUeS2839IxIkiZFVLLGRcGkNfSFRw3KveoLHNFpPuOiE6uzIVjgmnoXg53g4mkUoERnLx3zPEIb4LzBxMHMXMbLuH1iRDWLsAxJFu2kgqnsloOQHNI/zlkhXfGW3hpcyfuqBLEJvnLwIR7gE6enBVvYOrYe47JOSUFulI+0/Qi9cDHj88Ntv8Wia2p9DWw/yWogOIv+2frTtkSP9iZ2Wb7cvnK3Fa1NpSJcrKqefey76LUaU1cD59gCoNB1Fk38eUb7OBEM6AqBxAYZZOt01U5KqBbaCZSkUEyiGMpvXBx2O1GBaalAQuofgLuQdvYoaomeQS5rozhL2f9fkBkbwEu1SXs/srMpOVmd+JN+7bv0c1jS2E3aMigunAxNLK3HBaGlOkssW9YHsOwyp7ZuEXyOASgi98b4ytl5qIxM4IJ8Zn4O+gxvylWKjw9uJYC7GRRJveqQwDk8xViMOLpLiCPCm/S38FhsQm91KTIcLTQuIM43Zawu7FbyFVSZyvSe5oCxHR1o9pKLn31/65nCwgY9GvT9GiMapd34lWmRhfZeSrRuKI8b+fB5+HX45FPtxfWxYork+HBMy/N3IkBati3gay3mVD5llL5xpZCpGUVlyiPOjkS5B0kdgZQT8ctPYH8J38KWeoKS6vGSxYnBG8wZ0bWdWWzIyAKMAx3oDamafIChrvO9cRVa9ieDijLodt/oNfobET7p6RCQP4cbBxOka2gGz1h9UheC3lkhtJR7GgNv2Sra8Fx99nv5weKRtcGt75TEA44nPAjjdKvdgIROZRB4cE0i5OsMNVPMXdM4hX+1D3qRZ3WRhDzZ4IhKGXKcQjKblBsHgd7bFBA7V5a2ll58QwS1g9w87HbKQ8Q0CYICibJHCknFp2Z0YhmEDji+Su3iuL8XkyKxsrT6CeQhICu8bqCpEXq0tbWorRS4gr6tmW+Xl3i3C+bNdEYYPniIFbtYSG7Qv87uOYBYY6kwA+6NUEF/5L2pMjT3JZ3aib5bslWZz9Jk9tvU+LaW3VGVR8mLCmLYi9BkVrFkj05KqArdqxk6+6dT5iSbILS/tLwdYLm4TJ6cmyDw0k9TjJ2bSup+2jZcWUPSQ+MWAFRk4WTV3lPDTTudhet2fo0DmPFdPoB9LZHExEgKuoPn+SWZNr4vL2HHu1gRjWa8f2bUyY2xkCkdfFeDkt7zz4139HL0U+4pxDgQqEQxh8a1oq1VZJhKowR6F9izX4hVd8HLtxk24CIRlK/Lte3ARA+SHQmUNEmNkQKBYRORghL73+lbNB4AvoPB8NNEPiorkMOy9BtWa6tNU+5yjkXBl4xJK4LtUU/tprJCt3VfxdO9ydufMLBiUdzFA5fzz2JV7tbXlwuhWf6a8X7Gp/b/2tCdTSiwMK9/ZKzOlzCMuSfv9FA/Wm93OIiMWod9+DTO34Vbzgygt3iqgp63CWg0uLlQ1M2dplWKdsIkZTqcE6beQcWgGe/ZRlcownTSNU9ci5tNjUPudf9CM/rhTWMOSrgSNW7onAzDFELKgcgDGfSvMB7QH/rNpaBOum4JksX5j8aTWZn6PKqD4gqQ2eCXZcWo7PRGPDZYTKtbI2VQKUXfZMziFjkUHplmZLU9mXFspFsTy9lAqh3hhVmJqmLsKE51loXIrXquiBCvadwi69uL6kdxwSfYbvEbfqI1+kZgq1niupwkIO+dyj9s3hlE6tB+Sy5FVq8Ywx/vOaTPM+VkCy6sMg0rwy+ID1ujQ9TpIWeTAB3+b4t0DAzqzytLrb9jK6lLAWhWhC/W1b5fZ9uEzTPm5qjaYA6wPWmOweNfGQQGT8EMoTazeR479YJKFN0mjwhtQ7CJZ3P9JKzFya98V+NPck0PsCg0I9QMHpjt4N5w8SE/xauDxUUvWNgm1hKepN1ntn8l4CvX3K24kNos33F0BVWIYb/rXzQYeyZv0FOhNGecpVfY1nPhXkrTX7XZFKjgJ8tSjgnG/MHWalEGMGSeJr4wmxe+xtXnu+EsJ908bKFTd7KeZWr981KTZ9Jxd/H4GfOwRZABS35vd3t+jUQSiZRRDYNjVPxpXyUThSEDTkwRT0lf55uyHAIROUkGmUUQrn1vCUEX5b2rYWDihmEssY6zEdbbyny3xYGWeoGsroOkH2tVav7ZqUsc/XbFj88cC4B0mNPgiHT1TgINgaBXjIwK4DWMc/zDniwRXBz4ZIkD20Y1aCZ6dqS8NzABpEg6yMJ0et09vuGV/6v/V4TNtuuut3qba/d99Gb14ttFj4XVZMuHIZHKPG0bnp4Jfte40uAdR+E/NOOUM/931h94t/I3uCSOYDWQhMmMoyYvzMT3bGzkiVJqmpDp4uwfB8R98rYSJL29upC/Jx83GJM7o/9v2GmAfyb0DHOOTPG1Du0Dk2nC/0DCan6AWDJS5yGBjR4KyxJqbWhem+TqRUqsoAgoEy0i7TWZ/ayl4ucH31PFRZNgvBL3lMb2fncw2vdPqfM3lv6+YemspKrQjU5zvL1tDuu2vrY7ivhRyYXIfn+S5+kNx7x+WZdFKA5t79d1jnexpOAhVy3Gu9DrdlM6W2KtPg+J5UEQWGd/Pq1n2ZgAaa7M0V11oeTkN1LGk3QW5aQwGEM1u8iW8ntzr0Km2E8RjKFHO/7984ITUByWcjkloB9C4QR+oytGvbveD3lJjJkaIGW5KDLkCubL9JvY5mCgqFziwEmHHQYDYHxnkAroIRO7QzLdzwQh6anBL2cCHVsyliHnPt/jLaFKtHQLI3l0q0Yo5xeqnThLoXrynmfvjm0A76Jc1+lO4rWrsT+T2WPnwmBln8tSA5NfBLWeXTsJVja/OxldomEOYFr12ga7D+6HspeBuwk7sTBSsBQrKpnmsAOVg2ysJlIf9FA92xTeus34J4L8yCsW/jYntsq1C+u3ClYKCMBvizJ8Hv7rL7gGK9mieWj+0U2L+sGCjg7pxxcWWhV9zYXa+YbQvHmtB/OPJ5x80OSw6DzsTOffcJQJKelYS/9/gJOMnyV58jmm1AwAuWeKEsuJ+1SjCetESGVCcLQYp+ys6lne0/8DHPsF3JUAllWMdVLnI7Xw9jQtpkXijcsTdILZ11tD5rdP3A6ZxPVYvcEPwlmeUufuy9CJB9blUUQ2op/fjKK3lAKL+r+4uQ7OZc7TG2el9dP8YIxwqpEHF6Dq0yn3heDc6mFpQRBf3OwZzRAUGmSLSr3BRsQzzzjChPpF2W9htbqPYupugU4VfS4t0D/FOW9yUhUzs8ua1NbhlfEpkQAbP3Y6NOvKlHMxqIpOhp5lsDV5VNn6A9vKxJwnvznoQAMkY+s+KXgYh0Hu5n7uc/SodCjHvZ9AaXBJeTDbeh3rJeNkec9gYOT7L+O+XVZuv3neTi2+52K967VAfz7RMxmawewyd3L93514DXATLlB9MVWG1J76WY0JVOACfNFVUOZn3BB3RfkzXTyk/+H56VUsLhXfA/CO9FnCfDZ0PXL17v9Vm9gTpJwazqVOkTotvcY3puzxMZmJ7InHDbnfKF1P6Hm8uqNJUSHO0t917rjhyiqDojow1HgJagvfG3Xh9XWeuyQPhHOwW3TNqj1vuc9TFuLgsQEXr2UBi/Hjs6WvJw5CatIohSoxBG1+jIaa3+Nu6RvHDtQ2Sv1Jl48MeU3VrpzhJ2xPOhgNfrOy+YWgm3nlbq/RzJEsh5UPsqJgMXWb8rR3ukFTgszLcp7/NWGelhEHaSBo2VW/w1WXKmPRw4iBZAw2+49kcB7g6TMhmqKjYzaayhgA5xa8H5TAJmbAECuKqZxDNM6F1+E4jg9tWXBV7a38/OQQglJ1xim7g/xwPlKEC2hWp5qalPMF2+LIdluc0RwixjhZV9TQRrCrh00j70QTlv7bdLynR7K42BuXvGo9/KSMs0D1FJCbIBDAN4dCL9uZ25bm1LQshSCXTB5/IzdObQTHJYCwE68sR9K6bsGAYLDCcH//JRukLVb1+nrw0i7JU+cTfCNibVN0Y/LYZMzAMlONnjCYx3r81STOx1OtTDG+6KyLY0fDVe7l4WZOvZesm6gY1vs8jkj/u6ETZFE7D4Gzj2PxEh3UOXUSGEDCLYxrzPmwa4swfxaJa3cGw5LJ+78A+Q9IcOwWedOl68itJUYG0cUxM3o0daSX1ntfEWUHWAGqbEk/EaAggpOxIDSo6t6fqYwKwP3gdmH8niXlxM5bEytLPV1kA2fGpnftgfNr5bRzUxLa8AmxQkm0qjOJjolZRfNb94Hl3YthQtuNJeUBvYqth5YZrnWS9gFE6k3pi4qWLgWo97eM/XapCr6uO53YSRKbCqec09WsLCQQfLkXFrT7WPE84iNVG4AOFyGe/Er8r5shtubSU+B56cGp4xYwya9I81l9N1u+BLefVumBssIBstiIXRioGJ5PCn3LXeTfvcrvP1UvAD2VLnsgL7V705rxnwKQ8QpingM9aHB14fuAqkf1WQE3xPwfHP4TyU0wWl8lv7YelL0De9t2q2iDHUChcAU3J/pjD2a6+iFO5V3o9FRecEwBscYtf6vypGIGIDNTRL0IB+ZAMgFRa/Gs0pF7eXJJnhuaAWn+6UH2aeFirYS8mQs91NFDxpBC79eTMetY38srHa0ghs1beEtIlKUk93pRP9JeAVVkhN/B71MrW0DmtVLP8Dt4siNQJ4cJo7BwMqDEIfFtTIQpmPwcaEvaSCeGwvDI/0q82BHsxrmRF9MQXMWPB/I3aJb+cZW8OEx23UnFoIuSDsKyWCoYOlGdWFFAgtbBhgMt7p28cP/HuFh2juLthtAybOOROFBs6e64vdy7U0xnnCayr/MHdbrx/T2T5b/71jjE9DseFmAa+P7s9V+QvoYTG/vf3o60iZCflAyg/IUqRmYsf6Yj3bbA+zFxwVqUsPPoWZixTHtw/Pn1ZR0F8k1iLXOMpwFS3r2wS99uH84Zfif8k+b/HLVffb8R/h7JdV+NhkO6/2qI5rkcF4XHs9SL72muMyfUsGx73/unLh64jZfDy2F88rPa0cIS4zkFik6UV4mI40GWcnj5QIMWKjBOfb7YoReriQe9mURobObkL2pSPB4ctJ6miFlCie5DOgq8joVQwtAvBwltRYwIQ+QQ67QLBV/MVGktG7kOLHvINcpVKBpqIuOQ+R5Fcbvos6JRaL6AssqnK3Y16qELef8XTFNX6RfZ3kYyx3XHolVrw8kXfAL5U6lcMeVpH/k/97zeIPNgG/g4YO4ETULfGVrkxyhkbQ5FJLJ/6xqfiirT78dSU6cyWelxZ4Vk9F/Fg6Wv3TpAjUzMe5/mrwXY/mjB/jZ9ocICyHAiK5Hq2EKqMh4GG3RtBEG2I5ElsOhY7VLjePc5nze/GsyhBaOjHvyNziC/wgCMx8ykVp8igQU2OFzzEDou2CSxGugenokI+U802x0XcS3i0nK9rF1RJox3Wp6Lp6CsLwv9wVUhbEk19ZRdSe4OdQjZgIpenqAZmOzqGYSJQkFIRZAK2X9Lv0SUd/lb8X2lDJMZAqp6utRbOcCdcS49RmqaVFgK6LR91zpebeAlr43x6PbQTl+MoB8BQSG8VRqSZ4AdT8ILkHEm56z31f+87hSp8BQdYX5zxM39kMTUTWYbyJUIIhrVymlH59pslSDBSkVCqufWciV9zQRDT9w5VLG2XOIi8jRDMgW9b0pHr8gBvT9Qysl1MjZgtMJZ0P0NvjAdAy7KLr0PaMkwaOLqjr1PwV3WiBcxjOLqnGnoXJLLIRUrOVRn7EmVpxmoxmOzWczfxVE3BkGpeov9S7eoVV1YJ6kh8JLKZKYdidbvoQtNIIYtE3OU+orjbl76bPHpOjwOjBHgM0z1QIao51t50mIVPxczcCGQYYd5lIDyZN1kUfRAB3w+C2qmRshpTuJk1yqV0VmT2rxF1mDeqenvAP2bxV6/2a3/ylJNrk4C7Lr616BtOok2Pd2RtJvvbCUJZ+g/B3yWNuKD7blxuO6srCRe7RCz9jYv1ARbrsWhQLMD4ReaiZ5ZXhmlgdcFYBA1QituxHzc9eZK72LZaT+uNKlV8Aa4xwQRNepLe2hHScYzvVg4w7pyxm6gSfFIUWSEQMo3ueqB6/rZSLIRHHSiojAc7cfBwFCpAJ0sHMqNUcClReHOlZAhJJ0Pb3vQrg1wjoZdVc+AF9hONouwbPlpQuJgXf8JdmiUueAeZ9avZbIzEFPQhuh2KRsROCE9h+DbhUBiWztJ+r7VhPjSdryryNcydsriOeNICmDrrE80PAyNv+iPF+3B60WczxHXvkm0jrhRGUk7NGlr20GrgZBqokiFi1ojLAk2TIISybB5tvv7jYH8uz0OmAuiHhdWqeiT9BfOQ829bG/9iv/NrPy+Tf8Qs4El3ieklu1qEjht1CVO0M/PM49t8wmwJ+UDyzUN6SgyI6D2xJFlnefVmZy9BGwdhnhZK14oyhuQFqc2Z7TyDj79rokbmsYb0TpQUGTAeR/Ax2Z81uGnlcy48SnU05sv3LkwmuJCkNkQwQaYE4LrrWhv9jP60XezVSN+pkQJnMpTnSR0jNuN08idP1yKHzCftCjtJVxcm4M04h20pP1HUV5ooB3WyeY4sXXi05VeaxPzdA9Yt3S6LdXrsylBex2e6lnkHrK22Oa4XQeE81de2NtjrS2sEOkzOaVMcRmMfjJ83Em3zKsgrsc2AOAI5/QACD6csvuDkW1EpMcJzmzsHdKs3N3PJQpXAdOxti2vJjhbQPXGWs0oASn503h9hlrfUJMhDiVgFsW9zwu+566yysucacD6MrMrihsDlpp66MP8dl+jxpsizhtfVov/vWX0eJ6euUYIUPOf+X1JK0x4KIEfmJyd9MphA5b9Heq5WkZQx80GMITwHfpst9l4rDY/zZmmxE2GlNz1CMhRfJQ0LMUqb5atYVtjF1rK9WCA8EbS3pZOlA7fkUDJoiS+pV/5G9ToiBLsPp1MG6Y++oER08lKnK1l7lGh95dN+FaLqWagRmfaR4FYTDT8FvZ/LCwJTmEiNIOCuIMhOINU4Whi5TxR/WoTDOWe29Yxt8AgdMlK7arhh8xorQFYwYt4j9yF7qPD6rkyab+PYupSVR0hUnMCQi5nySmoTNiQ51sRAoME6HAtAMZOWy1EfZU3NZZ+10YOgOiHwSj6atD1UNz+YX4JNb/7coyy1d4AKM03fKStd/5y5WhMnhcCGxqob2SiCogYGOAF1dISYgVHYCcDpLQ5/4RZxvT9HPTOEgZyGyaIf2SAJ3AiRReAI4PIE7RTUW4S7F72yrvFdo5W97IO++JrpSEkvHnx" title="Mekko Graphics Chart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582675" y="1978660"/>
            <a:ext cx="8232140" cy="4879340"/>
          </a:xfrm>
          <a:prstGeom prst="rect">
            <a:avLst/>
          </a:prstGeom>
          <a:blipFill>
            <a:blip r:embed="rId8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irline Delays 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57200" y="1295400"/>
            <a:ext cx="8229600" cy="685800"/>
          </a:xfrm>
        </p:spPr>
        <p:txBody>
          <a:bodyPr>
            <a:normAutofit/>
          </a:bodyPr>
          <a:lstStyle/>
          <a:p>
            <a:r>
              <a:rPr lang="en-US" dirty="0"/>
              <a:t>Asian airlines have both the best and worst performance among the largest carriers in percentage of delayed flights and length of delay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57200" y="6512926"/>
            <a:ext cx="511973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Source: FlightStats April 2015</a:t>
            </a:r>
          </a:p>
        </p:txBody>
      </p:sp>
    </p:spTree>
    <p:extLst>
      <p:ext uri="{BB962C8B-B14F-4D97-AF65-F5344CB8AC3E}">
        <p14:creationId xmlns:p14="http://schemas.microsoft.com/office/powerpoint/2010/main" val="11805625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le Financial Trends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57200" y="1295400"/>
            <a:ext cx="8229600" cy="685800"/>
          </a:xfrm>
        </p:spPr>
        <p:txBody>
          <a:bodyPr>
            <a:noAutofit/>
          </a:bodyPr>
          <a:lstStyle/>
          <a:p>
            <a:r>
              <a:rPr lang="en-US" dirty="0"/>
              <a:t>SG&amp;A and R&amp;D costs are growing faster than revenue.</a:t>
            </a:r>
          </a:p>
        </p:txBody>
      </p:sp>
      <p:sp>
        <p:nvSpPr>
          <p:cNvPr id="2" name="Rectangle 1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DFiQHjCqdL1bAIku2Rw+/elpsbhxpGORWsyShyRL/tWmsIuTsDj15mcBBC6rxNi02vfR74RCA/dpvKGhZx65o8NBifwAIyG42OhL5lITUdwqdTLUvo9ApOg6ILbIotmZrLEEtzaixGAmJq2dDU/ShbIw5E+NzxCKw1Tl2BcETmP/k9l168EhccQy58wiI0V1TQSgXjCMuryhzu1gL/Zmtnuikqb23VmaqhejmwQ/8XaoIr3yVarc7IBs4hxTGXbzXIcRrbL6NbY9eXLFDTFQe+5mswvE3pIAPvwzakNVHqdwSK56LYfM5hXyosy1DOA3CQ2jPIJeR6CsBmzk+OZ3rkAkaL+kw6fDkq0tM9yr3csa+3DkpHVKchP1ROBFHLYXj4J2h9txOWDqAEK6Qf05YbH7D/qbmnzYFvypqDgVXecNqWZlKieKhPsKuabRNPtfaQWKhGZgXMoyxTQRDRVnZEToSU7XNOd+GqR4WGgb4CCRJjQMcPkF2yEh+zGllckIU1eKuVhr0pVAAVewTZrIwyaiIKZS/rdqnZF9QJmGv30pFRotpXDaLJZulW2545u2kZT1q9UHCgScULtidIxb2rC3tydX1zDB9MdmIgtbiGnEUIS9k4kZG3JoHMT/d1lmPgdzzmzyygTKEQ6IuM3xHhMFfNTfEjUDABLC0KmZ0VUb34RWG7JMJunrgMnNcTpj9F9tahpydWhyaHBC1pnLvDgcQs7nQMs70kCMzQ6RIbvKCdLwi+F+PHoXjUID+mtNOeTyVbIXaiBXnLPpggJgGXZjbKk3Vl5G4cc18SZYoRX12C/uC0xZ0xf5RTrdlGAVVeHSA2ajg/vZnJQayRPR2zKqa8g+OKcaz+ywaYfEsmLC7FZ/oeZ0IIoeE74pnvHzDj5I/nmXXeZzBb55wzIx5u+r91TzGBJ/9ispT2s8CCc7D2HjO98LrtpOrc84P1/D92bXE7BGeRSxojc6mJFaKQ19Oywrb/37iEbRREGqMd81PtgH9ct2FdOqOQ3CJoC9Ak0/g23iMLjEWemEmMco3bIkBcTuBGI274MqcqRfycPul5pFz8iImsAX/Mc19tlKhf/ZuZkj0Ti5k9/57yNI1q9A0ESuh1NdnP+ZTUYhFWHC2D3A3ra9NdAhmGmMKpCjU57tnJOq8Bbo3C4ngkUGPKZ/GBJhU339G3ipGVWVNaUNOFGET20qYJhkitZYsrAoBeM68HfczCVKaG19yPgsTObPO3tXMUUqq9LoFZkRiD2Q6vQnjHC2EGz+gemTQggpFNIMiCVW6hg1LbSZ70FQKKb9gfc8yL9X61DhW4iVEskeSpwYUf5u7Oxxtvfk18YV/5bnr9J9jPouKfPIZ/S+sJ35pzQpIQCf4FRSFj4gRAapxKbNaYXN5HS9xl2wMey5y3aC3yThoX5/HZ4RtR1EA3umM8oDNNncVm2ZCmCpQumUgwkj12axGNMTb6gmzYb3sUHe1ZjQQq6NR1IBkHNfLgp0BkTRmZPMxnUrB/B/a96fmpYGcrqtEJewni0pozSh78WPu95bA8DqjLDKqP79aYog/Ab7SLhjlOaynkuiW2uk7KDW7uybahPeCKQBDtmjbGslb/vZbkreEG+k8yXB5XirB0o5suuDiu8tBfjhVfYC/hDeVQf0vbb9DyDuAZctwtOHHJ3a8LLOxm66gYlYnocXE1+kGzxcjMkbYMZAbxTYd6jeMoq9zXQyVsU9XX948lQjD0pQJdyvl1w4zniaK01IZ9DZSrP3m8ZlsoZOmLjAU4Iy3WjvjSFxQ6OuWnyJ/lIXpxL9I8wm+HdtOFQWzas7j+TOT9pKvtFgZZ22IMUskdt3RzPcP8vxfg7st+yik/v2NGsAyD/j+FnFVrO7t9Kasa1kC4NYtCoMA9SsISRqgK/CQd4xWrGhargOp2nvAL8rD+Mw/tEj8xuNiEq53gM/r+UFGbpfxsZbUvA5UXoV0A9wxPD10Tr2ldI8fkN0p3x/M6zzoyFP73w5bnvmpPnfHW+02xh41dKbCix4MGi97tZNdUv8xPlbegWmdJz2MPsIyXGVeJNpam58CS/cRDviQ253dJUXNHX7ZnXdWd9ch37X/f3DND85AtS7UGrfhpqmy9See7F9ouzFw8tRr0MGfTxnkZK5+IMUnj1Crg03t086YlUXYsAhMZIdNn+gse48pg3rUVCeZNEIRFtz0LpJdDdkZ20cE8boqFTPFJtW3SV1oDV+xFg42SZpnQ1NJIWENvMG/DI6uHIK2xhfDipm5QbyXffkl/P8cLonN0IvweocJdNsDX/yGXV6oecXyMBqGtOHy9rv02XZjrVVsq763Tbzzk9XlLmGR3Jma0LolqC3VEwTZlM+GZwEshoWmP1+0IsHra2gEkY3f3sGFKmuorCt8VmkrNVkul9swOT1mHbMci6RySWEvx6GIJS40al12F3TemAVumwZn5nDTaCNJoE36yEIT6214LuIA4hOEqNiLRulI9kad0nqYH736J9g4dXJSR0uBfuWecgtMA78AQmW+0gG0PnThtcMIOhC4yTKIfVEho9xVebi9HST/OjSRiyU1YRZWbOl5Rf6Jb+4lADxlQuIPbmcopPZdVcneuBJ+BYSNxWwTu96JZ5RCIwl85NIqKiMEg2/UMNndsR4Gmkv0RZBBVNFa8uRNCbMj+rXFt+9ErAx1lpMiweyXeHwicbkpQpqRjr5gIFjpyMJLWoL5102EhLdhpn3p5WiaMoebSqnrS6RsQXHyfH2k0sSlLBQw4pfEZLcQuQl6A8p7UFObx9VfZ2gM03OAHLadx1Re4hrcu+7sx/zmBjwRwIHCW5lK3EAUNxUPZyX+8U+vvb4R62At48JcXcahuspOs5deEmSZBwPt+2PfUej5fvMPSB03PChdTpOhwjW+1PJpwLJMv4ABqQSBQ2g3CLS5SvMQqfeKhCiTDvGSTQJTnBlRfIFEtlpMuMuYoNHRttjC2CpNfFyN8Xupj7Cb24oJ1v3UaivvO0fazD+z4onm7axcfZfvuUPkj2C0l2Ytg+cOMffuO0ka+UtfgUJ0RpQ/mgZsPdBEkH/cCpIQW5/ZVh0WayvJym07jzBn29QxmVFi/D9SeAa99d6s3am1IKhwe5AxzvbM93I/ojh+axzRQgt3xL5eKxfRy+Hb6He1W0Kd27ORPD7qeLvjzhaiJAAhxL+Invb+PxiG/W25t+pzGNR85XhUNG3FdfdxhIwGwIOsrREg7i1Oh4NA//iOca2h1gImpM7++OCJtCAmeKA6NIysJ1/TQL/Isnp/i7qVzr9Fs53P97B6uibbdNWj+Yx/7hNJ4LnHlDI6RzehjLFzGk5qGnE47pt0aXwOWHtL408chavNsTE0b8YFr9gjw+j0DZTd+wFV4bY4HfJ+CRdGf5tddBbmO9LXMgsBhhSE0MIcPom5hAbi4BkBtXx+5tAQIVGbc9OVbRHOlYVBi/fTuqOHfWkFRoJE1vU4M02aKMuPblOcVqPwngJDs+TaYLwfDhPbni5CJMFM7eQ01WGeO7josbb8OkCUjiDT/8ICTVSSEbSkey8RyOz/UjQwHUTO/KL6/JkTi4o6dRyL4bwjva1bp7VsW1VuB/NXDnCUk4dC7V+pf4FpB6k9+ezc4i2gabH+H2dOt5/uXjVcvJE6EAnMjxyFqBuJMbrIa+iHmCIsOVGs4KcAVB+x2RNtlaT6DSkvIZZcbS0dOAeKLCwmvrSzjodfslX8I9RChkRZuzDS664ach/slDreWtRnsy2yEDTqI2+9n5WeY9XdKHFMDbM2cyd+h3AR2Nn6vIvXj1ejChT6ZOHnb9U8zTJFpKR8mq0N48bUlruPF7UMJ8e2xO2hR9FIHF9Dln+pNL3W2oe+7SIKNrcwywmQnHmqpmp8vSFPgvh+4ufu7d4e/id7huEuE9rA7SGDbatlj9lu7M5ih5E2XEQTXk9N5mery2kYjJRgo2odXLu1839+w2PvI8OTm/8jotUOXkv1BlgH0Wgt5EpmyafxU6Fx1xu9cJZnhNHdsf0R+FjOLj2pzWAQPwICQFeLtUOo0KDMJMkdCAS4rzjMLAq9lMLGbTi1XAzrDU1YxWr2VRQnVUiF37+amVO4ApQjKLLL1INcya5UKHn94e3XpeFc51BRa8gYRZqsFg9kDepeb0l+Jwfh/nSlcWcLU3d9durfB8O/ux2djsbORVDQtn8NFNO1Q4Gl2+Yx+ffUAi2whMOedTvS+Hfi+fvYBbc4wFWhHGMnPqzn9cX76cQY8rbuFrfcDJiDoD0dzitepHccUCukyaS/85oKk5puZ1p6EpzJyBh62EdeWlcbwSfr/BbtjiyW0CBqElUJe8eA7poCxBzVOncmBzoL1UsOFvVM1tc0KKCRsQ/xqcoSeVCDTMkPA7s9xrXthET8LfahjqqJpKWt0BLubjk67bBNGABC8HgEULI9c94JGRy3zNgCLHkrFTLKkAgyFEFJ1eDw2NDJbsymwV7V4zUkfideP5dHsZSEsGAuLzt60t2WAyfacelCypsTkTsUqqn46dEy8wSmW5QowiG1TRjCCcb4wxSTLppOZzbaQw81Um3I3p5Mdd2k5d1B/XtaRpvOeJ5E0tXew4MG6jYQ5o0FMrQnc6sEU2m6wcRNZ5xPYnMhlDdZf4K6GyZ4uxACiTmb5DYGYx9w5XOo6JNMYg5+0PnuGKECLjAPy4lf6yUN3TFedtl2FIZTZtCqy8DgGCd6e+G6if/I5xb20Kno8pEnsGcxmgXqdU1cNsrdyvboSrETNxcA1hf8+uWqchxR3tdS+zdg9qwxkaE9bhlxRNCk+yuUJ4w/E/RTl0p4H9pxKQ7ci+jl7Nuqf4SuakJHvfDWfsW30R/KfNAMx2nsMUsu9B3DAV7QEebbp6o6ojurFNk+MSC9U0kKrD5bcPExwjwTdYhQoe8Q8Ksyed3YRMRzabFnlyVGBdIdzFqF5X05d93B8iyGssgn/o/oP2cYyxhw3Wpnd27+neRrHeAv+xtYD4xclylrd5lBu4krokfZgEz425dtaKNj3B9gOE7VJawXnRuFdIBW+joKq1culBWBQwYLyaGi4oTvoH7WgnEaxvGNIaYNGWSLtzXqWe8Ehww6VUKZJGH12wU164lr7USGbiA5u/2rsBhMCkYJBbPUpQ+2v774xM23Ir4uT/RFhora9IXxFcsDgaxgaWgAkuFMgzeJT3qMyjPxh8m8d5vhTCtuHt5bTvfI9MsMs0005pJO4sJEQLVeh5FmolR+a7GdezfLGDfq6xlYLgd86j0msbMMemaPE9u9XJ/MwU8csA0lkeTSunsYQLwFMSFXMYFp87lZTchnyPJTxU+O+eL8UFcuE1WOh1GAiR0Ev14J+OddsuYVzKNNFgSNHDvOSE6Wd1doW/wsU6FzlCtQIdsINQ/0t2Im24bFvZpvHAtpo9mxtWAoEkwaxY2wmVeq+1X4R672D6E1DQ6IaX9Q6t3IFPx4B5Q/OTbkS6zwFU8mDvrlAf7diaH9tImneu3fJ8A0tpyusO/ww/JXosdRPkt/shpJ4ptYfvCEL1o9IxsTNk6wMb7/rotBH64Y12pTzWAoE9o8Fw9IeyWzbHsbBp5ATWG9sSRT+SHt8F6szEbhmuRoTiSgZ/NQ1X7PkWzhTXj6qEGEcKCs7EgqXk1vPohEneRtItJg3njh6pKZ1FFRxKkIA9cEiKWfU0v3SkaBl5/8DYZEBJAo4ab48oJJ8JD7QAC20hFr1uZ34n7Xmf6eG3yyJCv2znOWk0LcU8tMYRnWnxuMsQzQcilUO0XYLtBeunnFNWtb49a54NACFZ6NdrLSyb2VuVUQGgC7NucL4kmDTk9VcCQUMBwS/333iw/o7v+lWX/RWLnrjB7/9MwizmCitn2DTzpUUsjNjWe5ST+dFFYtJbrtYq8TM2hUhcKbPuY6f1ODabSqpvw4Tb3UF4lHUjUFnie66MbK7jgEXKF/ho9NZMAecI1eG23enU0nbNtdsZZUpKeRJf+8F5h41XoIg4brCBI95if756E2SSXxdBzI14TXkbWC0XLXib6kOtepO8zVhHQh04/nvGSuvhJIdzT81CJtAkP6yHExQkTBagHSU3f2q57Ao6K2s4ezcLL3xm+VA+0jSMEwarlfi+h4JcspXBqwwvcqkVusdhbtI9Co39OttTzM1J0zx5Pv2Uwfkhoje//LEV6/HBQ031kTgSsRma32PbTSNE6XAfwvkAacMAMQt3PhKw2mDeTVU9uZa5KBCdSYafY8IXdrwIvgQIvE7CFck744OL8vWXK9BAYCKkI5PqpM8LpyTfrhV6EL1HEKX1j0s4AOBmPMzZTX6wRx1c6RaloQ6AujRB85/40WWM6KQngHSTArKYMzAcjqEkxMrbQBIl5I/ifl2x9RL/IgU9CslmQ76Hrqkh4Nflw2DvqrwQxMvOboZ6p4LzAliTDXjwen62AxqPl7wBsT3AJUScNjKH/dhBnP6kDw6NbD2tvU91Kq90db1EIgJ2gnLb7sGH4sRjKsH59N0RCcp6endpizfw64yKxrk25/F07QN9g5MlAbWT3UTCCAxJH/q/ExjJ7WY030BaASot/ANmHcN3jwzV2hlARK9sL7afTcmaQwL82XbMfOCzIy6ljEV5Ja2mcrZkJvD30R5E+0kP2fGTtwmEWcum+733bA2IrbGbelUKKBON0lhXmMAkU6FNuN/8olo6M0Po5c2YnhjrEtlI0WawPV4M08n8k3CBzRxsRVQ7GNOW3xRIF8j6rIlrv0GHMRLAb6/luviqjs0gVlLWbItfiY64b0VQnh24LZoFa0QAKN35N9vS624+9JKA6KkvvhmqDkqH5VY2PrhFRAAZe64UYptzgG7UhY5PYSU63iyZ6c9Xyaz+EeCdXc+Q7/UthKmP/0wGyIMTjpAEcFDMgTp6AS4y/4DhdBHwUzxKL9GdzQxtAsvXeOStCtDpDm014b4E04vkK/nqGt08PAAQtG+Z6XL0hfnVyZSZWJOGbVhPLQAfTKHhO90iveW2dKcuPWJpAJFLzypjCe5LvhYMZKD8wmLtTU3jzuIPyHqP8yUzyK3K70Ah7rjPvL05VoW2v7fEbSZIVX9PrUf/9zhrR1SdNV3CAMqXdaDZ+I3Msq/Sotp+WrX5SN2e+mjCrAVmz2bTzjj4+O7cutRxwvVauKeFNb3/NQVchINnEgDS7XPPsYI4lChga1ns6bs24WQCDgV4wQemj8bH8OjhpKJEZ8ZpJGowxdhfelW+7q+9v/k/KekvGZ4E7EpyG1giCdrbt4XPTGU7kSdxent9XYAx9ABY7FQ7fDhgtyiPNxR5c66aq2fV/6+UvIR4odo92NswGBfNwnqf/IIJfr9YxDbqSw7lM3SWHbLNcZdEdCVKW1dgPPwJ8oam4v5vRR1rn45mZp8lEZXyHx+7jQ8NbT7QojUNNXXxYXvopD0iAehJIGfCv8uP5P/ezHIatopDN7USIcfuBwUjk7W6IDzfruCQcULCU+k6fRqJZIvHBK8FddOCDskjjMpLdiO/Ql9k85sCzEfv0i0KblGdlSJFGPu/25s1yYGGjh3TNrVsDxRbbEaQsF+c+BLLU7hoCaJ0+O6KSF8xRumJ2N7AEz3St+SNL6CJw1neuJW6x/TR6ZZjwqfepLwcaz9+NIvXBdMPpG3GVP6+B1pe8xjcUrl8Rloq7iFzyvmEAglgEJYg7lOAEkcfXr1BA4lZJWmVfxbw7aBcoTUT9JoenSfjDBn50r5tsbd40oVKOb4KzkMvi07RNgye3Kolh7TL2GH88e4KpVEaNoEg6C8VyzL2W3Cker0kmkdkN92laHMbTjjOzFcw6HkE2HmehWHgsib3suPnr9F8qYud1S/LrTpZf9ObmxOaQxJrAOnad+vQ0efDfcOpUDJ41bN6+ui0GcQ67hbXIe0IJ0GhfIG1it47IoqikEbpX1g9jCA1Crc2m/Uy64xSNZy9sxeMV/KNr0XkQaFfgw7e7Pvz4K+b7v571kbHWTalUUmOT2wfFoZm6fp8pR2vYj1DfNSE9UNHKW+b0StmECMwowmr5tTRPvEZFxo6SAXSmiKPl4vXTkuc5Z1fFOD9HgBnP/acRmEM6PbMz2/ZkaBLraYeW6hb4uR/eLtWoaGW6H8D3rVhMdt9H1jaZp+IQ6suEADTkcgceO74MzlQPsX5xmrEJi/szshjlK2skHoj2odwF2FY4A4H5ctD9cOTOewwHxUBGg1WzyCdpFA7IpeXSeraGadGAiv9V+SBlQ84bxjWgkjwVgmRbEi3Q9samRWAMdRn32VCqt6jgkn/EEKm7ZXwxg4MqqqQFjrw744t2R2D8XLZhKcQDrgmLEREDTCMgB1bBv7I+LpbVaqrqDtdLWxYsLa5rBf84Yyo+RMAeg48BFiVaILZmXn+qn1U22jd4NA07UOAmoMaWXm3jW1JjTlj3oMQPPNfin3hSEqpsDVhQUhLML3LfmlyPt4k/t/7O3ooSNgU/cKaAyeXjTkULIJAO6jJ6LDnJxwqJddvTOqqw8Y85FYoYlExK6oxprlfG0+me4Df2tFE8nZd52OF8ih6ASlMPVeIDuTygromLeeu5QGxDDANmkBrv5dRe32bcmQG+xg/p3G7DIqyMYUjtFE8ug3LGPetMLaYBfxVbBjnrnH5KojFor3EBwahJR8z94lKFfVy9T4kSRBfGI6Mxk6mvIrcM/ZBnfjlbzOu+eYdyxOkNmLEwP7dCTsq2QPKh7H934OucgXAOt9g9VWd0d0gulnG4wnHcByzqeA4wMDb8oOwkBdjfBKk1shlnMcLARY/4VjJ4W/Op7PWC1sxD6cZDFPGcU0w1PUIKfCA0cx/9zV+Mcl7FQg8oeb0V0OQtXj/pKgtTLbvCh6Dd+XjCp2B6c89WyPB7o96mWmanmeSULbQqvrgHd8qrS+SUoy00APARIlaGG7nqjV+XMKYRN4aTMqFvgoVCyKVWmAlLEawIWk4GiPl1+aI315cYVRwuIPogpfb588rHvn0W77yNXuea4KxVuSnUxpKPl+kySj+sSpCIHOK/FogSsQJhel23LaIzqDc0bDVrYYaHu1uqkbuGxoRtiwj+FP3MsUCxrQ8cUFqAzKgOPlInTncrh6xs7Fj/8Oh9k7oEiSJodAaEFCK4Nj7yLkL86QNx0bNr4p4xuODlbZDfqoK1ahER9ML20Q0H8jXV9yM/s8DkwCrtXOHQVoOWFcYx46hlvT6S6hYaM7vps1/TVNdDUVRRhkawjE1/Pf0TwL86ACwwUok/ojkAXdrfRpeQwzHiT/w2/hiNJDoJoek+TKPolP9npJvqvXb5Wa6HjbDV+2i51RMYcbXSMZRJqj3HJBVJHD6yHNV/LcZ6X2O2uOLPPdNJ6fi5U6GktPeMK5sFipPQDNnk95cnCxZaxWxCtg0yb8KZmlOab4fdVxV+kNs5PGu/1y0uA1jojrduzLF7zkOjr7pK7jmNg1tNQ2y/L1oORIhN76TH+mSsxEnzxejV3ffm4FIkOCZx0wesCzDyiZtnqpWgq+j4u+Gg+DytSgvAFmCOyRCLGisHqAH7bFQ2TYY76c9ZKwLZsu8/soRILYs4aaD+R6ib2eseINtNz+K2tf7tW5CTjQpAwr+JEfLan39TfY2W9vE0bGgvHdteJNO/kpipC7kUMFiY126cMCC76ribnLazquZ/DX23gbRcL/Fo0sPdkB5j42KLyQTYWd0u7JIr8wNT4XsuEeSFOlfLUJr8byI1dHjN7Crr4P2nP/Jb3ipSNfj8XJp/gRR3YOVq5VeUT6NGdme8kv6eD0VdR3Z3yHYdbi1DNEM+Irlyb9SwF6qxIhM6BERNLG2BBVAZNEf8nV3LBlEvr68IEgWx6NN7hUltR7WIl8R+4Y6Ij6KXQqwgCtop2QmS694HhwobYrPHk5XL9LOUEMWC5FuW68kdHFRYWL93GuRl6S+NYNhaBSND7d/ZHHsRNLXtWJBaL+6LhQti2ycpmPxHKRv3ssOEOX9q8c2CgtbVZ8dNDFzxeAvKY2qEoxyF0PIXacsqzzJ+s3By/WFFPY4HdWaP2UL2UEla1/6JY8Fu+ZVmmf2rPcwhREP0gezLs+7Bmlqt+Kwo6S8q0qhMTVYdys6A4NOBQD9c+sWWEDXsexpj22rC5dDMzdTsOGLzgdWS/mmI7nS7ikPT/h/cCJ3a4VZwrYSRrDWyMjSqRNjDhNXjFho1K8t1vahIag0ViW2c3Ynv90l57pl+oL7Pzx+ak9J2Fh8V0swKyB3p0aRqsG0nhmX+xvWaT7hC0vVgLknz9kWsA7IPfeU+JismJyun83Hb2FaKZmrPe9TnHb/aAegxpGWBHxgB9DtkAU1P00jcC2iGvkn/UXZKdJMZSu68RlIkv2j25b3apDWDT31R2bqo7VaLC0KfTpTNGvKj1QN7LJyzST34+BrepdXGJnf3XhbrXx91oXFuDPbcas4FSX6JLRCnOVSoTTWHXTAB5zvCmsEV/5Rw78iPl+iTE2FVzBwvYhaAql+hl6x3orKnkatUyc2Kwp45vtOgfTZkMy54a8MasAttR8fWCJM59h0B1od1hEmGWUBFN3jFnVOh9MUvkN/v2TVdh0H5q9ISud22tiJTmp/69Fw1COPcxtDbUqKYC+8CYWO+vP06BJz7DnJq36s6pzBCKt0lczSO4bclcUFCICUqFG01z/ZongZsoyiDpGtdqeY+vzMff8lrEk7t6P/3QCLkkjA3Od1rYJdZfm2/TqtYwGFZQ0ClCa/+g8V7V4YakxobDzUptoCe2pOGfk95qqPNYQpGV8Q6OnznvWhypnJ4er53g/M0UHOC9UOBBv4N+IqbyB7rb5PL4cda8TG+UXioxmDjLeJeaF4qZ2j4r7yDsb4DAim/fwgPpRk8VObfb7o9olzmgC3moL0a07LSlvW4OiElCQmWyM4cP1X6gVSX2N7ht0bMKwt8k+1R06DXI/5zPrtYVa5lpK4CebFcr7XogWt2mTWe7mjmBxBujUQdIB7+3BeJiej1eR4PKiead+NCiph45k5ZQhsjBtQo9qe6I3xDLyaS/92nhUZyKYUt5D96DBhj9c+ZVbFOiB6nQB/LGwkqV6fkp1Xg5CZSxnqImaYcGtr+p/Hvc5QuWHt+wOD5Dr1aMpBqkkgtIiEFssjysO+rxAJ5O7alooDjey+62uouryMzhXlN1wV/jIRQrSFHFXnL3wB+LAhUm4POmb023OfKf6Ifhpq+jE81/xUxx/t3XshtYCm/1SrJqedivq3OuYiDDqQ58H4TFH7Q4h8WKvS796aDFDqEo8xhuGDrUTD4m5tVi4Ao7+UnLu62MPm6FZwloucILAG2DUoWYx1eQn5aHodmkmTMv98KcGVVmqUgydPEupBZq9gQLjYqcyvOGnge9nOIPM81Nm3zuj8pLk2EjUTCu3K1n1CaHj7KngY36hx5hpweuzW11kwCuXN6U3fnbvSfqpTPfvC51axCbtXcky+J/uusgPGxACaTcQ88Fx7JY+xOHp8AqpqcyI7KLWwYasZM2STngKMkMF9rnJyysEilxpvBhzYG9zz+dA3tVqM0EfCM1H3e2u2mOfzdHl9OXfWuo3XIQ9+sw8UtdtcwP2yf6Pk+Cup5SUw7aV7FjDS5vprDHfPp5OvUBDDGspNmdSJw62pT6Pl3T5A8SzhOv1x4UdT3Fit1BW6pWHJjHH0O2msLU/fFUMj6Kilxykx+z8tEr2sKQL4BdiMadyqBCTK3RHemAEa6kNmfC4zAcf3TsXcrZs6eLbXFBTBWnA5Fj9edbLL2mkNIyUutgUP22/NxNZagWteB4nTp4xXV17Wbx7AwPGkxiJOXu8H3JPHm2dJ8EOGL4b700JUPutTi/jErrLTWzS7xNc3W8zgMeDGSessajSMu+bVlLf5JdTdxDE87Yzh1XVt8etM0TkLBvXX3r6zDSprXMoWQOyYWk+raxa70j0+C/5ZrpybXX4irQ3c7fUI/Eg+LPLA890ylp++dhNjPhf6lzRwttvxmwhx0KvnYGKGSiqlhYz6/0q0XdoIyUhP2rnuH6xH3VNWdPB6LxFc8gCvEUTm0lfEIWa5i9Nu8Hq4wXTHoFIr1PMlqaCFJl1/lpJdgZN+7QkD1pMyXGRcERJx+WsLTdDrld940dopep+whUmc2ZRnK2vVcc4GLoovRGH25hYsl983217Pq6mP4KAvpZWpj/AEVLwtsM6IHWfv5VeKKQXNFjspoaWNrIXUrhMff1a/DbaRRmG2C9ozSEV3+3+HWCUJpdXk3xEjYbKwo7lQ2ijFty/CFXX1lGtgcMD8R+29n5zpt3J6uAI23mXcvcBWGt0yFCTdYeZhmrnVLvSBD1gmKOJKen29UjIrdz8MN340KbBoFrZZSuU/EuuYvYxzZpkbLYHU7ypuXl1f0IrwKg6XPCuxfwIbbKt8HNcC8gOiiJ3iorT2/BxQsWPRHg8VrvMEeWHo+D4afM44dbaCjur/3TZz2h62VmjzCIiXgn2B4o2VPcAPSdbrGeOMkJNi6Qi2xOAmLDcM9CiIcRddApGv1OQd07B09r2Brq1Ss8UdNeFb52A7lt33Zt5Y/3n2KcjosIknxVRzdcHxvxA1+aZZB2SiZWWCni9/g7NYognczu38GJF2v+P+iMwILrfYwNebHVOrDaLyEqsiFk/xPjuq5SSZ2jvF4njOYOxosdyfTFHjPtKXgQ1kSnS59ARYLC/zZXlJrmWrpEslZ6Chial1EWDmgvOGJrrIxxgwH1rApUd6jWFXgEqYyp9FJh5Cyl/hG3RgRw1WJIP4ulbi+AFaW6nFVT/TQXoWUVBeZvPpnHvMAtKuCmhJt7kjTX4PschTgWDc7//94cuK5K/dtmeF8hxa6KCuPox016s+IXPGbGk7sV7O2YbarBKwbQhZVoCh52xs5mX7LHb7ch5FymaQZlwi8VVDuh4gBIQ+T9tnR0DhHDvoA7bsUtoICOaW5DtgsEPRSnF3NiW9dxMcvGK5Dyq9uZSz8pv1I0aqkVdcaIGuQavOzG74M1q2of0cHlS7ciqzS736EctSHVcU5er3q4Kwesung7OxYC86Oar8UUDyZdzNjzVky88gwSrladb6nhNLew6eEdp1WhVaUHYKEUsIdFLE5eL0vrL0Wd4brP7kUHwlJRCTQTbqY/YvPH3pWXiUI42r0MpfLRePfZt34dqMPM3a1V8dcpPPfgs3RjVJTBq3UV5G5XCXi6qNGlorHosIEnex3BBWxBP9stMEDZFRjG6oOvjBs8+/JsLTzCBM1+bHkcFg5c5HWiUonQ+qRNcwnci5FKlBCTefSJ7YSTe4K3Qc/GA4eax6lxIO1g8vm2gGqEicRkql7yUqHPtYJWpjb6UTP+cWrFCKKN10S5RSAHDTgQjxasFmeWpYFdGLoDcFUKRe/t8lWV1IoN/CoFBs99yAA2QR5ZL4Q2ehqrdtfo90c0qgDOcZNAuzznKU0PU5ktgjL2aY78MQkjMGq9C38ujeJHAoD+9ztYlSQvbOfrmrFaty/NHf1BDOkzL+a23JhcBFBYAFgh4SHmddBo2LC41NxSr1+sM+vc3uifoyUCuW++rNIM1QWIS1MVLsZUjANs9TozYgc5Od5n1LIVQnxDTSoonfv2/KzO4E5SDGkx3gKujFUcpas3joEVb4kVi2iBTTWBucTyzs9dJ58COYg7JsDCPX+uADfqWwXSiipV3L+oqGgLK9zUjwM4QqJMOzYoEXcxkeYA+v+OX7nOHeMHrL29726DRKgqCfSo75o0SWMq/K4jiZf4l1sqkdj21t/a7/5VLtVE5ZuWBnGHqrcIWacSqBDTdtG5nz4fw4rDIR70HdymVs5TnK60yBOsfGS2AccUHMBrXgdXtzZtchFM3Tfq94aVgXSqAP7vG1IBxUMCzsPvt+8lkZ2PCKVguhhn61+qvjG583hoGIgb9yqEtN1Y3N193VDgtsoLVGHNbYnC2byzB9Z0WHs9Jfh5uSgm+pFJ13OcxFm5+BePW0uDO7bKYDVXJinhn1e7w5vKfYr5Y2/GoacFR3lSpSfuFCXR8MtPKc9lWUbNZaoIW/WBgzJG0Ej2lrJdqweH8NGPhvAYnn9b1TF+VEpwi6tjGTwzORmal6m/UK+7YXe8sh9nAMuOsbxiXfl1IF0rsQG39d6T1DWDHzuMwKydsV7SdOQpr/9tngj9OxZ/kPUIJydlwpCCx8laRX6K3MffgWVhan+CgI3a57MmL3R3odTf5YzdDza2XxeyYkpSQcfDFywxV9np/iCS38+UiohbEtsKyszton+TCVylVfMZc6WypYGAC06/A1cLCO1CBJBKGpxtMrtsnTXohUjEZX0DvzrZVXz/Aka43saqhaoMVfr/ig1Q6KaKOlATj8vHzF+FYQdyHDq2wFu8ic14AGrrWiBruJQYx4eKXXfiXO/PF4tivQWWdBjOVUAFuGOabNrs+XHR8h0DpVsgOa2D1rwvtIP8QBWsfipFzR5yHsGBg30vqrPI6jtiOID7QsPGhFXTorsSKdbSIjSN8Y07Y+eKQP0MMdovc24ZEo14BoDU/PUgvpH/sd1SX227ouo9rdWZMv9EWTHEzhqGb40JS2LjanS6OVTNlZuGgAvxwlx12ei8BGsz2DCWpjW07cE2q6Rfu8CC9cHAfKdty0mnKFEsrqAjgMTvjfayD7TxfILVVeGooz/O/RcVlX6oSUMt2NqHuzMeBKVK/hFPAj0B/hOHbTu5Z1wj7lzatbcToNTwKgXtXL704S6cjMfrsubKTsa+aEVGoMfsLa8KNzIVVUxIslXYNW3HchhEzObqMzzXCr8KyIG0qANUIGslJh3BS2eXJpbbc866G+1cd2blGVKo5hJKd1yeQsrLMuwQn4RtdsWlWe/T0oNCTw0fs59AhZjj4m4+GxxJ6NwWuUISrT2vUf5vmfr2qyxt/L3brsbsgnF5BS01s2KRkdV5w82kFZZ/4hBr2ewPBbDjS5xq4FIaiCUmKKRvE3qtfk1lC7CTPsi4nh3R7x6NulaaXn5ddKwTmV9jFQCsPBLyh7YLdKcksKMaV14g6XGTGMbRz0h0knnoOrjJOmNyDZxyU8u18vN0N2D0x+/XOTaltpHnXFu3o0sZ+JwX4Eod5xoMGp1pQYqm0hwIi2fhPgTZ0PtxghTJCf+h/fr1Pz8j8xMUi1XRaY5FeOIIONg0WzhybnMRY4+JA6w/sZT/UXSK/2CxMfIps2EQ7q4Il+2uHPh93x1qnzzh6R5AuanR0VCQeSXnN5fQJA9EpONPsGbH6XipO4Zg8bdtfa43wf7v0n0QDQzItpNFpAiIK1eTNKW/0UMMavQMyADmV5NCaDL7wJrbT7LR26N0Ge0bZH9st/xZyPp6xgoDKnybiGIKOqFKDvriKwoL27YK5BEPCMsk+6qEapBbkggE8xfi6+8J5DkgRK+U+DVqBVZ+70RmqhWrdJbgH5eaao4B3n2yyu8Z3asmvugmp8KI/8qrvtPKNfL+r3GgLYThdVolGbNv2vriVgohVJsJhMHQQiaQ+YgVvQWNFvzrmg7wO3AtsZdD4vkAG4uF3l8dihr0kEX66NJpEDAFVL+NfY76aU+r1TjsQ/ccGw0LTIp0OkgjLxo6lm19dSr3jsQE/qh2vWtR1fAXNxn5fLwqf7HJsrLXzSfhj4V6HADqhGi3nJ0UyP63GUt9ppIZxmmg4UfhuRn4E8tKoPG42qTxPB7TU2pDI11KZ7/lG2Uyme9yVcV1oPDhE9fMf0dRQs0cc4xGmCjBSZBSEKD43eynAzPsY/o/pPmwUfFEQc+6K51sIgk4Eafha1yyM25PugG0iivUsDlH0UczrZj4UCxBNK8dlyKu2bVY4kxh8oxDZgWxydZ/X0iASBz7Rxvf2GIleCNAgcKDMxpqjtodl1ZVUAH08yLf4Mby9YM+lxKuoReKKjFJJ/eRPc+HaCpODPnQTmy5i5Jh4EbIJ4Y9ZAL+EiMu+GfEUJ6IEJe0oLwZt9CfO0srEcAXVUoUCtVVm0MZw2R05R6NZpWERYh2DD0DpmEE1CyvjdtZqm15JL5SLBXRg6LUN7ORusK8aoION8S+LEWRUVqjRjyoRg5yL4zc0zxDMO9UJJdHPDAEuLeM9q5tljWXFhcpTJd1d2nL8fXaYrN8ohm/9c3e9dydYTQSm+hlhjAnwrnMbgHIPsI//43lyjOrugBDYRkKY3DZS774WtnAdUvWuf/XxFfKLAuHdha5jQmehMkbeUXQyQol8+AIK3Lu5iKNxqkMwHsSotgAE3tPZ/+54RVdBiMl4fYM2QcqYYOWIlV9XLt+fdJblqJ5t42ds/L7WuYdnFOWaDZ/MACAr2DeGVqXdRfUdPxWKF3Y+kL2tHQrQMFbNkT92J+RFP3uD1t4ggIHvs9n4TR6YoKSlnau5ojoxltLM2otwGXPtDVqmj3YKZRjHNPqTtHe/Mg/6Dp7PtxY1sXdrDcSEkPwjgb4kRuiR6/KCpLk4aFo+76xax8I1FnOU1/QUODoILgXOm4Vn3goTblmhwbMiB30DcahZTI+kRZ9TMw21uWG+cLR4hzaqFhw4+MQ5uvq32ruWOx6oCr/88qgtwWfT8LDyLt+oSqYDnF6DyN2NiYVHJNly9eQcRLeTSBM6nnRWlHdU2X8ioC2A8QI7/hA4ZF+VgzQlgcMKNDVxPKUTnvP4iPKFtr0T6IGrNLwDK7O5l9+10z7Xjs7lz/Lt95Ce2HB1uVHchoGOZPkZel975wgbIy2t4/32ZQRz2uTXVDXXlzrnn+UHuGxFnaStwsVJz1lwA9fUQD9mbKrAEs5DsHJsdWk2K4tkBjVDn1d08qdtIgm3WPxzwVakGpwpVGU4G65R7u5cD3U1fqKcaaP2ytCsF/dnRTeSZVM8UMHe7YrXO3JKCwOA/n5EG35yU4aXbExJgWTtFLNaqIZqz2bbHG0vx2bvap1+iCnAIyQRFvWJ2eGwcuSys43iC1r820NC7jCtPfcQR4gn6bF22vOy9loRNvZTGsK1gu+jLZ4n1jyMBqpGP5+u/z/n2ZlTu7uUFAncsHOQ1zwuIRMR6DFCHLp6CpCJMUDneXUmgLPaGIaY6kuITvgESoQIZxJ5eyWHWk3qhD/npWfyWgQ5m4+5ab/dBSOBXgbrrGPlYMOYjeE4RSeXwJNsMjA93ks7renn5f2PmoXOGKos7Ko96FnsgRztIUzsjASb7fc3OL/C7chlUnK7ry6Pw7XdX6RZg4SdZzt9u8n2CvSiWJvx4rdpGktPu7N4erO7InnFBwOJjzFrcM9xzoW4z0IGLQIlQ3iDlRM6j9SrnOhAyBgLQJZbjZQYNwU174JlZ+31X02/ZHq0TNq2KIaLZZz3cYHWtsJfFpjTC//8GcpSFO6+m3khCIYGYKs6BLHuwrFYc9SeDE345vAq/Q/RTDlvK4ZPnlKNl0Lm6D9sp1o3YsuE7n4ljOdQrME/qirlQUT0CNH8FlWjT0r/+EgdIFxwmEUyKGXSftCPhVXzbGD3znkX6dbRu7FKs58oCh4x2iVxKAyB7WMLUXFbX80pro3VVbGngUAWS+94BrU58pRImu1lwKVIp172KDgv/0GIjCutPxlrzzDdsrUawaKuzz7cCh05645oZWsg8296EGIUDOy3cbIuzHqKSzKT55TnkAhAXJN+96SI9gR8rAIdrEEHXTzWrLo8Hs24VZ3BjrAs3hafwjBhBRu0PbUkas6SnwCdE/k8cNpyeJh7GGNJtY3nJn50r1PqiCyxRvaF65zuxFb/PSkoJzRXV32XZQG050Phu7XgAeLi58pVMr4wmjUCBAiLvza+jMxZrTYcYl1dOePooBMYGDrowTwE5ozbZQjT5h9e+Rvoak3YB8SR4TEyDXdFGvZUpciGdFfQo2mXm61nLzBOc1DoKyhO/vOsFmCHHEuDMLLySZuifkcDS9cAr0bfWlUmNdmaqZGr9J2sIfRHZPQX7Orzu4kPv3nhS8hf4cvKNO27z+d5n2GYG7mi3yUcOE2TI+fd1lVfmjppopnq8YZu1SYDiscsTkIWl3UsZtGsAVWEUcU6GfDgXM09bmUZHch8t0b4wl5BiR6JrUKpugI1j4fkReriE7J+4MU+AmWoKGfnDehcPqpcsMU3DYPnyx9X+jR06OJ9HyG1PyWffstxrKdCFgu6Ii+7imgOZcno/1ebQKaj27FqqTsueczFG9KPUtVucHmsJRHWLEqyLf8DN6TCh1NXLPtoBV/8bzBREIlMkehUvy4MhrDaR9fygBjq1ygEYUP0cmTqKil7CNMzctNYW719yriMvnZyxaOznfLdzRfaX+bH5dZrn1THjVbfHbngpGziJtr6yCZ9aNrKhxMzh8zgFyyT5zoG1VWzAMDwoVzICELesdIyo8xJFNCTq03wnLXFUcQ2gvNEIQCwfH83EkAlXm6TnIQUBEfOPBWv6CO6n6HUl/gaxjp7GtieMMeLuwO/v6b5jPSNNYkrL1RPAB2P3eUSoSjdvy07Bp08KSzeSS5U+yTV7G4xSQCHFPUF2vkYhp/h9TWj23IBZKeSGqtGJvYCeR8+e3pFdMSbPpQogS02bV3C3TMDPcMraIWAZ4/3o6cVWNEMfzDQyOC/E8jXK2tbHTKUZv8f4kppEfyPJ217Aeo+S2Tc1aRRsBmptxgj/KC1BIYELjLiaofX0HBPBpUm2jshhQOnuKOpsqMKK8V4Psbeeq1K8JTBu6TLJzyAFWCDUvPVD5NYZ0IWtnYCb3G/xsZkT8A12lf6IWkDXJfFjFTqMVrty9Gjec+y6mlIK26x0ve6uFSVlD+cQ2vMlMTSmDF6qO1Bgov6pCiNezKSR47FaqI5zeHeYqEhfa3uwYJd305EZrv5FrYbmDH2Q3hrWuGewP/2C3l9b3Uqd77rDUwFjyfXlVGQNKvTD7mUFCbMek7Z5gqf1H3erzFKg5qZceAppIbO6eIZeUXKfN7lLzmPY+DgcQVjgvVnsoOHngpn9EkONAMdUQn82CgBIV1msuw9YPY2UoHmoAWA1PmnsTuXniyd+9YWiP+41EaT73Ecp6HlF5Ghcq8t0kUC/7SOT1EEufZhiPET9a+EE47W9aAb4tzuXN2srruPcgAHLtvTdsyXuCDfmf7LvYFsfr38TbNVGJB6pEAaLRYRve3w8pWNhig5vGQNYWqifjPdeOfpwKKEMv/JX5CEEBbT6IFI7aTyZBfzAir3NC53U/Sn+4kDJuoQKdc5oFeJ5BBtx9PmZCu4gpSAmNhi3ffn1Mscz37mMc4yoVzanyZtr1/0Vd0+dp7yHAL3wMRVWL/bC8zo+MB/0t3ZPyrGGwevr4smd9HGi3Zs867XJsLYlYMWtmqqf3ZJl6xgDwYXyXPC1v4BiYXRTM++rdElaCdQUYZSAX5We+vyYOlaUZAu+VD/AR+6Llcpq90a1Hdf9zsVslh/ADMzy5a3cFO7rkcAU/1J2sRP0kt/Pww4RG96baczIDll1aPOxwe7DSp2RILvzHHeYPu7a+HroUt1x0aSMUYOZjKu/Ib/OKBA4cnwmVsJBWXCxuO71W+6Lww9Rd/i9q5ywgbcOls3YFoBTqcnF3mjlfpsZe/MyG/6chGgGHvUZ24iF7QLikUOQCNVrOd7T+7AX7iWa8t4D77UO1khC9Mj33txMBSI/kLq0UW+XOrNJaXy8XDSVdVbVY8CU0pK3qyKEQYlcXSO/1Rg/6D/OQ1u5dj46J33l1oSJLgZW8Kw9i4PM46I3qMzVUS8MjgLeCk3zn869oZvPz6A+fryiQXA1KZAzNbA/G9nWupXH4SSRJy0MOOW+3V+mXt/oF/eTY7KVboFaEMU3yO0HnqZSQBih7rh8fY2/6ti6S1QoEB83sYR08jFdHoaxLngUNT6G6M5XoXGAQRlgwK8t7V5nLgUIqQ66IXzK4+op1BcFnY1/ZLvCmuBv+RDlXENuCgGiJhc2cRFoQSbQjswhBLsARjZAZuhWWZ0Ax9OCnWb2T3GKXhI+4YdSlo5Ey4OKOZJ9yShWP+RJMG+IN6daxQdEYDJxWxXvqdRevOrtcb+hdOHXI1QUOU3E0uxKmMmkVwgbXbZbzzK/3EcXtbiH47uN/qeHHkM/T/u0m372Tt1gPCJfErUKzlcLgQBPbmmUnCsldxj+KCiCDkAwcdu9Pc0SjQXQNUQ+VC0xEaavXdRimv94P05A3PHajNHb/wlOw8Mb4pYsK3g6Ny9Hxf6yv7VNjWCEsRX4PRRMXNkk9o/Wan/F/Sa+aLhDJ3aBWq0Uf6ZVsGJeGZnN4x1JOjiuMri9co2Oh8f8ZMduCnofjwqOKlLUm/tc9tdM3A4GvSeXLKELaysyU7Ngr5YLLNlXLf4sxvHL5g0jhJ1XgwImD5shhKePXtwe6ECwKvIhMJwVL1OPnOyPceyPYnrYwqBKYZO7xkuxWefGt0WdHkXweAyj9OcswySHx7rjG/ZyifP61g795IjMlvSR/wYE5MoD0kPA7N5mQ+RaCVJHqcPpc+GSdFIEcKqvkyxLPv2ghlD+hhtR65FPjlBoMrfdAWypBsHRbzkyTY6B3M2N+5cfAVTBa35MFheE6WM5UVqpyfbkO21aPvgILnJWnRwrp2V3GxsYmuuzVXrWgchgT4ULIxP9LSjJSW/ERriD8EpCNoOb6sh/E/wRsV/BEb/Ho4sxZRgpdMn31EKRlIiHTVU3cFnmCBdCs5XFv1BATCdkO05U7EJ87D4Nj+6fQooqmNlj50OQ/0Oy7nQoWNOPzxobhpHYibrIonF/Ka2S/HnQdjeG+oxgxfMRTpqLsykM71+xJiUdII9w9du5S6on6tUFNvx+bZ9E83NGBHD5yUD3wjdeKNsziBZsNkh1pondVxI7vaEvSyyG69r4M3fZT0tJZKMcQLZDpQmkX+69boQgFjQp+N+JzqDAPxp/igMDGCAkCpilthYmZVv3pErf40iO8qbOj0vJ0nkzvcNb/Rk7PztISn5YZk9cqOP/p7AIvORjX6dH3m775KTb7/HUSAFy7YNwnUU4xQiZXfmvKwADveP5K2sxC4d7YTf6p+Y7ubuqOBkO4aH9CdXQ5SqecvU/h50WNRLr3EMSiXCJhr7W1VZNDP+bvw932b2zLY6WMhtJGKmCPtwiWrqZl4TSoeA+aTTnekLwzXstfxSl/xIJI3Ed9nBj4TkIdG4cP2yT8rcr6FY4USW6USu3lScRtoZ6ghCagUjVUh3Eay9PfoPCoKuW38lh8ty2CGF8mtgrIcFY9EHXlBu65MJ84gtzRv87+qMStes4+E7b0Cv2CdJPqy/81VjTivmdJvV7Rx3i5UQH0CUlZ9dPovptfwIz2cxF9WRlrPVJg3+CwymvPV0SWD6tvgjQbl2fSGx89alVpMNZdtGlbRu3pqFth4DAo6PfPXL+oPYbvCZZRSSNLtSqH7mxtpkFD9Fc9CyWLu253TmzU4UHFTgYPJWifCZwfZ/j3Rkfkt0EFjj4joHotTVMLqW9MSKY1V+FXoxcSnEv9WCT21L8lY0NeBd6BrWsbdsBnkDRIID8WSGQ4sfZI2X62jHHAM2V+gku8i3bwjxF8FCbS4jZ4D0S8zEXwJwUOE3NICeWWbTjtt27YJ72dn0wIo2LXvocYowphEcT69O3yO2go+9yz/9SJH0V2+LIdaf9hoQA3XEllzNQ1AYMFdNP502QFuosk0ZCb4vbW9iWHh2uX3qk9wvyrF3mAfOyhxORGcsCl5MBF91t/SNQN86bkIOhROencp3aF01ncwQd/hEX5LXig4ctUm5gzRz4I0mkc/KGWSDp7A+atyDGTAkFQWUOLu9Y6KtIeITkMqBmai0dR/ltYwm8C6iWjR+ma10aMkUByCaLX3Ln1301yyQp5tQ5pwbiB83aJPgX7aHpmQnQPm1Urw49SCWMWXoDOYopk6abgguQCYw0XQVTGm1Y4wOdP/gYBTs2yQzhthkqRgReC+RjGpH4ed+EC5S3EXrYZaKOtBBgo00AwEw3ENCo/Z6aMXDBS7ipSBE+C0K3fdeWhoxlghKYLKOJR6579aqcMy3ueag5BL5WFWF/19lSG/CtaZD7UuFCMmN+YUszd9Tg5Ul6slquApKZIS89a7OITdJFnkvZHNycAVMmrt3uVLbNQlPvbaYAnppF9UuVaLySroIhsRXVenNi6bHMKD7nZwsHMPlNzt1bt4PW3M4WByIBZkA6+G4Z85/POFmNqNCHBMpfCg2T+NWG7ToHWO2uV/hyW5sw9elPobpDW+eYLH57o1kJ7BZNxTnVpcKjPK9xVyO8XIJCykpHd6RHNwz7ezP8oPX61nlPr7rSwqtMNaaqs8/l+AHldL1jhFsksCYftxiIVOQREpwKmicLtfmGrgU3nQmlFAKZgUCrgJquApigQXJCU9FxYP0huwOtBux2cQEzw3RH3TK8r6JCRlT94kZCGvnSTMkwMJaJLoukLkaO73FtuuQjtAjmDL7dGKavSU2gGX6sdGQGj9Ki6ZouKf/gu+hxUJAwg7+7dzAxxx6L2ppbLyjo3GUCJLJvXYSAiXcqZLnTagRiMBqiDVUd6N63mAef9rs0Gzmqn3s7fSEYuaeUaN+Gp6+wGoET6ELch/oH+ozfOjkGoPXNdN0uGfeQohVdXExN8TKEDVmwSnhqZJqF1o21jfk3D18JItt1Lc/QjnY8FdOGJoudVWIIQKGTl5KieE/njlozwuDkSidknXOvc3KDLjhK9ivbr57N/OEfNjEiA7DBd6yAXM5eVUXg3/K32IyrzDssteHIE9v+fc+h3WV5IWknhuEp8rsoCeFrFxNXb03sMVP/GzipU5GBpZyAtWDSzGVqhVU9F3k3Q6I+zd30GM7WF+JC3sZZSeoYcFPuAJJQMSUcFQASlXmCwCwl/Z9U9aw/hDcL7UpXdrUb7jKGSJwR/6Jp7/VLNJoF1fVyvgohs1HiaQq+4mFjm7v5DwiQHvf9uJIE0UzsMHEZwNTA9rnoTonCf+dsfx4BLiJQzsWB/fiKDMMh2xTYEy3gIRPFqQLbVQyXgiZKEE0PHba2yYcduQdpAuqYwnpmzN9nZTF9aO0kHpDoNZeXz0VuvAZsP6xGsG7Q0GdhnXXVrR8XlB8avZNoZFr3DT3NSP4Td4W7ACEFnTKgNB2FxgzkvWQW5Fldu1qcrAjqj4NJLcvPt3o46N2ehgUbfxdmCylsFfxUEbOY+U/HV/mlcoYeIprsDwcOIpwnPUsrBtKDSQsIDGPN216t/RMf3lN7dcS3Ahgtj5YZVoQILBeUvRRU5CKRdcA5rjTxKQPwgbkZfn+mbVDytvWIDTxV7pVPrlb/tbXKAbxYDuMZJO8mttjp3JAFoumwtbKyUhPEdFy9ocKwYgI9OBPQ6CHHUTON08LJ7tnlwaJbnb2ECD9bAmkGczw0KTCbPZMVmQbRumDwoIs95L91L5c7hqQEq/bLjZiM5A79kSN1hw+IpWuEa1lUKf9z2/PKBWUzE4Q6wy1PxqPfoDqEtQT9BH/A/l55gJEimc92Pku6JW8Rh/QDXKpGD7KzNmSWt1HQRmj1qUSk5DOfVqlC3XVp8kkEyhC+fpRrq2/dJ9W0fnnqYv9H2MY9illnUCcxls+UGZJmen5eYWrXSzXKeWioPAx17VbY6h2hSjNWpKO4vODIl5HV7AM4OPCQd7gbkK7qw1gtAnh9HLUxUkBEUyV3IQRrUydL1Cpp91ZFhpohGNdhe/uHT7+Dv5adjrF2GYPXuHushFunXGrv7dEVUNBQG0SYf8HaaY3lJJIwXD6hfmyUSWMsxzkS6PHLoFybFYos9IyS5Wo/WS4u3BkED9tNOdzHql+cmOmaKYKr4WsbYlyGAO3CjBmEeP25rA8o4LyKMuM+uyEUlRisT0h18068UpCmVCtvhMyBctBlqByoTJN7jaXIx/l6BI9GkmNqwKC9dTPOd8/tHMMZ8a90jNcvi8UP9QVhyEKkKcP5Dh1h0Iel+Pf2uhFawhpwgBrNKzBzyv0ta3xuTxRaBm1jP96+MwIJLeQG+QPcg+cm6YMfMH/jX8HYQLcdWQzPLmAYur9TGBchwX/2OrBMPJLEQ+iiyhD6shvmAJFzNvf9w3/p6Xz2Fom399KXChNtdUVXKZmFdOh5JxcBrv1VKn+HWoYp7BDpx3wDKa9aTT7rFVYsK8HMyZtX6SMyyMnneooBoPsBJtWbM0jhp6jobpZfHb4q32oxykLLKvgDzrOGCZjdiFyyONECYHjf9mi7IDqld67iLITnKbY8Nudb6yE+YQ9IVICor5RDh7NF53JdvVLGe/XGhy88OCyJV2NG/ztYbaKzynVHflszx2Gdt8sQYiF9W44C7V+/vFWlT3s54r99jAlaJf33fPIXlHg75T3Zc0BkhS9QlLp3X0w43AeosHI+bEp/c+DDgP36fBRe89KOmpJGCrFPqRxzbO//78sGnYqWy+zZKT1LiVYfPSnpKBi0usWJQ+2wFV7RupJjU4R16POGHZdc5I5zeqIYeSKlpg7W4NMAReDu3uFxIug5lAIUeVlixGIS8B8/CGr5q+nDGBMWpYszYAVQZBdoMeNQMyDSQJIKAQOElGSbdyBp8U15BCibule9wPaicWBT6h2wvw8UNMYnGrE582Ltj5PvFfjMcn0WcRnbPCuUd+oFhI71A8v81PvUi3VTAXf3gNnWapOQakc/88lXRBqk69/O+5RMXj9eLW3Bwl1K/Y4LhyeFvsKLDdX9fiYwu2AtYG0FrBXOVRg7vPgoH6a1bEvk2x7ek6u9twIZKWu96BMEOx48C4HZNOupPPkevBUjRhs/Sj2OCDXK6ODRY14GSF8t3H1W449/7299i7ob/lIHXY4JoOB/jK9i44ebKa1b7ccjlF1JI2WrApLWrsp/vCp88OyHKo6oXn+e6yI4UcMdJo51nOKuxwdSw0Xfvkjbuuy/bMknIiCtbSPaEO0FhK3/pPw3TYs3mB56CKqHgpACS80C8tdgynXRh8ZJ3aO5v7v+W6YeEwpCYmUV5oLU3WKqtABIES6VvUGZfb0qPWRF+XIqND3q0zgsQ5DtK7ImnbM536PjbpiHqbImc7WKO28re4QRzd5by3AWXnIVYhRoYwFN+EpLHrXdtM8i08awZPMdrEfRxbp1VwivuNGzQtqTxwYAZAg9L3FnBnGyICKWoUlyeDRuDS0EVYze/83jbkP+Qi90IrmkWoOM6PZHAFpfYVfle4NuEpHqPJIKZl3nnrS1ga31gMCqXIgrICbLsAI18bkwdVHHrjm6MN24k2iEeJkukKv0cbgUQYSmvrXVTccqgvjHoMDFxYDXF7B2ettVXkAlnUSE7SJhj49+/Zx3hxGORTdaASyvF1g7RJxaKoYSlGjWQoq/zXUy6H9aUi2BWxEmUjoFuogwMggDWXmv2PllycWI3cyEmNS+Zncfc5TWpleCbZacshA4LucQlUm9yIhrz3oKNywY5ifUi3PeTr+2GQyv+5fZIVyTX3/8CFxSn2f34MEIH0D004UoVqu4QBPkt7MowgCHSkvbKq79Osy4nc8XNzZq/vu7tYqBods5a+sDyZhLR/tsyF/XBaXRGj6NwzriaMCofWS8ONBy8ZG1jBkjg5yofvsQvI8hf6JsxByVqJM/JFYnEYBpBdqehjeVVe8BkT+DDYQpA8tiMpXsLcie4lYpQ5TbNP/p1uKP2ULkgN/Qa3YekM7dkNHhm3LcJQNSIZIHCd0QRk/91aY7X3l86XfmK78Q9sJ6O+1cZwRDirdTWW8Tc0cdDGeg/jn241k+MXtcRHZF75fdvF2VpgUbAm22yDU7KMSGXgZJVCoQodfVh97HEoOiQQsm+9SA9FZfXMof9Pb6UEg+zlvP1TZdakASAunHYJaaRFf5OYHRRCNw9e7bFOIE1PVeWU8a48h/5BDyvSkbqXHTK9zRKNmz/D6C66HM8cBQjQ2/E1oebbQATJX7rYI8dIkzKGOB9g1isKMr2OYw+ZJ2mbWsD7Pb9FJWF1oEQRtWTPMY91ehiGUqAlweyzC7TIQtEk7LP+ga5n0o+OB/rcyj+d2brMrwOgvg+ecsVnhgvBRAtjRyIPe1NXNzCh0AiZi5VlX/l2t4nuErkwQ+L6BHS8E0A6UPcXQF8wMDxjYoNlc/T+QQ8UC+9KSuRy3mqENzVm5K/lQfYD0NtQAZVqPR/GpcGL0dJFvCadbPqqJF3q/BcZJDsiGKg4dvjQ9UMVgZ0hbbYqSDf7t/NNt7EouA0yD9/vboG2bbZfJaAYVTb1CnDjgnUu/dcN/UTKsnamdzQk2c5uhLCoZNRBovuKHCNX5x/rK7715wfym2e8HVll+URh2n1Fn5i2fxd1AQDLg8oHpmatPusP5BeGvNsP/gRcVkCivqh3+GYJ5RppOyUdIPQtgjjS5ekNsVKAO2Ba1uenOQiXHQcOhLPWsmnNNHq7Z0+uYNvee0cvZhR4RTUvDvWE9AfxBPGTRyMDrlIWQhWYJmRUKWX11KTfjjLXV3K3g1GTBh7X23x6OejInNXk9EqTSPcGk9TM1EW2y/Me4Ow2giozNVq6Mav6w0SVgf8yFBC1S0D5n0pG7e3ibSAfDp414RpL0G5ewDbm85y2xjy4S64k9siK7kUV7S77u8f8//+jCSClyzt0uy+jrDEHo1/EbuCzgwgK7/LYCAtvnkzmR35IkveB6k0A+R/HjVB5Ei59zzCKLPY4E6K3ira4p1b8WUy/MdHM2Slvjw9hjfhmRIc/yrfwB3uXA0xM27ohscKnOslnShTWgIciY+D7/tg4LMlAogt1bAkmNkBCO3volgib5LMQR9VHx8mZBmrxnA1JXzZ46jy3M76Lf6AbbNAvzGEBgj62Yn1Jl2y1rIGEVqE8w6E/HfrndjemUxfPvn0cophDEbc3v9p/Z6s8Tgwt0SzHUig/2cv5PY+c+/VPyFuU5hwgUOiOcjNgYgRlSFo4Zzf2PUHv8chIcrz+1ekpDvtgActWpPTY9ktwMw11TE4nU+xgrAnSfmcmKYkf393ETTBf3kyGw2Y9cn+LimYGwtcS+GlLVByd4LFFuDDIrgeIliZ5BSDoQPRSOO63OcbIKrkp5Q0oAaZg4fkfaGjUFHJNax/GAx58tp0IWRR6bVEqy7a+B7Ro++r42fZodpVtLkK8qTLYejctid+GixPL54Sjcg6ivnTKvHvJW4ujqXzXM1WMo8Kq/ht+F5hSVx2RwrARSRyJpD/DfTaX/u2ToLGY/RBGLtmvXvn2kop4T8R/0VMpuNqotAQUffSTYgwE2lHCIrxVxjMVVtzIEbN6cL05JPROxrlIEdt94Fm0bTRNpLLvO3Nv0AD4lARBSK+fXj5sEaL5qQlWXP4MPGex8Ie5xpWV3SkM8GvLLqfaDAgYjz9gF5jmhnMZgiCQ5pIPQhITpVbNlhlvD2h/FmzRxUB3yKl8PMo33dVSDdsvyZkiyVNo8KAbAA9yg616grgxh/CpuhyDgG/FK3uj+g7c9bTWhR5WLmRwcs4ANxIyJ3R1IMNE+4c/Uov7g3T5PAW1LpwiXsyqeCUHBEXEvSQaw6g273PlOEC6M0OjUlQbrS96P9BxEIsqoC3CP048DM9ujX2SBVatdisPiLPBovPV6UYKBqCMiyeimiwoUMXjov10yQA1JGFERDRwPONX5UFHFBNwMGM1AlEUuVk/xZUL6/nB8syasqURlCLTt1KiRXpsl4HtnlNP9gmrEee8neK+Weg5AoIqqX9gjQ+6atPvEkjJgvzdbGJenXi12LCkSxJFGNzNVB1E/kraucJXs83w363B72pdvjxWveKfnkSf8cBzXT/G4RVXK3Uy9qeZotvlGhXNHw6F0F2RCc0XKv/ePFx7+5Bkvj1ow8nDx1n8COb0flixI2RUe2SF78KYpOKXnZbpSYhZQ6NgYqo5CWDrNUGqCuXXjHX/xw0QIAmwp1bNsrGpW6Nw8jQ7cR7mRfwFzAZXkwmrNZJYDyA9IrqJPnC5vwrVSCNXHJVn7QYYmTCA/xd/CLH4UuIt13HKEJdWveDUevKo7Sm5LIc9SfcyXHZ2TieNGGvBuMdT6Rb5s3PUKM6dLgjc0x9BYkGPqLIpXuMN7tO2fx2d3PSgpYa49eH27jA9CB0bflNjL/YlkyPZuBGVsJFaz2Q/Ejx4YMFY6xZiqP18Rec6Gu1yM+eVfsb81XeG8WuVUgr/yGespDX4y6b6HZdIE3cLNVmUVCzl3R9euD3hpph+wpUM/g2keFRp15YCT4fBDF/t6rq70sOJOW2xOBI4uNzsTCjajgMaKI2V+wshsyVIMjEKYhxXThDYIuoSthkXGf75PESCmsAPfMpvuW1LnbrR9bVIQn9X3kYPXEWo9NwgfIzXTpNHd16OaFJWX3CG4LI9A5EPBzSbZStqG8mSNSJTV6vnzoodXPaXgQgb6y2HDgHvLZDsgCwQkege0Prp/qS+HwNQa6qNB1v1E+ae8VUgyiFA582UpAdzky/GG3xdAKxD8YGx1jKg/JIp8FJzf6q8TRasja8I+zxyqmDX18Kmit6itD+RsE/M6tM4LTrVx2FEdo1042XSu3DUb0Du3Qy0hrBM8RhXdSIw7QsHw97J9pyUDo++9AV1BZSvdSk/XUn8taExAiDos2v5s8Mb1W8k3LSffb1xgsObIvObdun+GoCx4SNCYQ/17mAYkTZJ0kVKZyUJdiQJ1XSQyi8OOFaiAVU7p6pMwH5J907zt+FKuqpo/WpYlr/ZJnu9NMVddc14GTX3SgxswonGOSSwNVBqA9lttqqhBgtI0lH7ghx6wc6vg3C4GMOuaxNLziX/GZ9QY1+dSpTQVqo1ot0gGaQamYhH98wPU3zeb525X/eENARE8seUj3tfKUrULrX+JneWEAPgoY5HAVeC217oJmXsyBT47ARfzQJY8kDMwqJQxMgiz68ZihZW83m70qexkdbAjZimrbp+dR34eUlY93TInVLhw9GxFtBlv0e0YjfMTUB1fhvWMR8PhO7uwVuSA+2Q72unyMhbSAjM+JRzKi7f/v5JjITeSWtmXYaL9urPhuOZxiyrn0JZjiwmWaQG+eeRDZmxCLLm4iweRqkkA1alC7b6asv+LkUSlJasSnYiGTjWp8b3BWUj0chynDeVQtbiA13I5zdpcB9QxEgkJ7wwRaeLgBe+2oG24PuCYfNfcHf/xfgVSpmW0VVd0jaRkKtWWW1KgKj1oCpdKi3dx9+9b3Ol2uZF0enY+J8Eu8l5IZmY2HlDQW8xj7SmoY4w4ImEEL1sWrxpZhHswQ7kwPCKonWtDSJnsobh3sXM4My58NomhIYw6sh529GM27lSp2Nisa6/o3ev2gDlF3wLMaSpIjZYfGMQfWreSiwB1HXOBxXjAigG4gDb+5HAU7YDWMfPoDsITrU6V4KCQgAvaCMT9bj973rwZyXT6HAXr2Xuuu/eCCLnGwM7O0btBO6UGs5EAlASXx7dUNZWbVzklpPfxG9SioozHYmV5f1vikILVo7wMzIhaSrzEeZzVpN/7zp7sm93f/IuU6Va4/352iR39oLmyhlEymURJx64zWgFi/FVjyoC3nd2nNAA4aPjZkpYokuUyBt2JkZmYIdG5VvJWLyk3ZGzH3fWcem+2yfVun9Ux/baU90WCyCf80QvJWK1Va14bLNuAIbngqqZavtbzt+ojxhiUHVHssVKj+T5ZMwg5zwN8bNX5drgaWSU2CDUmP1fs009hT5eX8l2JO1HwY149vQNId6jA9qmJV3c/IdtDjgjNTp3aKwrUSU6B0S8M3JGzp8nPgeJ/DijegftDpTiNMKGBJk1adl+4Q//pqiF2rhQAbRzfkplkh3XT+U5PVxVs06TIVNAnKron8ahHzzdMrWu+8wlMGzwMMqDUCARnuie4Qv7YIjp3s1eiFRy5BhxoU2BirK25/llBammJ90n6gEXYqZRbqF9NjRBZjyc/5/seX8/gWsYCsGO03ViP1q3JAY8vZIHainhZ8kSlo4YZZD5omL84owwoKI6krejbFaTsYxDdRHVrfmzxJv9/5gDvhzuFJG2emELCYzVo62cJqp95l+UXwC56vbW8OGVQO+4uYN1nKJILpG99ovurFeH2VRYXaGudA2y2tkBObfFmPXAifIOBX+y0zo0SzhLLJ9bRe4UuK1L/UNNwgGe4sGyJfCEerX5YRpiqMD9SbR6jg3X5dNOUYFzbafgHJv1gpSvpByTMPL+pfEsTDXAsQEu8s6dVWH9JPL1ooeIBSC07f+qQOqKt6Cc1Ecjf/PMyKXeEyPQLkxV8lPmHgxsgFWMKjlJ5LfYrXdJDdoRvlJUCW5gvbKG5bkuNNSzpuaXir28yQrd8hTp2fadP/boplee5BxDBqoyEChf51nCjDrW6K3Alw+JyxjiWEtGJ4rXZ2mdYxZ+7DhDzp3JVuw7plKLydU4dua9foQ+H0IudbqT8a2hehrYX7UYONA6amQJaLkpRrS8VHPHeUhntKcZ2MXTrn06Tbv+3Zo5R/YOa1PpMTXQlYeJv1WIx4z4FTlvjILkcVUt75wqRcHAq5c7+AfS15SWJ76POkWXgaUsJp1bSYvIx2G6QGImu2cPbPKZxrax8KkBhwvyxy6PsC0kALzoPqO8FETTjCsTIuT4CeQzo7AeIY0tS/OXNt2Oh/6FJa+v+6OknEXgrR2ooUMzou7e1gPJicdDk3g9LN2X6jKPl8TTeZpHw+EZAKE1r0RT+UJbk9QCdGjEwAa3jcOMBbZEV4lTxG+pYWCdH5IsZh+h8xDcu7fCCk6lwfOWmc19Ju71fniiD4U5D1bkmzvpa1RArswpLM3nxlw0egIbOYQTWUdd9cHXli/j0OTO5YQ60eTCRBR5z/jyGE8TKNs/7apIjM5AKXlRpRd2Hm3FBnqjn3BsOIjBSSHhFi+sqUXkeDV9mhWSSxQF6awMpLPGupTQ8u8tqvmC2tDRGAnXtjU4PbVBLh6eQmxjG5mpYMgfg9ZmdCPT4+GqmhUVgwsMeAVy1z6N6WkLi5KwtV3pHZt55T10TIovGfI0SbzOaa1BCBoeu8mM97A1Mg7yHSOiK87UHhXc4cv58vXiaV0u2s+izPHG/iyx9p+/1Tduhoxp8UYtY0QZ05Bw1URgMdUBbYzOoCR6rr3lY9qM5LxldY1qmQHwE+QklIetU7tl+rlYhHSy28fCyIYln859JrxePKIpgr7RZaPxKIbc1oASlkOLxhabyOr+QFWj+VHYUgg3CQYa8L8MOr9vY0sXeQiGxTplCKXhjP7u38Eqk7ZpXF+wHi2wSnjFnU8VG+yzBmp2M76KSd+m3GGb35Q9UyHz/ugSmGHzk+Ey7QiqGFlTXVdQdUm0GKP7BmyDZ7+uL41J6FS7Kd1MZFqsAmDfMG+tsdD702Yci8r1hyTEbZfWEokCd26J3dfh3ZSOf1fMufA2EeRVRCTVNcmQylqBEqTcmrSPbitDYB+zY9/lLQ5Cv9ugosvrBNu4PjGzpPMD3cIz5eSWoyN0tPKw4STc/foDVHAqGiw2QvE7Q+5iKiObDCL7tdlyG1qV9RC7PRaMBdjxoyYj3ojJINi5LhENVE+gdyktfa5nY7p+JFsJVleIfvIa15QneNJ2MMBzHT53WXkIhH31v+nmZhcLTNj8dmK+Q2LrL2+jynD15hBuIvJTkFDfpLsIvJZJyqwc0yPf15P451p49caCmEvyGiowR/+uDIcu63jxMlZCBLVmANSKDLM1u0JuS+lnvTLt22YsUWBdERhdTzZyyRtgZe0BgY8n08Nsm1C0239cg64AqV/44empah5MBtg1Qyfvpg54XEkFsOvdMra7ZMhY87rjSpS/u0Emasct2EtusxXkwA3mzgfrIloNa7b3pzuH1IRqTO9nguG2tq/7mc5+MEkFY3fO6MonHKO5Xm4pEp4Hnx2YsY9i8U9cKYYAcP8TdIf6W0BU6r4mlkazeXsNnDFBPLVXNSu4gfhubWPQWZIJgEWHP0cOlS7gBO8pTMXth3LbzLwMGdOT8H3M47xMihwD11ZCMGPvWzzR/vpfqtqg+5zLu9Sx6mw0pdxXJM1tTZIdwejK+2z/uJt7I8JgZx+YpSxkkwKx9B1fQsZL/zAuBQeEggGhw76/iamDXJSI//5RYqsMWzISKRxvA1X3ovQWWJBZlsMeNxhTKsHeg1gWqqQZtrQUw+Kgyg7FZKVoX9l7Eqwvy0CBNNckBpWrRc1Hc8AGpxxHVs1B3ftTFP5QwC+ZX5cgNxVEaUFYkjw6vDns5ZWgjKrBXNqkg9m1pWfZY7x+F2TI80mESs0+6FQgpKMAzT/0Zbe7BXbgMVrl/d2l3Um/aDUSngJri2lpHmKF5BP+LHlQ6T+BWOlq8zj4Ar9quiga5KOtACtTcEUS2STmUSZ9uvLbWZqp8Hn2IhN4/GUNOLNEHgf/f0K8zI3kukb3AMAlF6vZr0aTayTg6w11fLA09riGFmRwu4BD3jZhrH6VI1dA6GjMTuSX7rLSpq069JdQBTbPss4UySv2SFu1GHX/H+RsI0mLONSjXJasnex86W8sKheeoxFbheYdN/lt9PFT23bLTyYFS5MzWAGoRKgnfrp7pu+MwmLv+h87/iTxwfDdiCYa3kxZ6f076zNvSfniM7NYO6hnANUaR1fgJVNdGD6uowkJmADL6uDA1q1WLc7ko8LBDLc3KXDD1HSfEXn9I9SWXQH4AEv2c/B5FWfkaFtpgI5zJI45RKzQS/JenMvSTuUgZqE/l42C6gDa6S74oTEW3FbwOvO/eeNzNg8u27cfrC2lRlz29dpNvgIaLltemLFMUqofP8JNmxU+QDxbUaIUNRKU5gSvHFTMdBGI2NXmdRDypscQnSX1mbIzUJRZTth/kOoqrLklwHeq/IFMzkEdR9XTWEz9TRxF71/R4pXW4GVZ7Zf6HwUfyeig9nIkx0xcs10B2pm0wbCK2fBqE2H22ltUMd/CGlZMH0q3pkxbOkrIgmzIMvX5tVqQVkW6JcPMRaM51XZ7xBnJhHD+EtnSGujlBqepkYmhsrXd6tim5lBAUko6BsHWQQT+0omJnWWrnoHTeb4AF7kY7Yx6tbxfAgT2io949/dYmUDCDWP63JcKaJbq3JqifPbQx4IdSGLRy3/u2ia6dD9KdG2hXNZx/hwnxtiDOzfL1IJGK5KQfnWnFd42AzhI2NlSlX+x9Ee+ajN2JB8elGA3z0ayseQef5HUGby/v8JIva2a1zGoWio5THYuLpLOVc/cjzrD6WkOvcSE0Df4YtP7+CCIiXGq53LYzCbs43Uv3q/yDKixnNoc8lQmfnEhYfgmciwv9zCAhBnWrnthuOsBy9StjsOPDKSsB1NVPL9dsQzHN4nRl8AkaRh60827gULneFM4vqqWLAlrESvS/B0UVqADqIIa9MBXeWdPWaV+uyRxhczYIFIyGP94tdwqXJc2zgpmLXBPy6VSQ1n2zrLiNvkfpEw40hFpmGOcumvnXio4Wm01F/XiM8BGoQNfypWKB1hrX4OX2omEdp55EYTHg/U5QT5f5XgHmKoCEHHB1Ae5L2gCgrRImvliANDqsNUYRp2zwI+jzUK4PBQdbia3tUjmau+WTnAq07EouCWqIhSimL/LewSzV9z1OYtGZKUa9l+G6YtNFziLgCTCdpzHYGvpFy/g3Pmr4PAoUyS5j2wbr7JacJcwgWBDo91Synag2K3SOj1Z5peOL+TFwZbgx0dTawIkFy84kgfqAqh9PcM5UqZ7gavvfsgNeXzQyZFpaD3kn85wEmxxZIueB/nnrgjx5nZwbIPcAHt3Qn8JjFT7BtAYmzY4lbxPDF+VmbLwrhr/Z6z4xjZc5G5zBlt7UH4AQNtu0ufCg/IIGVjFkTn7aWWQZrjnBiaEP1Tcj66Rzm+2RCgRCE6X82AVk9fHRkxuVJ6rkCu/xegz4KCEc/9ZyIGaheuS0XdfGWip5wQfJ92uI9lcug0cec7Mpt/NuEycgbAv474rdXKV83jiSk02xse4Z4kLjiHNHr/I8sszVS/53mAfCfqFDENGbxj6IdvCflh1THU81Qu4Q9anbzKmnbQaBJngxzEamVxQzVLeGA4y2KF84CBP2ByRr123L/UkhGV0YGF9CtchMxEUZjVO2VKI6+9tLZ7O+QLMm6LSno9ARwHtm4FbONZdulSaEJoDw80OV7RB1c9uRYMVLH8opYuNrov1gk0EGNm8yAfl5sM47c2+IFAgFvMlKWpN/zdoskJtV1/0Zzfu5gSpN/kXIJQSO9NAOWQNHoij31dZr7sXaV+l4jwCdNVUfSkqu8uPVpC+/YCGgmiELSPN31FDLlMUfZhop3wNEWgLgCu6+VPQL30418JrJ7VU1Y+U5HnIlKzzzICz0qSuwNhV8CHX1YcflvKWwNSA2araM8VB6+sCUEnLSjEPtpHC4cRbi+gHUB7s6m8zq91NcCeJdWTuJwlD8yja+WW7z++FuBTy/7yMKtevRsPmKFi95Z+ZXxs1bIVlT5E4AG/7AS8w6ZBnxJpJO6xFKeL0t205faTejtfZ8GnrW0wrYy0wsCDQ8TFkkcI7liKOWc6x5+sP3BPpAk2zFjoRpQ39KQmqUr3V0q39GuvcKlsmEA+OtpYyjNIxE4CJ/EWUMpwMZ/ZPR7XdbG5wBtiSouFEyN8Zz/SXbKLyW1dFxxDZFi9rGN3g/s4BbDxs7DvjWoriKFXjodSNzi3GypfLXJFbHxjrOmBDkaYHcty+1hp5v0ul82T7g0AJaF9QEMvrL2aGBAcWbyDiB/jNSgvEkQmp7Os+yUB/YxVq2t6L7vmgYeHF/2eSdBKI1Uc3Ns1iPQTfT3AnFjR/MRqohEk3N7z0EIVHq9p+zIZM+y/ehoLo7K847Ci50lA23m9NfGKKLaQ+cw6lVEbxKuQCEA3zRIK9PUEy2bNeU4AH2qWh179mFu7LSDAJbJO0h6mHFPdWGg3Tqrc8ejCdejL250Aiq9EgsGNdrdw50+5C8/+bV/oOomJXlkjXgYdoI66haCCNXIy6i+z6O/9jMqTV71oI4LvMtabVq30ZWp71hGYsoaFzHihDCL+cjwAGl8ivzj68nW2lmrSncFJxK/vEaYR6q78vhnjfbtiOMM6mNR5XmWe0tH5q2I/ErRqByK34a9PCGZsnnQzQWDz5c5f3tmo+Kte/db1l8lJORu3hC2bhk+B8MbF/qhrH7uloos3vqyiMdqeMr8giraR9U4p7MFNP0/TbO0mh/U+dLfIdsnOS+anSZyhzf/sZugTUzQzFjPhRIV1y0EQdDeSoUnuKL7moItd22+aP8N4eQgw8v377swdrKubIwX8DVJiC/XLvIR3i7lrnvmpEg1mscQp/87liZa2EDvtXUvNPkgVyUhOUxiaLo4iZAqwflNMiC8B1l6EDS8ntTJrJAeOUdd8EXKl4Cv3Ah4dj+C43UUM1Q36fpM0iAgUm/KZQfHmvxJw4KVv3RudGZWQ1jSHGsx0qLL04O/JJgCZ7OyfCY2V02ael4XLDsj1AwdI1CpP7OakTU9KFKWiGjoEVqIOfHKtvxJPitkRVZilcVLdhVJzz2KDqpQ/GDIRYQBLjNtnwyc+iXRiJxe+vOwAVIFyAwRM4bjMI0tK6/7nm7UkR85OrXW7rmeBcAOO8uA2xzGzjgkJ9QUkXfy54lh9OWiOvhUOxig1RkCQgJ3EYcwX7igFJvptmHcSyEmf/a2QWZ2+S/4oiC10R14UA8qnNkRMRLr6gXmZ1rvtiaHPSkdIZmfdE58vtTNh5IU7rBf9lll0JSFDmPfQY/htFBxDcE+OtfgGnQ7ciunvetpxiHrWPCvyVgDn+s710F2YFa9DXL8HHoEfnOpIn+94Bjx6JdnBg1+kzezBkE+RpjOB7KiWoLQjgMqqjKvBDbZgNYPmW/WQ8Qb4QksB6yWNQ6W5sygD6vV+0ePJBkEBa0r6xHxVBoJ5f+WWpq4Bfc3b8rgyFzumoB7RJcv/N0Ln7fAHYr8V4KVz0rh4okOYueT6xMiLRjUWWAJ1snuX3p5O6UISo1VOAwI3LYjbdrbWO7/XQSSJr/ftp0aZmfdJYXQdVxglct1PzeXsBYvRYdl1rjv8W/+73N0oCiru1QTuOk2ukGKn9DF0eBER5kcWi7DPexd+ny/mrkl4sTLuralg1QCgNhR9CVex58+K53Sr7f/4SuBq8igMsclCGC9jZpVLY2CubqvhA/hwMnDWGVtJ10KNlF23R7Ui3Y7Sj5hmwYyTlRbpzFM5X03lJBQyG016tON89Wm1GczTzCvszaBaD4eRxnZrtGYu1aWnrcG6m34Ov5aotcvx1z9mEK5lZWorRI/EA9DZttMqQG8N+QYkRpxp62YGYTckNefQiOi1tdadNXRWXXZq7UnRnrtHeRiyhL1y+xaQYUlj+QsaVR6+qDL9fvaIxnAV5WgAqe/8f82cIg+iwhtGb0qv9fWdYRDYlGstHg6rwneYXcb8ZzyAhf3MsppB0sOCUat6dyHCH/4/1LQxfwODg3EZtO7OHxzicNIcGHLeA5+9eFLYggqTIEOoz9aDW6yb0lS6mFNXlcV8CtSHVRrrGq7boi9ms1qaxh5ZE5v8uuSPQ9fVJaA13iapQFAp7QsyojABgBbuOkCZlJNG3HtrCZubM0RwBtA4kvafm8bPWlF4mn6G4LL1PP1nuJSp7Afg/9TBhr6X4j8DUBK0PjWBwc2klhXLwmY0SzLggos/d7MQ+kSM+D1ggJDumLbcL/Ccb8F8KZc3ZJ/UyRrCE18BY05zVqqRm/eWqQCJ3fY0tCjWVkhG3uCDYSSbqMujlNtOEkaDjptnR61mVknvDxFetOzEyv+9Y6+opjGkeVK8H9KSm7hK3VU0Uvq+lo9/FryHAAUzfQhrSFzX2jcs0VcgQSQIDlJFoCYid1E6FjO+aY602TRj12xsg4iAcsUj7BhP37KPa4P0d+P+f4ixyANyr4KTjDtiBvOYbA9HFZW77RJeKuc3hSkMwgHkl2ISzhdCEO8pN7GvkfYPD/GNSr7p2tnEbTVudUsQC0Sp84w9bYct/cEutaW8ptoLRESLijmAmO6EhgzE+j285BS4CWX9KmZf2U1LcapzBOyH7NCe5AMh6ICMHNzrRcvHGTF7aSQ+mzgCREOy3b/XAcndyjryq//K/QaDF/GRA3TFSX1OxbNgQSs8rx8yLYljwb3GtLO0zAmBWJ9u4zorjpd+uD4RVoVz782E6/c54kdp+NDq9qwc394QmL+hVInmzxyr7a6jOWjXlTlwGAMzbexe3Zvzso2CnDOv4WLacVbNrOU2gAgZfSdiqjixgB7XG+DEd/Omo36+2tKJ+BlPrnXBgx+xS1cex4+cm47a89nrxrN9DMcuvv5hbyHBXYHJu54jFz4qv5FfVViF33aoPRz/dOBa48eEfGbxcdfUp/bcYSbqFsim5BENHuCkgxlRe9PhVgSAwptLcv+Nt1LX2r4+6Gj1v3ZjwtlvgBjvAzqz3ySMpbN0vKkG3xdia2ZU0PUQ6kuX4OuTY0eHG0LJt0vfy+HvFIAJg2qXn2eU7EgEE/mVR9FRvLmg1CJpjCZpVVjVRZ3lbhEfEv+TK2TmrqmhmGHBoUexN1Fvk7RK8+BOLOFA3V4qR3MZ09M5nHUVMDtERX9wMrtwK+cGaHeqzjFKeZU5lZoOXKyknPy50BsfTUiH1Bbp4C1HgXyMGV85iLcJGWddq+vfbbXhkAQK2XEaHhmzkOg1ecMlxT3/GjZogiTwDJaa7IPpeVm5AJEudUr1psM2cWn0HYFWv2LMllXuoOX6AFVVMQim1wIR3yw4CrR11zYaEOC51/XRNoDtDmC7Cy5XJUTdeDvNyxh5xck3/+fjiCpPffcm1r1Qd2nILcNrBv8kj5ZgyBo6xNesQ7DvcWxwe5sNtT/o4Y7zLT8RukxnljUKEOCyfhfFvmCM+a8oU5UbUJ2tKaS362XyrP9WqHc+HashwWH2iVL/cZgVtpuwGXNWKfltBRi8FgZElM4EwOQ5bL6XzsLU3iiCR+jGvmqcKpoEvD6SunmJRHacolPTP8BmBSF6K7/eKM5mzR3zfQKpNqoGC9u0M2kuMAC0fPMxqX/1egLEUr2RyAbRa1ynXSZKaM8VyWghcWqxHpc9UbqiFNmwmh3SHF/WcLajxrV5giGzNN+cQyoSN/WjSYXRZ3JMTjo3IrVAQizsbv/Q6tZURt76+zAmq6DExdOXmMPsHdjP4OU99FDytVfe/Fw4hsQivVrAod5ZiOg45dM/itpixZzeC8ZAXYXnk9+vGv7YHQUeYnMWD39RXuVX6xgHYQSB0G1fRJax3Eo3XjlmgDNQnCTf+o05ghl5N7mdboR5NaTuHsQla2xQ1yX+Grf2Hpg+771Hyqnh3WVpzXewSsAl4Ldzy6FxBqGR5JahcBZmFnFdQO1pfWJNugzHuu9Fs91p9gM8fA2j8SezsIDlu9UUpeaOg4PQmY1mMTa17RhJWmj36YgOB4EsdKt5APtp+B2D4cZYH7Os+AvuHh/25FjJlkHI9BuxmK7ZiQDsfO71BTHIg1lTE3SiXY+xHsHy6+0VHlxI+LVPw6OHUaDIPcpf3L8YR5ZUvAvtndGZrKt8WsqVQaZCzPT5Q65xzWw9gpeSbd/MMD/tIH/vfDFbP49XjBYih4R7JuuUEOq3+/e4GT8sXkBDU88L8TcEQit6lsCgj8pHa/8f6GTeYqd1UD4N2vbM3v1Y4WTq2EWRN4j+KbgpwmaCli1SjcDhwEcvWZ4VRfixuzk2rkIufpS+M88jRhiynLyuDsLkNmET71HBAu3pvATKr96vRTjXfE3K4oqG4LM214PtEf/ew6BF6676xfyubV/uIYyb7vhN/nxUK6gz1tVnx46vux1XCyL1VcUX9DIJYUC+t13di2g56ao1qPvacXzCeJInWWHXxCwnmRVnfGLEahdue02B6vq0xffdAIXePD3N6orVdkRjj7EttyJkf7JUA9pxQtOiJAymzjOQHG/r4xB9vNvSHseHGB4a58dBOJXnomUZ/HxVejhzrcWX7ySzCTTNgfY9/b8tTooFRSqLTjiDuRIM+iS3VqE7GOoJoSdSvgL9nHZ6JOnpTPUE68m8dn152rO/P7cgcUyrOQVM3qTcZea1nyHtonP+Nt67nf25zk5LnbdTtWVY1yET4Mxo8Y1CMr2qAlZxu41sp3q2Ko0IojB7Uugc0by9sbARhgJ2JzS6RI3yCsNhyZynUpKkGbvT+sZDSrjZaUDPqz9gcPYzupM9Vt4B5M1wGML64lwhrS1hZOO54dkPKd7KWjuwp6ENFQyzM39lEhOadnTN9qtGbjienyjtSDQ8vfIYklHVT2hyX8zZs3LPNVD8e7hNGsVKp3lRM/GbGp2EghjW40W2bCoBe5A9M4jbKEMTiVUd3DoxIQryqfJeMo8WNK3G+nxMa+JnbfXAR7TrPG2Dv5DLNmsMa9XNhHz9mUNQirElu0vEMR7MZcka0PoF3dEPKj6EMyze06BGC4zNAt0Izl3RV+AS3TV8pPTur928fQOPrE5L0rxd7L+lJhYZNj6YotiHyAFPHJdyOaoXfK2hgzK5ODI5tYoWEQFqwcYOBM2pT6rLp7sFfxtWVCvTvukp7t1ksvNvFbbKAxM0er+jEwPmx+cwLE90qiceel1Jak/URPce1d+AL3MGTSSFAcOl0yqYbYCER0NNJJTfCDF7mAm/USILYxcYeq4wSeHqDLQ4CS1PlxCgPhobjSAtH2Lj/Kq47sO7PlHAJO76FOCtDxEFMMTHD+XrfBSqqho+9M/4SDcUfjCH8g4e7sy9Kh8wA3gCs5VrFh7E3j6T/W6VMmnbxuLIq3iFFo6/mSqosJph+bYh7UElRFWWiHfy7y1WR1DGQmvzXmzvn292AiUIlTrU4JCJJq6gKfwfFy8/TjWKVjFIzBC83/F/BFdVyD0H7bcmSYgRGqomLmukSAJG2EWea6HageQyRnvIUarsO49imERninT3PH9KbBwV8JtB6pxGyza7ZFI6miWbCk/GBHAoIdHBTS/vssOkFZ9cih9dDZFha5FSWVwrEvoChuks/LEHsKb2WF5EklRUOJZLZXsgU5OLqfLJKzlULXynpXoyrDvmIxGEgrlGbuAYZz74xdgoUm1By/RYucbAeRsBd5yewnEoRKRv1JWt/Q62xLdliYMHaJ7YC3kcQhqba2WpxN5eSm0FrwKb8ZOewlavRf06ZxLezITb4P6wq4XHBhTLkHbbkzA31AZSOeYRf3RTEZ0E33U71Mna4g0me2w5zRdp5tZhR8pqPfx0JvItCsdX07k2wei7iVFIG5ys/aR+qaREO19QCt8pQ42Xk8HWMJIR8LDK9iq+Ei2miOQvUek4ae12GRxTgAh0+plyxuYCaK0i1ZRA89nCTfsnkD319nns6oEum0ZJCO+31IVox2au+6r3K0PtzdVnGJgLBKg9R5GuQYnLU9DeO3lsFY8V985I5MNtz8jv1wTLPAQAT6fWyj7/fus1gyC/rsLB7EOK+JODYrcChEQ09vyL5fbAezhukph+GkMLdGYsQlJHHjq0ZFmJMVqfXoUx3sjlN09+5Gvx+eOGFCbYrzdDV8kuXeieunThSqIRUcGqptk0PD299INBXX2x1UiKC1QxpwYSbqZt4VSS3Kqft7BobOvYRY3LLYsDXTCDD+LSq9lKiFutLyEokIPjuytzNai/WPGbQhkkmPcsswTHC3wjkZtACtr+wSlvgnfUcICo3z32XzS7a9ycFfcU00Z1X/f1zKn5ixDcolVUlPcixYdpuyco7HzCfviP140k5La1RRZhJr2cblemI/EDg27GFqfDnp9wXgSW1FW0vr2h6ktZ7ATO8eYzgrfD19a3YsahfkwGqe2UguiGig5LYvCfE+4b2vizo8QwoDC/4uVeOI7ZDEMFhpVJ831E4+tEwYCG/Mv9c52iCvg2QPGmtC9AeNf/pHj2c7Y6SgZ1gnV+DT5M7YMX+SaN9Z8fbELRL8NLFY/HYvSkEgRTtX79jV3gfAUFxSui7i5ft2Ag0xTXII8prPFFOjDQ1+dbSFQ/D75WdBlQ9qOU5uPGQ0SEtAZPsBKH9nFUl03bPtr8WMz8/NKjyN3vjhjCr9wEw+EJEYpbaeWOer+ewsT4NwirJa+DXvllnvgBg1fkyYp/n+2ayAEEZcKKsYgw1asa51Jxrp643y/K5BUOcJFpkhRM/OcdtuMV1nvoxOk5ad4BJFNSBS5lB/rB9jw592wyr9vRiQEHMoNQfEoj69vGD3FjV9Zz/Qmrs3GUZiiaFCfTne4hmBoOo/OoWMK/KiODibTA5wmmq/0m6gTXwGksNCT4ReR5PO/A2afjmRMAsqD94w6fQ90KCaqpSQMQwZc15v1nqCuUL9uYRcFuQhPX5rMCj4N6b2QTogntRXvdJs+A8Ngpicr99izd+oe4TcMOSuNZQBUnz327RP6JRo8tQ6xiEksKqbpfQeBw/N0+yp0HMk6r+qK6MdWjqZwgA+FXmN2ov8zawKIEci9OnPSyIOCdlhZGaI8d85x3OHAxQoBZtrRLW41gC7A5EjyErPeX1azhC3NDvo7/zxvsuCPRU+lcQ5o5gyRTnOCNsZQ9Sml05Slvuk+6DAW7/8LnWnBcubQE8McPYQDlqkRYoHoM1A49eVyY9i4ABRekmnwT1Z1eIv9ic5+XJmm7ZH8RNKxu0/lpMBwuvP/pQiRBl+to0e1Xtn2zfsCyhQIb6ARG7lj6uyoCsHcCzBUPZJ1nlSmLAh1PnPBtLaPKSUVtd/UVE0qk0Gm0C5RKndyyl30519/eCReFxSWS5M3aMo+PkuNWANhAm9h4gZrYMjuJcegFuNZNDP9fVq0xcl4YyfL5A323qArBUMj6Tjw/IVF5WL/TEi7gDr+Y07Yf6kfb4a02yCc87OnOKkNoW7gF8fO3B405pVrLn1dO1OWtq0GISvgeKvzy/bFaQeQ/nveTB0ivnRTVYp8UwjHhE8N2O5Zd48LQTUbqdjOsnVMx9XntymtCDNLvAYdIA5B60DoI7BOv3tg3lY5dIi8cAuC0FvJNoKZi2x5rP3Uvl7UcfcQPMmoRsIj/PNOdOF+UKlVk40VeQhRewGmJt66Qw7b+ts5Bwe43zzzSNPYI7AlpZJlmcBEupwTbULZ72q1ixkT4tszVVe5K/M0uXWk/Du5W1j+eD1+mXM4YM7tiT7MSTPEWE5UCStgewd5AyJw7hSZ4K54/z/cnBuWycOVMZxDQfKZQdCV6a4RVMRSJOQiZChmUgEyToy3Gf8U+dVL++gFQWyYNDRiZMMKC8nGu+9iJwilPuS1xfQt7AHZAwjGdN4hCvEbBxL6S/Tsr3Y/3TT3V7AXgJY+1vMVpe7eseO7jM6n/sqZYVXCHDHFUme7g3AB6Qjh80+gJAgJl3s07XhIcX2XahES7IOaOPfLu90bFYAuDMKgCWNk81/AWSErPq+UOCyvArGWjIEkX7M4nYk1JtLCkzGUEbTQ8f93u4xr5/yXOrnWqaQDxVu6GhiZbMGr4j6zUXU77wTsZW50uX32VY2HT1IUf3wPQ0AwDVuAiHFdJ2kZy1j3YdZzTA4OwajRzAZMUwEyJ6JpyVRpAdjcOUavG9s+14sS52sNaS0ExKOueo3jf+YJxHjeY2hWMr/0MxZV0tk6XtRJ7Aqw+X/f8uBOw52d8TAYLrWifBbnqKUC6kEFdC0N9yu/1yooqDbmylgGJ473ft1xUSauzA8Q/NubaCNJFFpbbwvfdkR5dtd21v7phT8K/JsAVsJbu/gB1UjaFyMSS9dAy6Tf2cyriddIwncwN+xYzBtYAQsEhKH8SrsBT165qQnBBk69JZervrva1O22jjJ+1SmX9gnilsU1nOAToPECu6ieSzLQC1tPjCCxdr1y5FbmH3Gq1nscaKLpMlL8OrMpin31VDFZvH+KhJOxGBjj8CxvHl8fS/p54uyZk37p2/6u7kRn1+piSd2Py1sVlEIW59r0fCr3/Vagc4PKAdGejnS1o2+ttYk0zNbOOfaea7cA3eWXfCsX8Hic/aA3rIF8jKIlKnBsckofd1TioXvl3YKeCsyASmJKgUZ1eknvJV8F0rbxcG913v6wfMyoHXw/9c4HzemukFg2omgJKFwrGvhPj1tVAVN6OWGzQ4Jcz/NWs7qJi5059YcemP/A7+Tl32pD/eZHQSel+tJHn3TzPwlJ5eaOy6cvx7Zpu78YZUkT1PT1mhhR3lZI1uXDRnpNE+dC8gFGSSRz6ShWFS7WbAk6j/S/sZq4lWXolObqN4hckYmrMmX9Vzerkf6t3N0qAro8zbQu53ajJPLdhGsQZ0tw8aVjPFfW6eeusTM9uo6jIDar3f7eAzxMwWmET3j3Avc9lMz3XLT0qaHpbWDwBPyxB8vn+EfF+qfUweGJ6aw4R4xRudNO7IPEy7KLwVQLomNChquCJw/SK1thMJbiUs+HG8FvQnVabpXcJF6AKzGiMFdJhz/hRo20nHq1vXLit5K1b9Te/SWmH1hkrfupLM5YM9HixVMdK5E7a9INwZkqJpLVNgx7yeuxk2UnI8hCSg51fK7RbBoJJmRdp1NwRN3UhsRuNd3Ak/0LnbW7kG7iUQFwzEvoUGHjGfb1MF8yMq5h4DDvsriIYe+qhBoKzqjXC/Qn1+YkxjHoB8ojM2fwt5U/n2ZjjgoDFdbdYl6b9uuXdjnLsensqf7XWyoVKTp9cctydE4I4KDJq2PEPJe2SWOSej5M27WNvE+jZ6zxBV/F13omYkkGHJGyoBDq6uDgDbCxWIuTnnWQ52pohhfjkz1aE9LLGkYoXJf7rWNDopl+K6WW22jLRuFGQYYvDIy+UboQHZ7xWJDSNxxWsw22bRknPd6sfGS3u99escCq04DKIA2VPylItoHWCf5tShYYu+nXo/jgvRKS6zsVP/3kEjUfvvWQXPaGfFQJ4xBVSPvLym/n0l2uqL/lBgxauiFddReT/irFNfM5j3plMNEf2FpJOahazJ+yt84htrpjVltoDKYFjNMQsZeBfex4MYLzfibc5A2qA30zf1Zs+zSPocu46CIdtgf1nWtLH3i3180jQqbdSE7EL6UIHpOLX4AMg/z6dgIiPjGnGCAe50QBemot3qA/Ybi6DkH1DVaCXn3dQl4xqrkIOEPob27CdtshAzvJd0PvhCJFrsDsh5LSPQuSVhLdwQ3vSx/nQk5/xF0xFEFRb7/ii5x9QSqY2ig9NIOM2T6xYn6LnC6CthFXhEjPYSKrFAwLbNGEXpz5hQmUFcaZem9tcNN4u7l9PBMkVH5v3mg7Vh1IoUvY2scPI+HK7Hxl6AQTlYkkcqdCxiZ8MK0GQGR9jTWQwmkCiRqe1ikQ3mPScw2RiCvzIARhAGkYr72DBpWLu/qrzzUbd4DU+kuFGWz/E4mUU2UM7Sd9N8D2aBedfaNHYSSZb4AWzynwlL5YraDdHxT8II5m2/SfxHVZVfpwWViwymKgI4M7dtB9FyH5A3Ns7DvkN9YTYo5rukhxYHpqMCWO1e8CKBrDUE7bgbOWfzPzf2WMivtdRBBEqKRlcJN7zs0mysAcRzFvLME7iQVZvSLyTURJKHAW5YAKWzwkcgacBIaISBGPBsMnt3gGo6e/1eYY+3TwPHx2GhsKESoGbrLhcP041XqgkV9LUlZj2xtJTnw2YxOCKtnGbPHUnvQezncPcZX+GsH3h+dmEdA0Btv5dQIwKySOUdpULXC4B08TeNLXKr5NgKNvRNtDRZsnHbYN5RnwPEkM20DIzVuCVPgVveJrEGwK8128St7Ofr95qBn14UEIllxUCDb2QsK853Cgix/8Ydf+T5IsG3U/+v751FAaktJPnXqXDodbpFr9wnwzrcShsPYcl+M9Ust2DI/QGJvbJdCF/zxz11nVqg2ehJ0ihbNbQgHH08N66SEeNlbH2WfR9XQwrjpKflOm1GcvnPHoXPDFTBCy0lw4h8WFj2xHpAJA8lokgg+j17KTvW2HNHrr5oD5jntyZhzsy82gKcMRz58aGrli1wPWNznNjuvZ3Fh76ZF0lEBGFotli7bdYQNWmK0FF0jOv/Flod5zAAcyt3lxBgfGAqxOBZhfe5uC7ty77HUlluZHp8UUBnlVPe37SaOp55z/8KjReVVk2wEp1Ezp20eF2kodE8BeBJo2IaKEZeV45C+9ym5T4fr2ghy/4a159ZzmwOAPGIDw9DuWxUhp5yyS6KZ4v3rcyyewejMKCqbe9eKPWIRHlm2MqfQr6D4sgvdLRei6j3iXZ1RBcGPs77zoez38hxke3McqbB5Zg1YxgxYsIa0nGrdTqEgisRzhLYBwiYY47Ce1/ZEPy4ORb8RwJFqE89a2bxIR55GdQ1MiXSOdVHdaxbIXCy/nLFteb7naZSRBVs1gXQbN6gjFrYOF/03d1gQl3WxSmGwOvw7hWqr7Glyp18S/26mC3s5pyz1tOz20dxxy10TYTwffD8EA/8NQWPV9eC8xEOmN1nc+b6vjEzko+ca3isjMTFwwZsiDZcd+fniDbovOAdUyIN9tcxXeKCPyH5tRCir3VT2vYrC9xKuy86Ti1MJnhettyktXFmwNI1A1IeSJpYCeMOsgEBWYhg1buQshuzc4lD96wruuKu73oNeOp2YJUtDhB17An+xzCE8vtUKJC4Eb9XdK28FYmXHBASogSSZW+ZjIuTRPxUXHji4VdCA9y6qL9YpFs6u4YpcT036dDv/nU+B8iqudjEUBD3XD4ynPfKuN2ggIMfsIHO4IQuGSd9bvS5Kws6+uAO5llUeq0agw8cmkZzREGXmMv64rrKX+iW2CtKlcq+QgTPM0zZyENZOZqDLccQTqJXkEs30IDI1NhStAEDiWdQIC9D5ZEGz6g95nzV9FfKH1WBPUgRe4SOjmH5KHWYyN+yucBTDhfqOkeXVq9e2A2ZIMrgmtFu7bIZ7vUci+zuMZcu3gmqMZ2JFw/bSmy8E8GJtC5WnMUDobH2+M/MPMckPN6BO6u32kuczcK27LqE41odS9J5QnNmiYwFX4nzU8Qj4DqVfcpms/fkHjlZ41uOUhtuTUzeBbnH0gbK9vdH8Ny4YxjsF633+DaymVCa3FJLNP23KB34kfvtB7gq3EbEUQm9oY9Q5ckXeDbieMSLhK+qBautlqW/cxuizGhiarMV+zYvma6EhvtvSwrIGuNMZs39rnAK+xeeizDw4kkJ/GWq75WXvG7/eSPC2tkMX/ykciajcJMZNW1uqgvPyjJ/oM4FWnZ+1Nwzk7Pjnh/41MeIEhcYecAuWoH3s+3Icu+6vhHFYGzHhbA5J3NhU6+F0h+kOu/WpIOvciOrbwHzkwoeUGWk//lVakKtRNln0MohJxfMuM6ZMvAkz6r02DKAUZA1UYIz5YXAVwQvws6cU9eHySWDYFym4Uwr81KAMEUjLyzEk7sVHS1A95akKb2A6lovC6ubl48GiMJB4cYEFoYBTdebhIsmii+IxAHD43IsJZTwn0OetTOCJLc0cUu8KS1tHtYNmgDfOokg4sy2ZKp6zgt6lu/5GImOJFzY68S8hbT1Gp1RmuWn+33Qx9jerB1vuReOqQkCfc0yrCoTXNdJX6SqNmIcJQnPQ5/KD4EE3/T96yMP1TYjWEmdobQ1cm5RB1wiJh0RYej1SVtlT6oXKXTdFLyzyl3QDYqAvhHFFPdUGzww+jEAskdqTy8tIczVrcMqTt6QmNt/6gXGL8Jw4Y8IhkoUGsme0NfAbfLzv63xY9yV6Z6Xbq51za1cbZJ8E9LuPGz1HkOMprtL4x0l3/SDcUPff7vvManvU4BRdrljxRjUzyLU0uiUEG1JFbJ+oRREMS7jMHXJQDN5CYGfjKnO2CeSAI0en5EI44LNFHTjH/GHSPphtifPRmiSVUOe89iXpqDu8UGP9ZcMZRUd5EQTGrV7cejr0Yq576pamsrRUHjijsfGCJsZc0boOXT4XakWZXVOuVCyly9xleWlljlE005VEWbmE2Vs8Mn0wreUZyBSBPLcO4IBsXB8p62wmBcWdMLaKxtfvyIT8eIQFHwaML4p06vNfjfroY4HkF3QplyN4bLN+rN6HnCwCN3/Mfg6GcZsU3r4QvniIIrn5y4xkcCJSZsK7fCdTngCRkbxI0Z10lAWb1cmIIIcFloTVq05b4EIi2kJKkBdiMxRPyd20tg/XXA3SQ9LPuM52u6fbgzcAvnIodcSRB/Sah0TeFhIi9czV5DsoPYXSon7ym39rPCKLbFuBS/3gjt3nPwOUpLIfNS5y/yEGI/F43RYB3u8DhzvI4xtKYBm6k5ZdoO5wA7bCy8RljCOHQ4rR1Eb1doGWiMQyWs5odp4Q12FEWXvZyNbKk2OSyu1xr0DtxQ5AS3xRVQuvN7YPQYZOoJEY38yRJKb6AsnTGYoWTBzhfNFZOznEMqCpO351JAvW+NYdjI94FfRYxJtmfY6+cipTR0eQQTe5OikSO1iU4/iL+MyCokhL0v28FSr+KLGrfovHm2GjAYsPKOTXNU/oz7mKIra51tA0jAjhvwSpn4kxde+dMMAc5uA7yf8H8qcWl634erMnus+U6WGNmFAZYC0UX2gT9E9zn20Gp9qmormefK9Ef1C2wsH8Z5m/a0MEVqRdHxAquBr+5gbSb2qNjXhMrHDoWZSQQitHKlPs7LuPXYmyJ2DlQmaW+OXhsFWwEbqWx1Kb/qK6tiBbi/i42L4NSCPUHux3VDbIaSbEhj4LldcSBl2FuXyntKJwcskOz6TaVh2vEb5XRJf93wvxV2bucEeGiTH131FTsEZD/J70atQu9cc2l52iRU682H8O7vP3A4i/54HIU4qoUrqEJfteZ6X5zIalZTeCK3y5GxLOPHQePAx4Dp4TVghzJJ2YM1p3sNVotQNu0rDi9c0wUgA2LfDvYHyyAJs8MLcUQVE0dZnNaEvu/AZAfFJiisifhECMxpufGtzUeBrCZo0iuWJe5jDBTEMk/OThfzGJayZnvPAjA8XqrW5UR+wmgDqZY7/8v5I6dlMmFM6kFC36g9JLuODUVePcLJcu9NiRxuUDulQwBclO3gzJxG2sYQqcdsQ1G3a7mMuwK/QZr0iF4hUmzPnx6HUM5+Mh01pel9Pyjv/8TOZHoC1FVS4NO0R2xSq5ZRhccavnXF052Y23gGjH9ysYkPMCJkXf6z5zjSaj49w3iUh/y57WGc9cWG0tvX+LCCFaBDZQ0heV8yiRHa8EvZYHhIj8eWjeN5xv/2DiwqSJ0shXz21Em7cuG1eCmX02I40CKAuvZk7bw0/1Okq1nTBRlPdRELMUkeXrcFxDlyhnTvbk4VuafmliQ/nz5KngJgZYDPpDzNjAvXk/RnrP1m+3xdOUfAipQkYjw3LhR5ZlaT2Hn67TmjtRssK47QC060IB+XTs/fdUiVZuQfaU0Ee2+3BDjH2ZUKjL54bZDrRj5/TUV2PssqwUxR4bQ36JFu/Z4nbJAVNTgAyyZ9MCMQwySjLoKvTnrpyxeC0rGBByUUt7+vqoyBAX/ZMQhHRzFWBlPcIfexq4kUwgp7nvPUf3QmlaDA5Bu+mjiO7U9grwf9veUGkJ88js/p5sfhTjJo3AU4b2v+TGsbaILkULbPgBexXEw0fo25U4EW5LZ2BXM6crDYCtW00c9HHCHBsO+nbTqNfrDaFVEkHvFO1s+g7OEilxs2Cj9rWhXyNHMKuTNqeCZiWVwV0SbxqvR6yG8oNyFCwpp06ZMCHbKofnHQ77lX+ifbbqrna/FiI0UFz84dUAZ/4ziptHC+Y2mNWZE5O96+04XboI12qiZhK/J83cJ1JKaBRjRnQ7/PMN5nqqeyTRJHb9v4ElfHocsg5+/BbUpIyIjZ3BGjMlgOpeQAY8fGcamnHu5pCrB9HwWEeafWaDEvbCDrLz9jx9KXTOfwu6bRg2SisTqHsNKryJUSHuMEHrknzBItNs0YmlMNFmlMSG8M+WxY6Bl59JB+QI4qF5DtXCKXiS3bp2MYK9MmsYFMLKiyPS8zfw6GCtJLFl/6P00c7mNxGoY/bHuwhrq93YMFOocDLlmUOnBJXQ5OopD898WFdqRILcFU9GgPYtjWPXMnebDpMgPxxlAQ00fiE41lp5/+lnDrTCRbAqYqCGiWclclj7tT6aeHgw8jV/hABRPXbOxXC9jkLue9OI+tlWC+tF4I6XbMS9BgVb1JjbhMkljaRcWuEAB7mwSgWMwKNEK2qrW+gplUAdo/fm/kSPo5K7BiAeIby3sgJIq8c0OznTWQbfpCPyB+1KFr1koXPH3KBedBzYv3Kp4oHxQif5RKR4I7WOG9UMu6H0NZ8wtIxon+N//Q/wM9DDPc4MoI/BC3sfOOJyGnUKrFbeNmZ7YLzDJbNqbNZnRUugdY8Z5RsNCFDlIS8uNCt7NAPDz4WaRtXi+b5cO+TOfTb4GYdWbC7ZT0l4liDpOw1ZAle/3we0bNmMPf2raJRWV/8d1LxiPeNjMURg3ADGGzK6Jxj/jbp1opU+L1zXcsZGqMhzpUW/R9YUJsxjFcrfP0cf3zLT6XpBoVaLfTUUFrv4ideOBmqAQdEHqm43jpnPj8PIiusz6DRzheKs248bnqN5RR7e0s6V0k20sSkGDCzE4lIPvd3oHLku6qRK0d0I6CZqM+/cZMbkfIOb3xVWs3QSD2tXf2J9/7tKiHKE5jNX2oJc/55VzLS9OLZ/M7NsqpRcGdQs5SX2o44DgWLbu275phoZDkqd0D+Dr5t2b/q8wzUKV8BTgHM4mqU8QG6pnz9FEkgWujMK96slScfa8nvXtk0TGxJIy/+PZVi9rDsGE5J9IAdpiUKKHlRxj3z4qXCQumHZSOfrrRNKnerO0edKSVhd9+s/KQJmsCYjpZoieVMDZX7s0TqwvKITY2o/qz128akLED0Fb137vSoeWbvkDNqnzohW6ZPiPuvyOEem0c4FTu6Tpx0dnR2imPzaLGnol73/m7CRI6vsM3Mh9BAJzzuHvIMwHit8zN4oGDxwKyRV5OgGdsrkO5dm0hRUjjE0LhYQIlvW/pl5sSl/y++UD+sLYoUA5NEnjoJ2NQ7XhakPKzvQp9Z/LRbu0MSa2mYIFfW2vv7n6NMir0IKlEZIQCuRn413HLbp0JM3ignjOyOcn9U5QwFLwC9+SkmeisQHcYoTOCActmFsX/WHIkylvtmlVJLHRxvmax2hmccLpMB6psAI8iPUIwNMGvRlYk9QcQEm8PPH8O3ATTNJtVxGpvLCykaiL67fR6Zyw0CwuOJG+4IZAEd4Q63IAEJyYI9diQ1C8vaHdwWSW/ySC04h40TRgwwN4RFABUQ/CofE7ZMIyxchkhCNdhvPNqV0ZYqYgO1ijOCU2SXLwAszj8QuH4pW2LoHv2mTl5jokL55TK6Gs+pN049b5UwPe7VdiCY2fEWQr0VJlc4+0TnD4bcxhLhJQZ7WHKScJLsLGz0FsKH2vHQTATeHZRE6YU5b9VJ6SXD0NcEfFe3ax8HvfRfPWI8Cf4C/y1PLHwTX7scq1Egt2rT48WAZYn0C4Zk+wBnhh0CTlKpPAQIR9jEcasom9uY0Ff1u5q16Z/72OWw1628x3R+1jc2WyJNixP36uyqk9Si1wrlnn7E6ByWlxXAVio+Inid4uKvHklaBLu3ObQhRVyd5xXBN5bjdYO2MBGgww22sDs4Hx3q9O4na04emiaHXv6/jqKEhHOhxDlM0ZKNnkAb2nB2rb4H23ZRWmykyPP5PeN68PevZEQiIYXla6FFgHsxaYJhKh2aRDsI5mq+tvfjEA8PciL0uaMb4IHEmu/6ze5mbPs2D6fehSpVRQY1qlneId/Vt/EGqpQzNnMI8MfBa9CZkG8s1t3K3IwYimEHE9cioVDqI79lL3PSP8i7gjSFsCrDMhUYXi24xrkjyjZZbarj9IuAZeSkmsmHQlHqOKBE/8sleFcvWHEpL4TQTxjms9acr8y3/lkFSDc6jGX5UuKbGi0JXpvknNywdYK+OqacN1FRHJssBeLh5z6poso4XiO4hMxv0Wu50c+SPJOafR1gJJYmLyMH5lilsBNLRWBVHqu6kqJbDoYcr/3AhiOrjp7s8/3XKZTURcYMJQgEBD6kKW0V1xTjF7TTxXRNe+bMfM3CIMx33fSlWT2Ic9nUG36QPT5XWEWP8TWeDfErecuAQt7JcaUqyw5GuO0L0ksYAnjAFCNdaD3Y6K/AIZqsZiiOg1pDZdlSjO38MabvLYcWuyw2qFummYmx+3BScxeS5rs8zaBfYJkZ9MJ0lEJcO0vLLiRjWg/4wCDvnZQwe6tyHRoaiRX63LYOclTGhnAHT0T8MpzgSG6OyWdaQZR89RBPkZ8N60FVtltezVELklpEG4yPuGRa3sZL46gQd6IN6a/pCVVULIWj7I8N+yl8YovgqVOztQkM8wnHbrsIeidmoamtcAQKx0aDADeKRO8/eaSApKUC8Ib6MOikqoYkwIsknqeHAHEDS15000gfMs83vQWDOdhkOvY6Ft0vr9EFQ9c/tpedtXxu9Dmac7oo+Rpx9zeJOnKDT5iBOC1bN6sxPOu09BImreLfz6TuTkXf6Q+XWZbv2No86B3vmUbCJ9tCeMHbXLtg+JtlTMUUh3gIc87yvxf+qFauJ42Tu8cEX6Gz8RYnTjFyePLv7zZe20pSqRiJux8MwzZXxUEOf2py/c16T0deQdKZwT4iBr1RM14p9oPmxnuRd0cMzNMkW+OaANyS9MLt7kEF8j0a/IGPMfvV1M6VpTzw4YupTNEW4ZAAFzcrR2Kd3iI0SlDm6qnUU99mUY+xzSLtllihDRki0xw77wEqhlnZeg+6oKWznboLoGpc+gn16/KGsJmldMFYNuJ7FlM9IPAmGQU9vGu7K5OMceO13IoqHnNTABLFaHvHmAc84HqshCx7ocZdpSeSiMo9EtvGl13e6OGs+drcRo5p55C+MtC5fSDTgvTHRPz6iOYJorjjYP3gZsnJt9oP+VVgLrVRH9NffOYZN5JU3m4QmfvHt7L90jT7wB2oUdv+VYhoSqqE7/1FJJXEEfQ4kxyWs7Ht6Nj+crHhuVa5lc8COFIN0EiG+xtmq7jtZaMGMyWGBiq18q/0MH6FTdo8D2sKCDwhq/1UkJQuznYl5zARhtZEr98aCRcug0/fcsiPajBqus1zcpC5YEQ59whnmDWGuAmcxocPblRbh7KHS2ejBWJJPLxfbiSTAM7ARdK2WJf76M15McO2rvBpxWfqmKekCTYbmPZ2n+ycInSM6CqmQBVkeia1aZYihAd0F4/mm+q4zp3q+OL9Og9UDYu/ce3vgsowCuiRNBCmygWUSw+aP4C4fB/bGKoe3/BDXPp66andGZ3L4CeqXWvbtsfxKCxZ/HVogRV868xQPzlsH/r9Rf3Qme2j9SiXxoO5RjHRxLJjp0/uS0mUb1GHWSns2+n0rXlqtriLNoijiuSuDFKQ1GIXkcqqggxKy1puuX1HPdP2EF5Vv7V+svrPvVHeRCIIz6WkI+/agcbCqsU963218kG+SnJmWfS3rciGCkX8zLaHVuklHUje/vufj88SNwBnUAblpgkh2JGkP3l9jhCr3HjVaNrh3WiGX4/9QH2LShd51I0RCne77lUwYhTROAHWSjX5mT5AHfqbcoiHj1qrvc19PBa+yyhgDgDxo4JUBnf8oVxc8LJ1ukOf9a+xxPb1xzp7CQCyCIcaKv31qPaYRlTdTo7/pCpTV8sUEbRy3LGyv0ZqrcORcT30tl41avoCcHSCKwsF04doc0VV0lQXjtQ3m/jXLdPLagNiJq2kqWwftpUgh/rHdrldKZSmirf4jLrR+RT2ov7Z7HhiawXzTfQlrk6dJSW0/fzjw3Da2mzR9VX0ihVbe38jFoy3p6ZicCZEEZmavOa5Xj6g/X0nktmouLJZmkP4Ydz/Jf0+4VTUVzMxYArHaF92Y8rjhwLtVLlzSCSHV0TwbFpuhnZlS/VEeqONgyeSNkYUjcr2a7akn/uvL1sbkbDC9TExTYHjf8GEDVtQQWgDYyCeHlKByBSl2MXpg97BHTGDlixDo1A/27hzWs8kQaX+5+pwzd8gN50fw1flgIDXRpGcUz2YwE1MofP1ITuhzfeLe6UFIaObdzuBKF1Gnpn0Lwp8wx/f4PIBXa5iGlxxFkQFQ385sw63Kazw6ZTybldr9XRu6QrrMYGefgD5DTtEIoUlNTiUq3TmCLnbDExNqFB7RlIx+61SeUBjkPgSsBASKJCNNPS+OThESU+8MJmDwBsXwRUuBxa//S/Rv7CfvlpW/2Txjc7BvLeHDyaYG5fqK9hlsaj9AVIqgf2jhwZk8iaYyfVchTzNVkGl2qBjUCgEWF5s0B1907Fg4L899v4RzSUxtGEI3tFC59U6/VxqUR7yxkkEFvuG0DXZ5CG/t0KTNSt6A4H63yMh7PWM4nmYfqzdOb6u1iPZnVmSPnfEvXlq+vvZ14K8kJtDes2Tv/C7CjiBGJBQPocGhM5Wu2frTaFn1TPdBm85X8KyhiXtUgT2KJSfdL8Fe2GGyf8Np8hQF9vN9dTA8j+Yk1sF66za2PM3k9g8tu5HMl4v1zSiNotKc4+T/d7DxnP4Nxe1rry1v/JCoFrDSeesKtMIifJJ0MeVv5WdHLd25MMg1PMBxTjy8ADU1GWjeQahZzl39731VKpl1OHHpHY3RiLbTLtLg7DbH2DGCMoNeKQ+gSRS5JHiYfcv+1LWXOv+LF27LNXfPFbNhKcmhHw23aK1oZPZ/BUIq3P0D5vLWf/2OksofG8J+ip7D4Kl4sWxVYaWfb3qlTotqFGAdUnvPKe+FIL6gdZMS1Ypge2D3I9YrjHesAVO1WwM+DDWstWRjBJuDcptqk7xD0LDMTnZz14MtPEqhKcn9edtISRiDoRzuVXLqd2pk1aerSP06WadUiH2GhChdnEgbadoMosyLSL5iQTQB2JesiAOIN+0SLWkM0O6jAyws0eRB/T3glCkzqktZlUcHUM/h4PdycPEbZTHpGyfZlWak2sjxffGJ1SqZWHsCLkBFUlzPlMrxaWhzEltFN+Fcfy10vapdZtmPCQze6lIaihziniw9kxFg5zSld/flPJiCmmgPcMFXyW8g++DHJMhS0bNZZs0DSuQsq0ZmU9quwxwe/C1bqEZz8wNY6ti6n1pPVMDiAlkTOgDBwy3ULncqAGRAjk9qCYyPZXzeXm2r2ZWQfggNa1qIbrGFQAFxzxULlrkYkYCxVjOW/kJS2MCmaRkikLzN4d6MXsjUakbkgNZ4MQUy3KPSu+XsilEzOYt6GTUzxy5byATHiS376DIGSVXesNntEjD649wZifc9kG5rfL0xLm0SOdvERhv4As5InkiRD8qryFt2YiINMVWPaPHr/s0OgBpF3tEDHPQ3Bv6ffxpCgHnSka8o8PNHwSOPaqTkfDVEScvyAzYFw87zbfsoeEOuRfsovpmu0bTizUL+PrwDfCY/hPuGeW8oaptxGAFkEY54Ynfh6bKnjZD7vp8aNNHlEFr8vhZNS4Ou9j6XyUOTXS54eSUgY79QsvZSLWMTn7zlz0Ikjkx/mQsqrxslv2ZbyTVY0MXBd8SQkV76UfDN/KU9fpFu6bxc6ScwejIIgsb2q+bpg4wCpyJI12gv9fnQm3hLLnQFTMhTXRbXTjyFLipDMnuKreVC3fJ130iackLbM8en8jF7vRf4CZ/Z+oON2t2/6IcvX1ijKh57nzLXnJ4M3CowkFvpjN64dOUu2x6GBTLWMXzRWMOBJ62/L5zWGffZvDnPI5kE6a51fW9aHTyqS2KWE5j++b+/GKbounBFtwT3l29rZ/QSs2MJMD7+FMEn4GNsnkp2u509oy9O6rMDvqQgfyBPHFguJMdiritcwppFcVqgmk4E/rv3j5ovIwsBgfBGPV1bw0g+lj/hyuDpRwrQ+t8myaBF/BVUj0nI1HzXT5dzAoMP7Fkb88ZS6HgQnR7Os6MLIaGjq4TPL5SVmMZB19kByxFp6n5fExNiL2GW28sJk/8vQbAuEtrzbgkB+442PftzjZTSB9NOLeDFY3+78nYamCfA1OTNYWwm/XZWTUGzldJVqAZ4GQCVipMfZEVJnjV9a9nLS+i68MyT3lc/tkCjrNC6yU74+s4C2vayZeWZaVAzIyNfT5yBtaDyIdrYNv45UKbJMdIy54vpSs/6Tq6RtTyY8A2ks+CK8r8dBjLL4wbLpRCmmj9RdKk1V+Vn/Oj+FHBMztTz1gqH0tUzPREvkw8gX9BQhx2dAxSQkis/XKCWbSSHEtWp29Dz/BgDEWFi1yK407olF1Ga6YpdK4v967fCy2eWYfINi3ZRPl6ZCFaEFxKgbxjwNgNK5jT9ezqDtXM38yE9+v+I28M0jpUHKHJa0kB+CXWMkKXWLGlOgx8S26RZvoOU1IQsJHhHf9GKEtj7cfrOi1PO/G8MZ1WzhRFvh/OddR4ltSiMLAHbTR/ZOVetv/aGW5fL8t+PuoTVlC/SC2DcpP14FQK8jW07HQlsFIvfl1b7+yu1Sm9mFumMrqxK9rpAAhHF0A5oEsgcJjowHN1vKEeYht6dDfyP4nxXK60ZbgxyaBKEPOVQosW8bV2VNxs7k1+JMQT3exxKJVStUm3yNR6H/lUmqXnXTDi7PeIbSmPDLQerm0GynwbGuORrOr7YTLWzIbsQU4mHdPT/O6iMum10qS6znY0/UyYXlL8THybizwYAgB6sf8HINPFDhSulBqZJ6ZCbjUSclbltOrJOPMeRpFeUDMyZpvUPXj/PXAI7IJaEN7H2aggnc2XTDHYC/VocA7L+ORn90wiQJ2WPnDb9dsmS9rv+JvWrmhwhs6Q6YCoj8Z8GZ6p+glhwAPANkuohN5WLH/9gKfF4bLpplT/u1LE9t4cOopgNakNnr45LULOKwrybOsdz5oMpRw1xqTmdt3OVllaxdbD0+6tEa7QNMmds2IyNp4+dssOOMCOspsjxzPxCq4xieifCIpRGVuxpfcA80xlKZTRANQi0JPy1MXhGFzCdzQyx1Aq4SLuD1x7xWsVrWZaJ4/NDZI/Y2CmOVJifYUZaAzlCrNjZrhZlJy7UOs7zkby3lA3NJyOXtGuWc5U8J97X3WmauEClsTZw53gvzZfmRVNdtlAgGNDAcTPfEjEnGxKZ8cAYPMtb7JmAjugmot3JfJgWiwTY3snsWvd3XACHZngoJj+kzaCRHMgmVhVVwzLZKI1KhJBP01GTRmGkLhQTkQOtwu+g4PkwbluEQTic8jLNYTscE4YRfs7C9eQbw3C+G7BOzSS17SSBzFuHkXE2P31LGnJgkzC6XfktrH3/vDQuS+3eoyfRtVaWjgqxZ0vOR/KMe2K61sN1FPwgJIUCG7STnCrO7BUhBdjXet50F+sz7Hs0wHaKa5hcNCMpNTZRTuKPZovc1OC5D7112NkmhBysmicJgkm2B/FTFWfcEHQ/iN44bqL7gjI5IW4On8uKVpP3a/evAn/4Vv0e6yOyE8CSLHrAghqkqzNzaRty0gECf0KpS32c893HNBxcFHmtc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33400" y="1600200"/>
            <a:ext cx="8120030" cy="4817430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447800" y="6553200"/>
            <a:ext cx="16866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latin typeface="Century Gothic" panose="020B0502020202020204" pitchFamily="34" charset="0"/>
              </a:rPr>
              <a:t>Source: Company information</a:t>
            </a:r>
          </a:p>
        </p:txBody>
      </p:sp>
    </p:spTree>
    <p:extLst>
      <p:ext uri="{BB962C8B-B14F-4D97-AF65-F5344CB8AC3E}">
        <p14:creationId xmlns:p14="http://schemas.microsoft.com/office/powerpoint/2010/main" val="24390925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pean Broadband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he market for European broadband is highly fragmented. Vodafone is the only company to compete in more than 2 of the 5 largest markets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Rectangle 2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Op0ycGFAinQr8Tg0aHv2oVInweFtzvEEifMKhzZTpKEJ49HhqRF4fmxZlZgCWFL4rsru7pegGBR3eobekY0UxUlSh/fnQe5r/waoxZzq2Tze9HsPCuTXrBlr2W2xmiHud+QqWYd0Osnrt5IEluMrnFLxkXX37MPxN2QIsWUHhX6pSmPHMNr6kWjD8V6GcSroUp99SxIRmX1IHTvUOQBeOfwuV7z4eQO/jhxO0XMmhD3Tq1tLeC15K5Tb0/d/kdIJX+2Q6mQcHcVRjMlBwuLyjJmZARA/6W5xGN7Gl4EH/N4ovV6HDmxmFK3+EyvKdHk9p3IcCOo31brP7SuOcTIA5vM09z533be4DTioU1Oa1FB0ArI5sufGIv2vDq2uEy8z/fdXx9DT9NTvhO5lPVTnRtVmWFFUJMrRU20gmNSZwRRUB3PgnkdiSq1kG0CyptpKZSoYe91AB6vqLt7zYzcK96OP2OTUInJcPxXoG+Y9irlaqK8XHpBQJEyVPLQtgzNaaQ5LvoSXSGSLaIY5EXO/5mHchH6TWNBJNu8sa38Hv7j5d+a6GVqUu5/9uzphDRybVSTQkJYnaKEkLvnpsDuViartB+wlToUoUR4pHBF/TLp+D8ff6uBR7WOquoo3J1evRqYRZNDXpkgeZ+i2+6oIFnn8azzoaf/TiVFQotderxKAX9QceW38kySj7/f2mBFLerGWDg/vNmJqTfmq/n7rmjEszjybB/E9uynIPVU35bHnkOl5ft92AYnxQc8vyVW2CpdG3CtnXxBroFqqhCdV/745O3euTyd6IuBjTImjIo3vQOVCuhC1seJwXbIEXQcwPLnYnK0d89PcmyDRG0m4mfG8sCE5lXuRkLv3KSxGhXe4EpshK0/L+VV1TluhnsFU8Lm2MegwvlpOKSWqiVEqcx0Ojj3E8Km8QX5KeFgOVtZfXeKsQ8+4ID4AxlQw80eDGcxApJ8eABj1YssUREjqns/w0U2uKHZ/vAL+qfc/+UpjZCq/Y1PMs2HTUcWY0CNrHEGZwh8NBGhBvRQOWj1i7OJtCmpqZ3XJzJZ/tJBCC8smmYqRjU7rmgWmMvrQPdiS04jeGPYk+yDNq4k1b4DAbWdbjtRYkovk1huo4mc6lWSjvj4tDNWFeJ+30IvK+6+4jn92rKN8T/8fZUNSz8twUYDeJYO5dWrc9GhQQMKomxuYM+EjOD0mvTNOOw6Cukd44GOofEDqFPzvnY56JeklYRw1upZG/SSfGtyE5OkiQ3nuQnu5kvtQdJikemJ1KtbniaZSsoBbwYYCe/PYKPyIhxT4plB266+U/2eg7IzaJAWy6B25d1XMmdUkRJclvmJISphqPQbChutD/lfC9TlTyKh3idGQxC7d9eGnwJQuPlXSXmj4ewi6e4PzKKU3B8bt1eNEjmHc3z/LM3yledqCRXAracMt+/f2mxHazsSSH6l7XBNLy9TOfbyqRWby3YtRPYfwFRlpbBrPDmu3TQuf89TG38LKnq+CLY55ktrSyBmd7Z/XThjp5TGUiIqo1HCnaUFbPxIXfjrq2WKQ/PvWuP83ZxBIzklC1zSnxyth4jD77wDNbW93tfnE2iKu7Efurazygk9IiQYqQ/TgIEr4xsFUl36VFuN6IXx9ERs0fBRNRlDMdefwevGqQA9WYt8OXyiWsBxAvvRHBOFydzFAO5iOwkqz1tvNHS0vHTjmMJ3mT4tpz+LslNyffFU9u5Y31z+FyjYI1c3IhveZfMo+HO+ASS3Iz3Z6jCsMlA+hGJylD+5T5VsrW9WwUHbRRESIqLemnR5d7uoRT3z49i90fl4tUbC9ULRqm1D/Pw37vbTUxHwPtSJFbRee3jmXf7qaBPg2Unbyt1gN1EGGGTQwymLpv+wJ+MX6FhlRqk+AMIf00A688+AJQS8ubvBiRQUHEMiPYncRur0iKYIG6h/p/FWmF+VYfytUTCiUzIfRATg57TR1AFWaywXGqyKid1r1gqfFbfzXbhOkPdKNI9yQ9MwJWTJ29E/+Fu3DK+fIpJoeBSgmVzHLzTW9MgLHveMO4nFPNOzfGqAkrGlWS7q8bUPocNvjMSFDrwS0Gsg+ePD4I+HyWsQ5vUeJn74u79oyZgvXL6XFfeQBakycuD3wwH4Nwetnn0IyOCUCgtby+VfEuRuO24f4POTafW84A8vwKGi9mSf7Pzrd6Ci3nC4Z/Bvmf30Yyg7uHtLsuO1IlwbrikRRX8zZ2DDp/Z51Nm/T36OrkXrucQLUhQ1b+tDEY0LWo8JGUS4u1I65Yc4CmBMa/LnaQumf5CxoXOnBVZCoKM/RsN5McocdR+NU6i9J8IAbAYl/gU06X2zUmJ7VCTn/n4RhPfQP9RZUIGEOBaJvQb42aHzlxalgqxcD9MaQT3dBJFTbrkzz5xlA1O0vT/rezcy5JvHCb8IxoqzSKNCl05d9maVAGJSt1w0+f2pnrh+JZAb5tdq3BIWvZF2yF6DHstMIQyvOTFc2PkeqvNRy6QSxqiL86tz68r5RYj3thqEQa+fdCjrjeR5gbFpV8vNp6Ay+PLSTT5F8AaiZV9kB+2Pcj2RqnhNTr6VUkoUHQRJtxbCtKnNdc+Ax/qrKNznWDwKgn80Tr94G6PmbUbphCTi2lnUgBV9QkfwMIS0Vznod9mAL69kVRLguZCSgePiWXZY3BjGaes86hPOkloiiQFqpY2rlwtWoUriQ90sRHp1JUtJh1wJJVctP9PIXsq/cbSHfX8KYG7vT9U69jqDqcp+kEVGJDDepy9/WaRb3AbXKXgwrNELVodiVuzCZtJuNWFDXecMFg2rLRudYCmzYfEbGddPSKaXD6W7l8Nuv/+Es01fVkfnxrLpvXK3npXeK5M5I8h5ov5DNFTd3sqcNNlZCFB0q2aaI+scqzk8pS9V9JU63e1/PaD8IpEZa91CM99pMw6GHDKaB+HRkzwPb1bmj69xty+PfISwKqQ5Bc4GgjrCM4ZFljSrjSNZ4JLelwDaqZNof5R+vFNEpW1wIdjC3V3cV+VwRXGRP3rOTrbqh0n/MXukbgVl4GP21rK+14DsjBSuUVsZyZQ64K6vKUgRQ7+W311Wq6BXB3VuOSSFl7vB98uDJwqV9qnAXvcDKil8EwBFgHAu/KzynLa9EzSCidxV6zymoXMQ0XtQTBnvc1IXiT4aJ76HPBu+m9q4YJt7NDgufrNKUginMXckowahW7lvlVFs5px3+i8SxbOiJifgp1dkEk6kUCqvhra6wvm25iQkl1mjk77hI/Bt/RUbrVfokLHGEnU5L1fLFTBZ/u7Zr3qKHbVDNgdCHk0NnQg5DYxmNOVLNLdNQuOYXcEqBKIlFq+BzbnXQjVTvBK0U+KSwFap0xEynXECO6KJVE0wujXypmrflo4zUepJhL5n6N4JEE7SfUir3iVYhz8D79pqAAhOAeuIh2uZeGlQF4n2VRdqDMXWXSjVRj1tW/LHMUd2qWY+sQbpmE7HPJCeRNVbOTsXGndHlrES3eoTb/uT8iYQN1wFDGkNKFCZNPod3XTKlHB4BzkWpJyhSk230z3gtQlzHw0mMi6F7Rv8NafbOey4mUUU2Q1BIFDKbmBy94MAiVQ9DAeYx2MBRityKHzVKLT/LbEMT3kt/lptphSMJk2wB76L9dgMaHYKAlJtnR9KdggEzOvJnOxst4BhVCmRS3t3iZyIFIX7RO3oTsjB7VbfMld7Nsp4ubaU50zVAh7Fm/TOg5RYEY8mzjufBlaXnF5460O5JlhSXgSJNvWWkjnaEmmI1WR2OyzWcto9jfNzNRFm1Le5g2Ek8xUyNl3xgqdjBFQqe1LdtfbWS/6fLwZRGUAxswHtyhgkjAUCyohgnV80UaLINrEFlblzWoK80PjpFd2zewGND2QFzu44iv7AHjb08OVelDbnlhOPF4e250Hnc2eDpKdlOUSodvD3Oyv1cGZV84ujtxgprgJrUxynFw9CxzxqGIr+cpsIKENIUAHa0FJM2YweVaFHthf+8dM3uk8zjnZTXex4qi/NYmowR3H27Bdyc1d7xNrpJd4Rodzed0M/RM+FE1lKtAmTs9DqFT/YZd3ZNvSOagalqqbMbJsHb9Y8ucnZ46rE1X0GlZg96QU0CKyoHPYnsYO/enY9JhPgdpfpx8DLaDuhOTr/rY1ng4mrDs2jqFIQ0+3+prJhAJMl61yf4jSDFDf5Tn0lFT84REWZ/VAVvTFhJz+bowzC3sKG5VvC/qyFS9jzjskdJV2n8Qsg1USpTyanY9t0MjYMlsheDpZTyhQqfDm1vxkHoCigkyC9xXHQDQFK3GT9bZvS4C+vNTlH5yhz75QUu5Ol66yYwgO7KvxNTqurt0fp3ByuXRxM7c+Kq2kLDr0bXBvn4gXP/23uTTV5dHWyi8YjWix6h16VLs7empkOrQv9SF4L5DWKJBWqic1qYlJGY+5mRKDYUXIT4WpMz4g+285mB4ekWqbgUtoDxz0k4z1Bbx/snIUSj1GcZ52BvKUsZtPti78jIoNpwzFLRH/4nE5856hkIVLFLHAMleYZbVMzaIt+Y37bRVPtTmeJJqoqQFhl988bGt6wR1+PIgpkkIYpDNLZ6ZTcodbntn7494JHkw5cyI4yKRirc7hdhAi/Qx5pqm6UCkGPHA9qCnb8xs1C7zKLJ3566kjYrMtt/FaHbDC4/tlGPcWAffQSKD4DjBPR5KuJYWb1QBD3MI+9twYJvHxI1q1fNsHUPWPFnquab1QF8GoAFjv1RT/JBdP7wzkPqAzgRrV3mRdK5c6d+Vq5uigpS4IfBkO/gQvt1KexjzPwNIdvxJjwRFmaavGg3FZX6hh48HZjj0n01sacyGUSJaWuTITsjIe3vhKYcGA6eXg1b3sOIxYb4j549w8SiNu4hGoXV1Mo5I64vxwNjSGtRLKB7jbug0593GPmZaxPSQX8Cj4D7jmx9/iPU6cRmw5rBCzDxeItq0ek/Laa3EmBZRHeDWugNuruaU2yuF4V+wcBvv7rEn02XZfr8NN63KFxvPh09TE+J2nI4GnxIGpdw6X+0eDOlITNiZ3ET2eBmDAiEZirhxJUaMED9bQRJ6kXrneA7ATpCDpTStjuG7cszGnT9c9IdkkuqSQuGtDXJsDXjpUEQZFtUrqF8Ta20lPL6r14Gr4T04LEZ1VtDD+krcBQArjWzyp0lHcOz0MPNATH4TOUHiJ/wFzDQ3fdWimG23AN05TustyMHm9sered0fz7p0EUbPcAaNISpF6mMyQicgjXB/8UaggYOfSTm6AwqzDYeFbuTFKuNx+EIM5wXC9PX7skdwQ7lEXEznwl6QbX0WHULL+0STBIQuoZyd+s2K/jSag/nfXFAlr3Wjbwp9u/Qgqgn9Gzw+Dd6LegtnOFzj7/3V8VUBW87YlQqm0KQGPyPoWyNhp/dDINzdNwzvcT4WaJ1NZjxbAthRhq3L84yQV5WX+bt+DMcG6Fr8d11DGRSdi8yFXvsjV10NaXv/ISoAr+WEsjjYz6e99w8Fn+UdF1H/t2jRrudLk4wl7GlO2NOphNxcMmLjK1AKjqFncRmUgTGAVj/NlmKnIjda/0JSgtoNY20ysVeQFfCN/nyEOO/LBtN7EkZB6aYk9FgYT3DrmEOcd+pKaEyt53HAqI2zFbXjEDPhkTbWutmJ22DBuLUoFnRPSK+UxbIWh00+QaW8ghHGCaefioI85XkSmiXCkC6idSdMSokw0mjbsXth9em+OpfqJYFJuzwWzLhmIDKGvGfPvp5LL+J5zwRh/FqIoBjGXRS/fUM2Wbb5w+NwgaYqufqnzJX8UvsXRlYGnPEicoNr2E7Ao4qh1pSc/cSDivS7nXflzzQMzd9vW88UMB1bjNt9AnFLj1AZYcgYu8UDbCpmnphwI36igMncanaeTCATKl0Fb1vl6dxivIu3zf2cABb9aUViGf+NKa7BpAac6O+TZS200gXHXKfcOkNwVLO6u+gFP4cMIe5iXlc2z5CxzJ3UrONs/P2zlxBCN1W3XSxyN1tQMnCLL/3PsAZHJSljMvqYwgsdw73PnF8tTGddn2PLP4yJMkCjTcd+4u0QsWo5UnCIFMpt9R+Yv1FCnnfjADasGSsInUsP6XZsg/AoiKGW9jjZVc68SUJb1Hhl0lmrvnFudhPuhzD+u6khUYOIO7f7yCP0luk2y/+SCfiEQaYF8F1JKXlYgSs6oQ3rhUAyJDaY4YJSxJYP7rQY8MB4l68ege6LcyQO5C/45OWsua18o4OQ0ql+xDGgOUiKVLAXprbnm+SUzqbCq6AIi8reiWAI7R38u0nNJ7AJs1S206xjBqxSHwGTMTBEkat0aGdZa4hwKjZg/W75fAnkzzi5b1mQwoJC7Ghx4gAWEI9CyBtm2RmCetF5CNhWjbR+0UfCjQJRCWdlnYCxp2rD4NUkk/OoAxOZxycgkEotwbxLexvg4kTzZS7VmK1gyH6sNn0FInRbjD/sN49UV9vaceCgP/d5chUb3iu3zJV4ipCQMh593qsbEtgp952u5E77ylkwkKqbhVeS5UocpCI7uCVq5ficB5appim/qiGtqCoEz3hkDYG7aEwy6LAxcnyD9A7mQqZ40LNeTVYOe3TN4/gbjJQP3SxAqFxfyUiEP3zOKRiNp8ulWrPIVYJdOCTVYE/T8dvS8nM1vR8XJ+3PibNlRAWYBFv6SkjiCpi0/0HQjMX9UIGx5bK/kp7Q7XyxQdUCW/UYmgNDEwDZWnDWB7B1u04Cj5O66ub/G1qlKX5901p1v2Dtle/g0IbwzaLR9ebQjLtxtc1bDXbksvYjr2Hv+eyw0Gy5zU/yzYe498vlwYZ1IQpGMm+/ZZez6BT6yPJlXKG6mQTTLD5a3N3cAc+x/GbFHtEMAxa4OoTrw2t9NZCA6LhJraVPToA5+iFUwFhg8pWrGScxFFJPORpWIWrZWo2hvdzKTQ23eTeC1h0y7ghgYLzBnxuBUGj0y9E3KxMFekR3hR4XZOAFlxVL6Cz6OUumz5Z2XQQzhz7Qwlb5ZrfbKDNh0rZbVPVWmzMpdQybq0Mmy8Dbjc9na1jMHRbIpoDkJk68vxdZ7WoYQCmHRAUKtj7HUdiYLf7vMLReib+m8FgxIMDwFSAw1tEw8QCx44LAOxVNOTb5BtDF/fBCfgT084EfiUF+3crx+fFbLPsL/FvZJOUTkQ/SkjtLUxh+XHpLcqs3gALnfezLCHYw9+WDMVInIz408R949LqDMiKQebABKCYIJrEfD/jLKAS5ZLCRcwuMnXM3JQWwVpuPCB/7Ionmk0n3qS3+xZbGVWhO9DUK1Yd8CrcaO9/bYyYyT+cSjKqKBKhcH19wW3w2FLZTECLvDaW3vKELUnn0n7Vl19PnV/LiYmFFzFFyO2nGeVQXFIJSaOCjLWom9C1huRnJfDD5saGnr4vFtKu9SFNkjSonyhY1k9fcoQjPfxG5Jg4Czc4nuxSZoYYWnmGHD7p+Bg1YuYtQXZyOiNltXk71uFbMWKkg5KvoKLTjUDDkSnyzgP2l7Eg4s+9PGh9dubKzeVU586uncwjS3IdIJsuzo+Oo02dbAjFvNlwvAzF5h2NU79zaV1UX5yXI0aetIw6S5uDReEQQJjFP0kbw3UuPPcQLn0hIt6zwzwPjzqwFqlXvhkRgOrJbTpmZbscU23o0fmy1oQPYFMzhECfquYG+6lSLXyY5R3+NcK8ZtXqEzMk6X3Ux5krS9fpLVTG9Oyk7jI5oLgu+5jtCeXK76nqEaxII/7XsLyn8l6/2ed503UrgekAO5oWJ+nSVzksapy0C7+TPgEOU2Zw8cE0P7v674L+jt3tX1j1+EgV4bhfnWmEH+420DwLLQGpcxHXQUiMI/C7JbQv4eQLn3DBPD+DwBw9FZkDmzrT2spfwBXYTBl6jXsVnnAfvUeN7YsGg7ZZuopy+1DnIenhwR/4B34Kb4dPMrVroZc6ze/qNp20IFhmQg+rXikzV2H9/akVK5NRCJkg3MNeJ0kX9QxWOyxDRoUiL9qq9iE15PiqD5yNU5lKm05SS3TqGOsPCh33iXPZP3i5hsExng3QH3CYUBr3RKDuELCfcXf/8LWNVJ03ULkTqsK3X6v1LDJkE+5ygjpYBMojdDYbt7dH37DPU3ruG6JAq3/9JYx3UD2HDH7HABT0/6B3KCS1M8WxIC8PsFFaTFgU/eKwOc4i7AJ+DSlcIv+NxvN72p2hdV9pY6lZPhVWZuE6g+iLW6fYEwJTlYy4W0EwTIWpO1s6gqCK5HRzMlCARJIqaSdio/A/1BC0XZ++zRg/GRPmmQ4u7HZ0+Oj7GGQbCYZdSoR/PruZd0J4xw8ssOrNvNXVBSmS/AUp9Ma2o7nvvXFenTnU3WS70MdZk6eY+XSwlqI0cNznUYsVA3cDYe4slcXuR1GXEJLvJ7ewoLD2utWTDv/wHpcHaRIG1rTcPE9850EocE+ZvkwRhaTJ7IlJvhnkH2cNE0Wvz0R8vwMsSi5qtSAm9HG7MkcjAZ8PH/JGOWUlG7gVCJJoae8+SKF/zQxSWybYCUy/ES7xGNwU4b/NO67UarssvdE0N+v/jJsUPOMEYUtHr0CJWKC6bVVaeR1xK7PvOMnhwOgd5A+i346DkLQSEBWDMfApIx5OVIRPla05maERm0RPl/jkEt03gzy4Ki0ZMLV5xopE4b0bW9s3kYib8Q8BJyB3Ke5mus8mgR2ZtAgTByvQ8sgsJrTkb7P3FenzYbgl48X+Aa3V7qskktKz5HJ5TqjF5sE7ZwuvF+5g8zrnaLQiWbMxQ6YV1b7PeIXhbk+Dw6trv8yiJHm5Qkfy5x2wu/IeOjNHKrzGxEGt1PY61Ca4SSzpone1Z1fn19lkAXB2wS853ymlLUhjQ9UWjb+VAOKVHy2o23LXCiwXgfZLRzeTIy2CaKtvEsSCu5n2bIUphUoPQhWtZrd1dxDfdwaIbfB4dzo41Zmjx7D6COjdc6qg4uyzmg/9pa2o8VKwddOLBt+sGCAdoyX2MJ0YEAT2toMmVnOkCMebvreL/duqGTfwkCOmyS+caESg3LQLpBsJ6B+lQVx9nMD/RZf/BbzHwG1VWBox89qLl1YCv91GDJ4bHf8gF43xTlYeeBhBD9Bh05mEA0sfuifef3UrhK97LFvk61x3/Mk4X2/7AXR57+PsatOub3I7WLYN3RrHZ7hT2bk0Doa0Rq1ogHLGuEnH/20xbAGWSJWUo2ZtHdto4vQkUodoI9WNO9GqWhJYsHIYc4itPq4eV0csmdvxKiB04Uttsoek8HFiVqro0GAafkRB4mxI9T8QsQaTUkCg3dovKrgYMyMoaWFW4elv5gazVA6KNlFmDNye45ID4SHw7pn9z+iHixrFyceFIsL8adhr4JhKwF6xJEAZvE8h9Zoyi+ukR+wa/qvQ4RzKP4XhWi3w/VAF4mdtwuF6DV/Zpj439zeL27yYd3FJYBRd1igFvnatYhpPQM6fwD4S3Lw8z3dnnrjTkkNQFaU+8n0QqRf9frZeQyoouKKfun52wa+znXlY2UyD7Boz9UVDKCLnDNj701FOItEv3GBqZ8YYilErYNfY2lp6qb8KNmdBsS6mNtc2NtcREPTJRdoEr13BvM9b0Lu+COqX09ZkCpjxRVf7npPdQqM3MCeRR1PPu5B4zREUb1B+yQOcC5NSKiiTq9MLD59anw1l0DyeiedYvtEAqYnpNaneR2F5Dcexd/ppzyedKT1SDfWM3/0INiX+8CQ16BqB5b3TQ62rtZeAIfQyPVQ4/kXHb3AgYRtnYMEDhlwMz9x9X/hVtrx92+f3tFOnGIarT/lGJBdrwZMJtFdZB3xOssxpenewlkSSkLuQ1OoA4AHneu+aKTyrJrVpUfFwdrHZK2gRVd029rlTBlLj9WDZ9FM1O0iNuTOx0tk70MAGL76fBTantp1G2lhN2gccbIHRyKOKbRdS0FePZTqhg24pDp19OYHEMpE4dP4+8vrCYEEzxvrME80c6zmDVgNDlIw6h9dnYGMN8gsErx7syxVu+qIuNBNF9jVbqq1Pmi4Ttvy3zjAxiUeT/NZvyHtz41A4g2PvnquvvmPbrDTgURX9v2/tarKOHqU+OjrQOJ4HKW+XJf329BUNZFkDUxxO1DzR4G4d45Zd1iBI18YKPwuatNPeDC0ebPR8GwHjVTGSXAWYF+sH7LMLajgD+fpl3CT/EcqxtD/ZTa+UaGPFcY0vCI9rq+KvklLjFIqF0OqyygYSkZvFaELSovxj1PJ+mPlhOsgi6Ki+u8bCOnoAt51mjGXsSkgvKnkBFYQUz0WEG4m3AQiUUIigAzuq323j40P4N/g0JvmhCErkTTYyCQycrlucCEK0mfav3uWcc9buwoDXEOHjxz/Hu5jZEEBZAIjJxwMjJ8dTcBtYxz3fOzu32CIMVOODqgPnRG9JZuO3jYQ4RyP7fzUKasJFyA6IClLfwxaLIhEGlLVU1HO6Vf3q/5idcR84U5iF2NjKX6k6vAVV2x9wE5xHGuelikGJYWbpLlROlJ24WLDG8fgvGhVGE+gl8CEtJr51Pw1EKcJ8Z3s5y3sKRhcIz2YScteMK9DJeUgKrMw1wCUC3HfEpH5JDSlA30xx+ZX+Ohil3riFazuonFGN+bW7jCdRrKLlPS2Y0YwB/iu8HwQa/JqKWvAG6gxLn+y4yphoQvQVUjIzmokf3RWvk4e3kOAN41NhqKROPVeKG5QTWz7JhP9j/aZOchhnlsZ8WYidA7QZW4VdA5qsry3wlWsovN1y4w64th3BGV53e3I6GFqa3hDgg/pkQyCw5MJTcxqxKZfax1FXou4ftkieIomGMxe++fIGOImUVisbs01eIj2zmM1rGFpYOSTj0TT5fTiu2555aPiqj/QzSSdmWe40Mf/CMOZSy1Gqc92Q3H4uVVtyLH9pj7lHVcEPlka3KhNSNWtZr6Xt4LTG2LEemo38qPmvZCghwH5tu6R7JnYkrWePLgTWFrc7v95TcYLNR+3AYSjpUsANteJ9HBC5dzqZzC67kr/oiSKbb0RLOpoBSrV2JGMcG+duZyH06h9m0qbGHb6urEJ3TaQJpfrrIIF9PZuORLnCB9zcBqZjOyVpgFjx6LifHu8jwGrstI5S82GkAVd3EiX9rznnZWoySC+sIZUBQZcMdspvn2Wj9VHTZ2wTk250tJGCh1t5icb7GnouvPKAt5Rh7k4TmX8rs6vdgfQW57oiHP85OGOlzAABEfaFut1eR4zNiZO3VyLrWLuU+q/y9wh2Xd3qC/4sW3K3Ur8LF0Qf/8SEttV3DMXaJYKeGCOUwUiND4JyAluy4VFKsYxJ4iNxG4I3AqOLVn9KdBx46Sh/gokYN2tEgNtbGPcQnIl2O4QTKU30D66V9ROdIqxrdEO1FX+FfSHXiKHnk0MCBNk5NTrBAXyefw1EORFjqz+JsER+G/RSISyKRFyaqhH9TscuETWmSQrzR1xu2rgpGt6SLfYO1gBmdDu0O95WKfKgHNpozAOPeh6LXSnqjL0EcIxiIh3fe12U00sQJXKLVtLBsAkIuOy1+LCfc3UBjpBnY9PZNh7FhM9F1bC9c5FCIp6x4p03uhm5dzvLhG3ezRAlZWSJLC6v2j8E3rP/cErPkhEXpR4UiPq9pmWjjueRiwMy+T6FqCpGwSEiJMQfIDTEiAr6KtoQkTVAuJDNIwlGPEP/zPJvqqTCE98P1revVWgUdZKU7MCIxw5Lh9PlhiLjrGwn3X91CtUuqDxVwCf43KhzpdxdzAFvhA18U44AXg2JtoYhMNP4Kk2V87xQxBnRN/6a8imKmC+D4z3l7BBGn01C5V3DJLIJSPyRg5BFh92ZzK+BrUCC/FlV+gyJWHKcfrWRu1fX8L/lRQSymo6COw6ohT0JxRbF+zjixH5o07tAIE7Km3wbfsGZa/Jy1AhkcLtMoadJAgUO2C0IVzKF9E886sLnOrzGwywLhX05kHoKSK+mgZBzRQ68FSst/eaKgrrEHrTHvow/jsQ9dbNxEzPqO3HTgiz3EtXu55nJICAmYLdvYs6Rz4cjQhhLga7aQCho0ZScf/I4LwtJhpl/Yssn5FWtJNthYRVLknX06MiN31OUJVkgjEJb1Ygfrdr2N25LGfZJkejUcTxuSUY1BJtW/pbZtF0klIi78dXIXxOV4HPfn6oGBeqVh+1fqAAvrWs1K/9kOc1p8v45xf6Fs+960oxPwrcn78JVJtLMuiCbqKbR7FSA3uPxDV34JcHHPNL/p25eFIthb5VtJO6uEEdhL4lF6oFtDzMjhB/1wVuiCmze5PjshshQq9Hi8HMJuev+QVGj5Mo66d4S07cVDZ0VYDD14RLTwrS5BX80zhc6k+FDWDPAqyL7i5cZMEmDCHWTSS96xplw7KwVEI4g0vpbPFfhHB7T/GKbv1HmfdwOv9+93KPLYDFptBGY/NC34uz/CkafSv1gsOboJCqyjULt5nCR1fU2PE0fFVmNFlByB69c1wswQRiLo9kNKW+aIr1AITZtr1r+k4bIBlLI++WUDU8hSd7r3EhlRHYSONXUI+2tHMlFV+HztHsxLbJf7ljp9+NpLBNyZGS2yaJL7J44uiaBMnkSveAF8xJj7EnF878AtBYWT8cLQOJH6zDn39fbFxergd17JlzYWPKqK22Cnec63XFYvMub8ozdMYJW6aJco5SgDzRbJuBCXrTHAnRjc6mxo4E7XhhyKU2Ov0IHn1dfqqZpNjeBeCNrH2i1Hr8NnaAWCasXUESmcrZKrKHtD+x4RS9BNgdXgPGOib2UrFhLFbJtGTgQOvllQ8+B0fMQGwRCPXAOQdleNhp4vrOvd1O99dPWLSWksUkpwC0h9qi6JNUTDu39UeihUhSURIAnxXAwMGEJed45uepysfI7a0LFT7MPXpy8pzaMQAQzyQ4/juWMVF8KGBYVDp/Xc0GuBidCNyUEZ6aoFmeAd5wjmBP6o+xnax7Z6Sobx8utsgSM2a8mxhysirEAgcQzkB3jNjOYWYcdt0cfYuoH/oTSJDhM+cd1xcR8JC1Q6PD5fV4COVuXft37mhj0slAR1dbGkh0FZNjRtaUI25ahI2okKx4ZAm01IAjWMf/3DvJZKgPWeA8tICpGVl2CYPIvhuuFM9hoP9aCDg17kwRVHmQKgOi9gy8hg80Gl3znqy9DVou3Ym7/k+ZCO8QoCplpHc18OoN47VdU7+tPW96EWvPTwagoCd32y7Q8E5ZPK8esFQmzy01yqgPwpGSx9Pk+6g6C6BHjlyy/V5ZULQVFwkuu5dgbDmGgzl0betPV5aXMf4N5MP6bYf6v7J2SKU5goi3YrOmHlFq6vnPbw32T71riCJoYgYmRCyzpYBjICiSg0jE8Y33oYoGEOd+/mAa8SPMnl/zDBqSXA78rwH2GDRehKs2vviXpeYZhYaiYAt+utwaFeIQrBc374zcCN/zAHf4aes0x43KcuOGT8mf/3j2pXI6qYiOUz848FQTgLQ3A9XTaf4VaZeiWJ8ZLCpKhtR5WuMN8oTciFmLv1mkINxUreqiaiwGoOV0PBljGp/2rY5UAj3pExwXdw2XNFL1b0uBP3yqdrjUNsUfZpv+leVzS8wMrJz6caMUgCTyVxaebqiSmYNqC4YqoSkiJFFKodE9LQdI0ONAUHmrZP9ASQrwlSzzAVQDJ9VKzHVb4ihxLiEWPdlA0z4Dk5fVCmfT280yVTQTel5+1GTVO7iPuHI6bT/Wt755fVARqaKWYguNKBtVqdtzZg77cBDNDs72wGjwvLnE67YyacZg2sIHEXiFMCHEmXB6KG24XHrE0484Rf75zm/jF+oCgt4SensAAR8KtUbCnuAcgrT+6GjqW+eWYJdjKWSNf7HG6h9UkKwObfyRVKUNnmKFgmcGrcxz479kQHj4liH2Z6s3JAaFdv51vt+1s2p892gFJVJbdGjip/RR6VccMA/UCub5Ak/a5V0ZviWW6xRSFC4C8t35KNzwNwfkwLQflqsHoOq2TBabPbN0Vfk4f49Alx98+Jda5lpmEPtAAfF2c2Zod6StN8+8gcBnb0XON1akYt5EOtubUjnLiZKs6f+kmn45HbZ7N1KGYBzJUwzLVFHm15jfTmDPvA7dUuv0Ca2wAtFhzMw5Slq/ptqjhtpkXmjtiFrUcgDIHuELg+BehttZt3+3YLgTbblPEzB4zfbeWfmRwaMyp4Ess+Rlc4BR0c4h3Kv8LRTWNjXXtAGskcDtN7EL2nRgkcnJJ78XQwx2sf0alL9Jqm+8iL2Ni9OrxSbt01dqOvjjTSshLxZlu/wD7vzJTJlPHOT4CsjV+N+3pzkDnQdtDJsbuEjOIGnXnt4zZq0t/k0b8w6QbZsPCGycc16RhhXFSctXBE7RAulaZnvm35M7hT1bAN3rSt8rSpKqG8rJgo/D4tnoRQkNRKNPqJVD2nQMhW5WkNMI8ONZfhgNf57F85qZ2kGMD1ng76FAW5xwp1jCe2aLBx4Ru/WaVp56KgNufml8rqJuB6HY3wNizl3GLpkPi3ofWJqGJkzxO/7xbrswBMW781Bu3RwqRn7RjtpcJ5HAuTPSHlR5C0ZDLy6ABKU3Cn/8ITn95LqN/RNLfU1BtZPW1Uhyba7YAP6Cenu2+JaFkPq7PfImb6NO3kQpafDslDcGzvRxJRwKpRavJykyFz1skvoJDvIz8I2zxmAg7rQifdPXTtZZ+HhHGRbnEEn2NpsfLlyKPtCQUiukrspLInHLsuqFkkC3+KFzYt+RyvJ8IVNO82GJQwvvzbyYeyZ2CmRVu2Zp5dIv11EcezGRamdhcf0veOQlhDHK//ZLYFt8ZV4HspA9Cry7dcsgAnZ5o+KKQf/jEo2XW+YKCTnKsaphrWOn3jFAH4PxnDbJF5KhBZGteFKCnqVzuSPe/eA/2KmONIlMB352Vy23jBsmdY8tbSvUWu8KtouvgAe3l+EXGy5rwSgrCcfrPQgMrt+RPS/b+/BrWit6rg8azLqEfq/67GhAVXidYf2HjVFhgGkhR/YmBM6XtRIdKGzNoDRgoNtReknm6/Q91udtaKp2lY2qiuudpoYRH5urahtF9pptBNjUmGBg77TDKNCljpTyyq28GryRre0hY0Cgt9ln5nzwN1tTy2eU3ptFGLnz02Kt449vmtXzrdwKcwlmFs6SLjQLvE7QSzD7M3KAxrGYadDmkRW1/V9MKQzJr4b9tZ3Jt7Ji+vFtocUZ4WNjOMlA56q0qad0dz9lQYXYXlwLzni5FPV35sLsG1rjidyjVLoQc2o8yCjGb/b7E0MWzl/tmF4h0vDAg0+ah4h6RPXjwi7XEApI+yOnDKVOYs2IhMfVgU/9Sr+cAvYWCtEdMZeYd3wAvYDVqTiq0xtEdPVbjsV1IrTD5rdPRTaYYvPS8pCF5CRF48HH75xuZJ5uqMKW4y/007fxHHGVAFKEBEWo4JsE8n6hP3borRXcTr6vQTfy/yzUJCncGA1SUTfEZz4vOLXpM1hSTNM2DrOBRlWhYA5FDI3JqAUJEk70ln8tfBcEgU8BXFRNfISo78nkuakHo1buEWAo4xIN+sWaeBAgl+zXsqM9v1+E8lEW3Aci5ihxSP+QT1QbRQWe5RTzgMGjHHxXLvtPJ/cG6Tr8zuPptIIjkCY2Q1cwJF1S5Ri+dkpckV7r4XKCBjawONjCH/9avbBF96V48dHmtv1N6pIEVhfeX0VScCp7luAk36k2LgeV3WFykvs8KGAa1N8qjGPQV2+bd162NGFkG2mTkeJV3QWA/U3X7MTcS8CQnFnjpSFuoHsFfbuQrJW5XVz0uo1FegBtFtsdfZGuDSftsaKVJb8HkI/0iR81xSOJVr5aZt2CsXFDIcnwJ3d4USzWanjOWEJY0RAahmjFaUm5xqlLvlJD68TrOgfbAmxnx6fwQftAi7UzMEiQIM64mgp8ZTIRQOfqZ94S1Ravk9UcORWaIAokPg/IB23UTr+7eORgUje8BqV30WwuAus/RzPz1mqU/J0Ef+HRZD81pHTROCfGTzmDYsqJlHfHSBapFZU/yC8mOdd/7/veUORVMlP7RxQQ9rUaXF+Zyx5kWFPZ4gkiFF731zReOG8/Ad0+L/3OAU06eba1v8gpkQr/UVB1b4wfgV7V7HHmlkpcAjO4JDNYQucXVqRlL58+ihEcJFW6TsvH4D2PP9NvUCM9uS9Z0icziLIIpZoJWDR7PvG+rylrYJZnPfCViymXwHXJ34hurhdoDGw4z/47uKvsGcZQ97mqlBB90DBEIOKObreeVHKPjvA69334ARG2FbEOJ4hCyl/ipIGHzN0CkY4ctA2p1gMzSr/xJLEFlhYo12AFZ2B85BI20V+lpzcA+Jk534ZdMM3qMl1gNbMptNozlV+zY4UEI+0hB67NsyT9nUZM68TG8cVZ90iptujP8kSljwRbbpNztEhQnplr0DKhp430MIaJhsmCgbQSiqJmfMVD4Yt3ye0QaNUpjvGF+TD5CIPkyrAZfV8R2SDs3Z+qpYi88QRARCaHsevgr5X6t+XYUNVsqP6GBmR8TRX8S7+1uL1fD8jLg0ApO/kBxAmYzfV2CYo4XtdUqQNjPBw0sv1z5Ec1hROZ5x5blnIUaWuZqHfEFHcF94DsEhhqzVJrAFGQULg8jqWBnIt1KumRuk2Ahq1HRbiXGdLaRG2hbai8UOmDqripBIdDVdUhJX3U7h9DC0u3ZasqLtAUIcqfa831j2R0rERkQ+pT43x0LEBHB/o1YcK0o/OBR0ufyP/DMtA1ZD8jcL437ajZdzzR8JGx1oa9w+hOXqGxOujRqkT64DN4VIIOFTQ8VDJOHckYj5O6WXH/Xek0qb/StNCnUw/wZu+r2lOFEAmbpHSUShF0QXVqWTWCEYhfxzIWuvcnQ7GYaSyntCYsa32aGuqQ9bLM9cZQpOCthJcyzYzG80fChzzm+9QbFS0ZAl82G0vSLr5D+MLypDDBdLn+ZPCLDXiT0RsxJXqeMVHtuqeIr0tshpcWjhcvVhOU56C0vZ9Ys7XYEV5Z1y8rb8NwGMDTJFwpvmHQOFVlqigfLeFOLBLZFFCSYevDPoYN8PGSkqnQu9y8wNX6lQN1IJm9QcDDoclQE1YX+r5k3IJLzY0fDbZIYDUGlbCn2fsRubMhB6b8zUrBoJc4Kw4SeeGOk7H6sc2oSmFQJ6EmNgo/5DqAB5ejZ1uaL/qMA48AItppqFGIvVCpkV08Z9h8fAEUI7SE2RRDqASlZHVC/Eh2etDg9dxk0thL4rDkKMWyIa9eGnewq74hd6Ph1IUTdyVTs4hYLrrL98g0+GWyCgEKwZ9vSoSlBoyQE5pFzK/Ia/A7459ERunYT8YzXLEyPV4KguQsF5BjfKxjMvAXzqnkePDkrR3SFa40+pnogKOQ+5iAMwxT217Y3IsDP0+1CTjdM/KSP5HDP97T9ablITLcpzZPrn6xsN8JE5vmx2boh/3QWpKdrCtRm2qU6vYYdPV6Y24lUVyIpcwaXQnopbcdSSbd8sNvGfpn8wecVz78Y7HMpFCUaOP1/eTsfyI+nBMv2d+galEROs9lT9aX+FRZBk5ZLJpI5KY26Jx0s9CGjwF24TbW4KFBLnwthDneJUm/F7rblb2l1EWelrqKW27sTG4uVyumodp2HUTnMFUybbwzIybTVco9Y9H4Oas0Dgt/dN3Pk2+EmSMdpS03P190bSz7g5XWphKKgXM6eqT6n/BAnl5kocFftWVYIUBeSncdDZkeYHDBMu7By8p6Lc7wf1gLzOazi7JNfuc9u+n8bK1z6KKWT30pxxeTlKPOZVklGMeinmMaQgqVVTpDMcXmIBIr/0auV12sk+JU8HgAzw0t93Lr6RmNt+j+/cQop+YWjnoT1B2BvcfMw5HpQzVjQj082bRbNZNIJnOZVmHQd2GpgaLrD6D0i74lPIDWHXNmOB7O8+gKUPmyrEkaJNxp/5u95u88UyX+Kw7YNbxh0ebxSEn2rt+4PMqX8hZTBBSmU6sQHOryyhrrMTUkP6Jj1q2ZY2iLkIHDDfoboAvpun+M8QAG4k4rzk2o0K/VO3HVELQvYI9W2C7/tWi+yGUE1dKLykoRYT6CZNxY111cBuul+YEpQKLRqjJojAy3xLJvVl+Z2IotNcHdIFnTQHpI4f1HJu/p0ZhB6ObLreq3wJBA+ZxFJNS/YS12zFkIJo6sh0Z4PL2YE2I4P38/ceZ+W9yjkKzjmrSv8GrR8eY59ALXMiBrXH3IbeALEeK2YDhHuujhBGy1R3Wmzd3pm/A9DyRD/AsE1Yh5MH5V86azAL9U+V15tMJ1d++i73GMZEv8DgSrd2m488DCOnzB+qM0D8KS6z/CZ/kAdsPp/LEBtMEU2thoFIsrgXUVg8uwhY8tkn4eomNSyxAxUMfHBzyAaNxiHduXwna0UZvO8f2XipmVMzBvgpUyEuho3Yac9IvWGXaTecOk91bd3r/Qs5lCHnofxtYTkytcxAVZBrf4b4XJGgLLiyX1pKZ1SL5caO43pbG4EYnSJKZAYCLm9lgvTY7AO++tBfy2pbTNXIKZzCAA7qKRD6/Y9oIBVuBBhiBVGu8o+Z/6eomBYkPWj9usGmjqcg7zWqKghJNm+fmRIgDu/eK8y6/gtIi35M1BHSXyNv0QGeoPyhlOgW/Dy4WIXmC43oYaa+JbixDcIIv7zXsAEKwYTybdDnKBCV02tVigp66OMOnZpdsUI2rYmjnBY2dZyg0Xc5MoqL6VWi5ancqzbhq26xZzrdIkUyNhFKax4wKPIA0gWZdxFeEEKdM+PPVvmd8gqxmaGfbAvTVxl6b+PgvEzPHjGZokcIsGrNRBZs3rvwIU47/zAtJMPf1o8CW4qqZdpM2JwHqxwkBdO1t9KQqC5iwGRJbhuftmcGyiyDo2Mv0+jSs170We51MwoshIuqME4FEJg8u32m921reKrhp0l8HlJlX+ItAkQZHzSLo+I9p2n18QY/pt5mWWKvtPEA76UHXLNrGVkxj6cb3z+NJn3rqlJhTl4yp8LeQM7gF/qKJEmUIv1PS7SvAAGYvZq2tBJyM2IPl7arCa1O5H0rY6e0usVuSn742jZpEb4QDuqzTcivR6wDzA368D9NoqSsLKuLi/q5LA/I2vpwZqe1ZGtfi6yT9m6TWNtd1hEmXF/QmbgNx2jx3YinkoEJHFD0aWQatl66GdAF8dFUrvLjty9eZyyarVa2q/5CtLpqPXI5nBzwjoUzKBCfR4sSwAywAHUmpWFwRWhX6D4etDr7xfPax6jEbd/38Y7wAohDoiDS0byCYQnjDSAnjJuSsEI+ZUHKJDbtBEv3KFKucPq+de2wXknUx4lxh13Ja81JfeDDlE0MbgqaqXiNy6EBvQ+mlYvXgsXun5IPh0sOiAfjQA9IqOSoKhz/ceDKMkVMdyiCIRuhchzAk9gbAtE6gb1o9JItVmD5izHbphL2YPiXmoc0gv97uQ6Sg7K/CFzWKhyVOl5xbBgKdjZcEp87LaAc+uZeLUKKxhWt2da53bCiY2zKWB4rbHGZMNGaI/3WZxt8ZSuNncmNjDD8YaNhheTAZNtDfEPJdY/Tm25u+kcpDDPdXdVXU/ESIT3oJgbEOyiSlc5FHtLXvnV1ga2DsA3iG8YlUXPItVYMtEwwui+5qDkGggT3C7QnDImjY3W6x9XnvY9l3gj2hJI/bYOFJetE2q86eP6Qk69voXmD8RMkZiDXMOlUgydJ9qkC0n5LTxMrgvXOcgzmcPhznkuGMPjm0TnyKAx6AaxaAuumYSGAYOdjntXOgjIjpZj5mBiVnHlqE64i2nyi9hyR/Fodt/i/otgEGu9RjT0aGSC0OKkbr7Aw1HIU5qHlKB7JJXB8eMSQGloXA406opU2SkZzPpFKOcTl20jhnsGc4XYCsPW8Wdpupt5Ay8Z660zMNGkuBd01eQOKy1OPCpJR2YANVbRI8WFb+fNuAIrpTm3DkvEfhnGru6TFsGBen2kl9oC95Olcyzug/JJz44RgiOTSGfZApMvfPocitsMYS5r7kkEE4APb7hdnzrTRd65IHQXwmrfW+uKdEkkvgr+9TtvZh9iBW4QWyORfkAye7erEbK6VHxCFZQ9XncME6H6e6jM5KsYZWBKxzqsjFTpSwiWUkpVL7XyFR2zUdjpVSDoOXeyKjzgPq0kysZJjcTbMAdrgcT0V/lhc8yb9d1KYeOyZkS2X8/E8foKJJKuiUg0eE0jKUiigofYp9wfPakMYNkwy7aSCGaBoseCncYTuAVZfTT4W4x1YWO9TUgLIFv4s6aWrg9IHI3qRQeYlXVq4+8OBvDc3YXoSIQ5Bs44xeU7sCMmKxoRkBnAC2OhsUZpWq+mWZCU4manl2p6YJdipTbMkgkHxg4qsUM/IaroEqB6V9pLXnu/kt57qsViM8Aigrnw9jIvb5RfuQLX5lFa+T91Q0X04WJpxqyqK4PunYStvEc7sk/kJ9kvYR2KB5UiLpCM/n5ZU56y3yDuR/4hc5p5qHSm5kkHcLimDLxOgbLGCeIfaDpF1kBOOl1KLUS8oaEvXqqGn2yEYwQ/aRyQqLn+YO1hil6c1JddqmdH5HSlH6zMBVdfcXg44nNLXa+Zz3glhIU2Iv+QKocnOOJ2i3apPGoBm86Pn2ilI8cV1Y5hRqQtGEzmD0dAFid96/Q0oU+ZzwF3A1IXRtU3WMD7747FWqfXfFlHFwyEbZyYnUQ3P3EBDE5WTzYYJLIbleQMDWltOj5vYWxJvgBp/11mJc4/JrrUxTuGfQHJSKwbk+D6gVY8C1i61c69NHzBIFGWBeFsOHRAIUG0dZuif05TC8+CivsI8pBUUp/yBhSwWzsQ1B7ygtAUYOigyqjUuwlaJkqoDxKVdSzRCOWGCPd0di+HKAt2xaFbr7cJ6IZwV44Z6hx0I1+L4EIp+YpVd03fnV37g8bW5ddEn9ydJ77h8GMj0eg9jVe6yF8Gl14QpPsuS0kwPaRhppKlGMl2sFT9tXUfbRURHepc958aryQOcwyLqO0oSP0I8FYj2gIIMitJzSO6CrWT3xhqR/V3WSNeEkgfVnyVOrps1ud8o+TMo6ykXTifQkl3kuEYoiyQgaLWbfII4BUW9x2XBZy6trToQwaYUGRp0yDX/0YhG+NN/5H3XYdNcXUzYX7zDKnVUFR4OYo1JF5NcSpNlsLt2vdFxwJOcCEtfsGiV45iz1kQ+jQLWLkQoWhqKGrviXYU75uq30iAvIRh7J/7wGWhuBlRpszwS9CIa9V9NyWNhEmXQx8oNMLn9yTVYPFHF/sQVF8tlE203bAnA7/LCFa7nV9TI9+7k9sJXM0HLRCBXRgmKmPlaEbv83t12PaZz5WicVB3t/rNsSXoW/ewV6c5zHtF4x2Yv25kn/wvbs1mUOVWYb9DQDRmFZTNgAfqSR8mSh09puAcZO0uxIQRNVV4TX24yA2v/GfHmWwBbwHBV5pz/PsM3Kh3v9Q3PfIep4QCGQxh6AZCthvnsrq1iqjlSMIMAJRt/KHIIANwjmo+Vxje82m2sXiQj4FDZF7NisVOE0VdaRaYPJ9owkr8EA9AJd7RL2yKkgJb4Q0G1D+azmA7mFblOFbTERQxsT+s1Xxzo1mcsrhBltt2s63ATl7NBvO5vIcnEaJFyCZ1JT6JUxjfgWhDSX5tDt1SRjLOEeL3gbvjoors3dPolglFXCJorvU2gW361JP2K/FRZK4ApJYlNDL8sYiWj8vs5clyFCWQXjFCEmdL1bLeKv5kn4s1kXBDtx4Kyq9oALsoZMVHiIGQUuwzmMNf5IVt5NEcoLTpR0u8MxUa/AR/hT/FMoHkA1bDcBQDgyc2hChsytqazLjEBRljyaQPNUTn7TRhPwH4i8Vb9Q3HLfwiA0RwjM48ezkpgqkRCfDGKPgg8bR4iZs1EMSlH3rFMYOoGgw721OLlMFFOSbkTcoxc71r1QJ3rAIVFVGxgAaxj8K0EjaPhiq80SMf/W+IIhr1Dn7sVlfvGti6Zr4usT9UFVXZTQeJMEZIz4qUqG96wXVVb7/u0n082CCZTKHOkikyvLwRewMPa+aKYsvzBbavi2kDJd+38UI5ZqGNAuSvhB+3HxI3XXyjr2QED1S3CEpXHgrtFQ1KCa1ef8LqTYP92r7S+oobrZJteJYp4UE1UbAY/a6RFrha+VMVnRjn6xCEHtug7ZMF8RAbXEFzCqB4Ak+DD6Jui+8Ry5K90/ev6eE9ohKpGE/IRDEth8OlUiI4+bQmHIgA/fGyhURxbVwPW25+Wt+xvB+uxbdTKo0zBQy6apDPeRtvenRRHPZA8vLllT0l2Jw3mYcManYPE8VPoiqZVMqxsDfYAV7oZZo2xbZXVCk3ycik/Ak3uG68F7OCVxt6M2e2yCiYbN20ISnqBrjOihaGpkBRaUhOd7zDfLKJXRDPXiisodEpZtjS/DXRg94KVct/BXQVv5IAyJ60VOSnccCb+EPF9DfihlufwCQn+YY9RxiH/+/tRuehp7yGEH9zm2rUYNZD/coTL71Otfek02fe0Pb97dESXakezkzMc/2RShB72l+km39RV/KT3k6xlgAGdFMO9b8iRo6m9/85U0g1HjgeGJiFdojl3YdwjuDTPjwNkfEhtxE4QaVvVy1zjXFZDmffvkCpeN02SKuXKfmAS5CQ4zDXd9xrfXpdw6e4FH8waop4te7eZNSpIxwm9OqENkx0b/nMVJmFZ59oo5dErOh+ow9C7X19YEBP0b/iuRGfXaoe2rd486EOuTOA7oTQ/4K7VOluelkSy4FPOkQe1s/hxDSy+0+Ay+2qzOQmai8sgdjLA4DIV+aRJcEWbETXNN6HF0cmhn13rn/1AcZMdI24OmaECHJvBP/uzUoSdNDOBLuNzNtnRXve5+pAEUVNGCmgYvSo/FAxuLBmS/GoqvA46+Mvt0fiqQtbZQWcvwcQvqI39pB/QpdjGE1vsv95oH1orD42v9DdtXDptlBORFnpMHIWZ09DkYvwiHkGsz7bM1ZLeLhQUW8BfbqHxnt7Kt9dmFG67lLbKZG6TNMGC/VGs5Xe1V3fSj5TKklN6nXBvIDSN3yuU2JkweqdjY6XtR2dhY3k7fVTJRPUcwUN5ISIsr9LS4A3HMKHoCJ0HvqqksR8F8LFBMnZSpkoRRfA0/aX6Kg9oxAxuPUtD2iQiHDRjDRV8y1FHhoW1oTnLmoNvpRp6d+VZqkFGhRiXnbBVgUTbCKJikRnZXYSKLJP0T3yE+JDUOZWvloZbgiDw9BNKQ5jk4W2Ld57GCOa26VwBBMK50i/k10Q3mDn9VhD+I6B9hnc0J+HaurmRYBWHvx2XQgUwcSF38ZKxYZHhSbV10B3aKvv1txR04hG7fJ0LwIhfuBgBx1FB7UXq69Iw8nIaiC+uTVPQQoBcVaHp1VDjiZ/pF7GDj5+YAQNo1IqVGCWln++MQQG3kIYxX4bH/9HKRxng/AHTX3BhxbxLTYlerfUH2KR7+4BEC1tX2YiZmdHUCHxEkubAWCrnddHXHNlOGncPC57t62Dv5fXx+h0UltgOYCMjF0QsGfOlwXZhQ+Cf5f71Yc+cmQYWAppDVGlmTxd0d7CtPnEU+lWIN4jYb5LmOp4r9oPG4CdVUy7zNqDq7FPP/hUUHAeZiC507LjXy1DknuIun7OXO8lMqMbp3uXOvxp/6npjae0Ae5vu6Z+Hr0zwtiv99Nb/SBb/dm4HzxYojw3nX/EY5sMZIiyAzT5d7eYV5nUE9gD3HYlxe+hGzIosLDsGgFkliMuRcUrwHvW0xwTdmBS3w5Q8gGRxmlRCVbDEVrmtkRq1tvroKckTUN8XTi0f2ZG+gQVgjb6/XMfAsmVfs6ay5sEzxTVbHCMXkd+U+sRaih70bpmRZPixP+oG3NonWc2RRbvz7DYkdAW4NSXlleG+PN+CQw1ETy6VUxiXuEPVkmkAiTS4Jk8+TD9S6kKtd09agcP26fNJHKnR73ZZ7RyQlHh6J4Dq5Pa334xImRQZMteyW7jst5VKyx/anZjPJN+hq67+iQwB46Y0C49YyBpJvMzVxf8ygoif21P6Lo1P9V6nuZMDX+8dfYb9H4b04YnVkS+iVSCO31wFQLnhSHRMH9Hs8IyLfcDFoJsFk/K4Ra0CFd8lLZpRfKK0uXieXmWUbLFrCKezhI1cjnfgtcp1IpcW1kerxWphka8NmJvf/G9Li7p1e+0VKSEZwi/TaceBRs0ALl3Yn8I+LgJnewpu/zeEHqUWqzPU0HzztEyGiUrNk1Xy0/hF0fPUa9mPIULi/XBupzrX56yAkrzh9xx6ydKEpaTv0iYtS+R8f1+t7SDxUoPlKV5ed+N+dacKywFG/INtjR7pKWJaZQaOQ0njBdS3oCIYk4TPZFpCFX8SJmrPc9Gf7FXbKK5V+l3jonnPdQeP1aadCUntAV5G1HuqaxJtYMdzrIMhE8eFb7ar86waMWGc73Jh+reKShEni3/Vn+TVYMrlR5qC2zZU/3xH6xvxIO0zsW83nCse+G+2xvypbD3vJlpqMZbvJs9sPvpY/HXoV3PSX0m/MHsgqrEaNpgzMLEacwjIc1BdQR3WO5ThoyDFyVHLDVZs7fDg+E8V5AEzs8isP7RH/jxn1yuzZfqqcY6Eavfn/AkYyhXhdDMYERkci0BYpgGnK5sB611ORI53oE9M0MQD9mRir+F0AG+l6oKQSjA57LymysfiWw/Yn9+/t2LZu5EgjmpX8m+/Eswo7wd/6yTP++Rx2t2bMayQemeEA8wP9coDEi3gfZ8WY5ROhsKE6+7mZjghNnLG6Hi8K2fefJNXyKK8F3vibef5WhWkfCTkes7Q1TZlntay8ViRF13K1FIAhbBY77Apn1QaQVRIt7Tx9Dwh/RkwUA93HfAfs2TQrQIEThAcsddo9lHR7ekXLqk2dYRR+4Rcel8MgvHpXOLkjVfYf6wbilG0jwzP0iMG56u2JXspFksZdx4v3ha6ZPKwbtERFYBZElLsZlWhjFolg+qs656Vt/VatomHbFd+Qi0uKFQirD8JuuurwE6jYywx3xEkAtwCWx/lhaz8+cyPRPeIM9MpKUlnd53NtA4nn+B259eU7hLmrkX6pzLVrUwhyd2B+WEPLiMFUNYNYs9SQqc60xlgv2KGMZrc/apaYq6X9/e/YnUYgvKCMCWrDCu0wfDTts/jSS+vZC2fOqWp/XNpbafRRWlxqhR3KOfZL3HvQxGhnb24KhXb98GobpS1f3kr3FdgAj0sGYS8n9YMAPIsxJjnQZOOaKfMXW3QfiF5TlJdM+bfRcDZNeA7TqWCh/Npn8mza1U5+HYEwMwklI8Gn1+CsgCTyCfj74NOcUwgBschMZI884ezEz/cd/aMKygaY+nFXsaXgw6buykVk2URffUdA/J4L1APzV7K9ryTEaAj31lJEEmK7EJyjo2YYgAXmA1QgMamWR+g4hBe+E31gn/dKUoBXD8xLLLl3mUXBaAiiy+KHjOIYVm72xfnHrD3gsQtp7JVBTkTEwQzkX16yfBZKnm5YU9eOEBAV/XNtgNoCZFV2rg+k54asY9+WsRqKU0cgT34Bv/28N8SdbwrI7igZ4ZxBnHVDLAWXg4YBZGFneh5Ai6z01E0pF9LJ7EZXlpsXA4/1kTuYXP0Tu/7EaYFaGgXXUZoSryXVBoJq3zF+4n7sjN+teXtTaQxKpeQNrVKM3M4HjONKylt548hELxEKr+YojQNQvne/pHKOE2Y6Rc7alccv76+Px1gGNhyVgKtx3Nx7OyH9xV7PxkuRLbPk4CP2QS8l5PqBRNadTxmeJZrtJKuMDMEc0hgtuwr/6vG577lVt6T3rr4JTKpblKiX7SInyRymPyZJ+gTbr/ubqJZjhl7K46z6XKGMQY3J0Ui3hkxt5TcEFsZ7FMa1tkyzq+/EeC3pk0fCOafXcyVQ2SlYbgyK3cm4YS2KgeOA4kwf7wB+sX+2dvCt3b3d88kBp6J9Yndlh1O9m+bgg9/8G3vH2EBx6PCfdOGgLjLKq0zCsqvISFHogMdUlI+tLNPCTJ8NN/G5rPI651byN9+y6a09BOhYC64qtHaMJ4BHi48VUwMpMc2HGoDkdALMQx2mP3fo1V12nJOCttrUVBQFxTYYwbN8tyLPoWsMkEJ8a/pZfhg5vjo2q28IQYhGrfFuh2WtnyWcJ+dYpeLZVjVdR08XV7uhgLKsNKkQW3ZtnBRBstHXJ8YI3T6LpqnAJRgdJhijRTFW5MuAUEg/pVHQ43mXyQRc9KBYx7Cra1fftLZ3HrvRcBzpr4mB6h5igVTVCIVELd5d3gliEEF243G79Uz8Ppl9/4RNKhnM/uVLYWrwzHvFJJFLlF1l4eBLD6U6lycJEwXudLHIyKmQEQD6Z1dzG0JObDnf1QO4PTCn7Vp0I24FUX5zYhzBgxHmwpcMQIGD9Ru1g+WNoSxpDhqfPn49tgScGOtkNlAeGWdtBudU9SVFjGFyVe4MuYNOB8bn+oMK35LmR41rqCN9+A/ov763i92sp82PKNv1lo6jTBGFBclqaGe70GckAOb3LBU6t270pqs0HfPICwXto6kkQo02jT0FyrcQNzrFeRIdDhoIxnZZ/DAm2wtrBDK4BcXu+J9OOB0W5ii9jwJIpDz/rghQBiPZN0IOhGJtppfEnIIRj3yZ6C1TtJaEXtRn13MSSPoKJt7AuuYuhCbpjs1tOFDzHaUGtRm0JVqtr0lFy9oKxjxwZvIHgUbpwUSSDpev/nWMtSaX8+Vg2r3rf9hl3xAsIMDBtC8FS5dTop/7hWnnY9VdtS335n42TbCWIdO6OxJ1RSmCYRfWv/dcEwLb9t1p0jGH1Mx4AkEc7+MmRP0nOANaFIJ+IcwZXyj1TDyuUDYQqdq09vhb4o4oJGzgFvX5XDxZEeL0tQNplkiFxqExfBEsoiutsptke0YKtbc1+qrdKG+vKsZf+3VfTNUHKyoV5WZ4r6H5JbK0Muq3A7noNKnxG+P59U+6CflB8ylrqnKCohW+7EmKMeWDx2c9RFtR6cTbf7quUtCiD66ufkVZzCdeu0kQiVVFmRzBXwvIAznVmaOlikHKJ+Ez7X9MPR9js+8QzpguV0lUwlYjAIz/fiWcqm9zjvDFg9zG6j2iRZTV3RN+MPobSpx0lQcjRx80ftfTpwSU0LlL8SRsWEhjEcA8LtoRlBLdyK3zgv0LDya8UOmoHtpJiq7nWm2c8EpxV8oXxyGOL0PBwl/X0lA75t+CnK3tpJsImBceUOOqJgflpUtVYKWCmNr67ABuB5pm7JWdFwN4Flbm1d54EK/2z+NJv7pwANdBeW8PINaDYqSdmuMPuGya1pkvUSiDBUbUQ691LuRw4oLZlQzAqcqYIR2h1zorU7ysssbtuVxLR06QVzR4R+1NUrSYNIfrRkH3VjdHXrOLvsvn+kRy4B9MorDw7tZtMByAP8oNIfp1vyApkhhGSbgjzOQQ6UzYTEqV7zC0aM1TkM9Yl66lGusFt0GrRqQhjv72vs0GQodn3DXpT0YVqIS9EiHDRo5YrM25VAFiIoVCCNNZeR6GOdvv50kdoROTUnJhGXOAkMckIZVbrFH5yb8Y6SsXWuxtJsx70oKzw4V2deoTkjRq6bJr/Qwfbn+ErXm/QvhzDoVflLiDJQsQVdqV0Sj7d/r9AmrAi/4gyRdS/II74S8bF8gMrneF6bx1/Ilo4a4/H8Nc2v/WENPtLLcj2o88rQvRzZ4dVrECFePUcUDWDHYJh1zt1dAlvCwJ9FfL8A1dqEGm6/S7AQbYkkLbJfDFrJR+PYf7oKzy/1trEa8TtaHe3bZS4BqbygCF6zMuhCZ/rxpcOslB6BPU67ckIN+/rwBlRUW26s5JL3wOA6Ys8Y7Xy6aBxqXticqjoaVdr7V27hu9udFX56mTRu71GYqq0R4AtyWnDXpY2608RJDiptoSj8/7OHy/vRgqIbRjbPYFIPLlpCTi4X3ZcZUk8PsHjoWDQpcAtqALVUykwVJpr/Vn+5qoY61mySMt8piQilukF++u191NGmeLcigdwQHo10guKOt1tZi8wEWXvlHGLU8kfTWncZGoQwXs8VVL+kPMl7mA1u5t4Bfee+eG6QefhygRMUTVjLbimlbmgg97/sLT8A+RnRqHt6GlpJcTkQvOqaYnVwcBEFpx71TzSY+C0gYBWtVkYPMSK1PrxTJLl84InRitU3PSc+2DPMX+7+DuADl578laz+eg+nmSTorh6tK7lgzkvmdHP3a60OX3GY/PAgHYrsSgG3hjltbGuN1r0UOh0RvnJHEvZKMV5u28eVh0LohnT4LWujfgIrXjdv4l0qdoalLk71R84AZj9vkIt+K+I+BpRHOINTkUVafuLKjgIvIw3D9PpZ0mmzUpiinvg0j2SuZXSSZe8DMfS4+iMQ339erIUt6Kn/ZCARWuDssxFuQfvVvc4tgKCnU/O85AiSzgjRtAuvh84bhmj6e/vmyIpL4T7/bOjsoQ1zBI+tvvoTlEmcYSowu1WGquDwBLo3xvjYWxqvYjMOrCuWXJfWeHAWuznVeKVmUI3ch5CQr4vypLDLYrBLF9e4Rjw5RkK+mEcZupyvjKPY7J3udfGvl3OtdPfMGxGpNrQuKbmIEdIAwfplk9+sfBwwfAsaGf6vCa5NLrtwVNNJNNWkG+owMwuDcHxUhIdIOEvgYPuRsJhjN22S/gBrb2HH8zgFMwmS1W1tGAylSQW1H3tYB9CboSOzcF+yF0OOdXVyHXYHDboC8qa6SfQcxN3TZbSoRDYNVlhVF3r3L8GRsc61zHxUY5/uGfniuIdKZtPiUec+WN/IAfun4g9Vpoj8kUY5MTDyfq+tkUPUVs00QHxL7tll+VcdF/rLjHpTYl5FMbDJIa40X4s68xf++x9vFZB+FpVIjl7NO3rghUJs1/mjyczEZkEcg08jG6osW9vsOqTSn92EjJVbyObTNTfNUtlrN4GiJAWV/0uNTF85Zt0g7mWodEXfPqxuA/kKEvWO72m6zJBr13jA9Az+B6jDtFN5OlRaPE02VezG/okfZdlENM6fuW4F76ycWolE/2DUtyqUj2t8y3lGHH+EM4BWZyG+8RgCoJhtdvNTnJVQlRmHW3Hkr7S5+75eyJ65eEnIf5CwvYWgZtFSn5nlClytvOYMzI/guv4IWOnDbn9JtfLHUifsJ0mn5ZQ37Y+ZRaOFtwUSgpLhzpQjPVn+PHHjNUSPQS8Y7YEBI8QSHI6TmPNfUqu8/o8oZ2SUlrAXl4egoKkAyeqaXfqsdDfo4xkGxPWTnBaGuKCwX48UzODRoNYn0dedCg4V6cprbMcQr1BcOh3p82vyUADYkGMYzw7lVvZx3eLbYNFl0RNqyBirM75uo5wzH0mXHI3kdcUF3HdOmtOIGMZseMIGMFLGtkd1zEpcZPGUOpsvSdPgzdeJYo3YOuuTI2jV3aYc6PwWSxYsA5svByI7Ome3+FtFCVu7Ak+M49aFRvKeoEO3due8nNfuMxlq3H+ldccpzsIkQH5V1E+ZABxyr86/gC4+vE+qYSPsP8Wru7skqgeO/py7q6RtynZ5JEobAYTYCSWVngsRCMCdIboNXKttyeNn02CH0j6zrYB6NvGeq5XO0NtMuB9sdNHdHh4F2bpgN2rAaYcCF3u9RbNob1zyO0boJzxVxLXO3ieBuHdctGbJ0bDX8Yt7j98ifsZtKtRjcoMLR/uqaq5hn07fn67EZwTE5sgDTMEk8GN0qUkx80AGkm6SPGL7Ceejlug1dlajEAWmUkQlFIWj9v2bcgtm5iDUDL/jq7Iczb/QddJI+ZTo6QLdipiIjQBQTFxRr5iQepSquB+iyLmQ4EpPjIHBm+z47t0CW2i3ixjJsPiYVMX1PThj4WwqWKTlHFbcyJrMAoXy/GOVSn+Dm1KhS51x+I7v8TxZUBBXo6X5lCrDMCNgNSMvsHV+fheATAB/D2MBQjwB6epQ0rphCf9JcjkWmt/1CRFHLmhJN1pVGaDj9+AWOIWxhPJfHUlOKQvY5sP+zm8oq1aId9+GnAKwNJ9UTmXTT6ql434EF741KS1QyI3U+1QhtXBktOLPV4Xh2622uwFh8DpqoOrCVrLopK6kt8xo0gopnDmoVZ4W4O3kgO86R8stmnBSMJCMxOjVcfa+bbgOo68StzWiST7cUCz+RzneaHPl4ndkxNeGimz5W6UNVRiTBh6QVFayke8ETyyV8Pr6BEHISLJFLX+kpy2g3H7J+4cvyZpqxfK0LNeVcsJ1vJxthxO8hWEOkVJZEGZYTGG2HsT+8n6d/l9ycWIUB3J/aXaMAsWJ73H/HJEYEMhAO8yUETgFPpBl9ucO4HMnBmyYUEFukg5WzU/euEx+/4OJIRkPNvzyYTGwwub6P394F3qIiPmgSU3womhSiXW+ZN1eUVT2j9fFKdei2yZeM03ejh9i2nMAW0fHnfMbpI1QdMTHsUVsFUTpTCZW+/Nmqc/kQq/18tFV/tg1710gwP1063k1CpOih70/FZcksmx2d3Ge4HXbG95hLQ4eO/aziUTlJq8HthlmlB7HuGJZBFbx/+xTvfS+3BjQktVt0zymCQVUIWM8WMGyEY8n8oVOloQWD471Tv+HMktH9cDq3eeL06I99VLohCoWq8jdhLYAqS1wciuX1XLG1Fo90FlEiEcjfMWLTAJ4zLsHjfItx274VK7kF+PCXiIs/BKDHrElg8nFeECTaHzV5Rmkxbi5qpkPrX14vBq1Yg8KeqrRziaecpUdYYMCO+TJO4bcyctFdPnw8do+H2QXAs8SxQawvhk3mHFNHSc6OA1UrfKTMm1QrcPcUUQBHxVBNLcMYDHqz54BnMKCgX+NUkF5AU/00wH0HfU+QqspmWqO109fRnrI1EkhcCgtRNIOMIDD6JQAPorpNCvSgoyLXvoHgANV1mwLEcid4jfmZSaZW6U1mVDD9b0YWPUq7mtPFgn+dX5qvCjTEGcfzjO9v5bM44fc+xSGhO1mC1bKSt2dJQRTzLx/Kezx5Kux32deEtXb/UWt4yJnw/8+0Vu1THLDf0s3SUGkMxcFq91TpvNdyeZhqUblhMphkfo0BfoAA3kqCbSRDBih9boR94NqsnZ+BesB33Fe3ejJxrjTRcFd+0F3kHZ1kNl6HpfVgx+GnDn6p403ILvCqg8UDqc7iNar9AkhxIENui4VmN21k0k87PzTzpLzYuEe4e/03EeuCnCSNOmEfQCBAWe0bZ0/eNC8FgccP1q9MpGNGls/mdaTcae9ARommmbXd1wvpJRA5JedeamL7CBtP/hFq7I793i20nB9RACHCAvNAHQHHggsEyxwArUJTIFUKyOfGOLmflYhzFf2/isd9LeIhKaXoMYbKF8kS2XV55x9DJsjhWfe4xttN8cEbJ9Rwh3H+82mGff2japk3NzTw/B6acFcHn4W+0Rm40L4avHA79kk3oHMUKyNZiykFsQ7t4NruwTi+vbXN81oadAlGyK2Y58yitgJMcF0/530xehx9/ndAASEODDapV7bGF17YjdQ2ccuSblulsYyw1jmuIZkigW6RnVVHkOEfmJoL8jRURoQeSS9Ymj8L2S0hfDTEOxf/ZOzgEwlRFo2uROPLUKFuoJrWemznrRbI85Rc2CjbWQ3t2sh7h2SfGFNj6ilryPHRPRPROix6CSx3/+PMyclMI4FzBx2MByVMc5xluwP/GfKWLeJb5L0JV5SH6io+Yv/jnYc5sRsMR9a0GfHjnHd0soeDzbKAscAkUaBHzKQxrM6ro239907BSjpDb6KdOMg6eOlQcbmqqGxlBUxlDQK1lVXhQuxS+sOLg+k55bUDOTHVw4whebXM37J9//C0lglAz2Zhgi6livfkIQqzyPSitAULNIVAbLH2OwSGXN255eCw/V9xgngH/Ic+zPH4Fuak2cFQI/PmUMMTQNuK79t6fzV55m7wqXAqvoFyZwFC5FRaglp3KDlA3N8XtVYK9a3Oj6pWG9YBexkwg4HXu4qlk7a1kCX71Xm4torXzIWfIqX9yNjqCsJytGk1S/Yi37215ukmzFdy6MgIBgKbkdXpUGn/3yei1nxfrTNTHDoFnPh7RXlliZQ209WJO95g0CuDvmsvC212Lokg6dbAA8/bWa0twgIIMbVJ5QV1NT+f3KDVRkyd9b7RvMr+ca7bzURaPWcxD2LbXOjV1aF4UleG5tm50c13ycQSv5vhlavF2RKEnq4YYuU+K9Y//2lMDfJZ6t9A+jgp/nZKdV7gpP54h8OeO5KpwWCXnmnT99AcJ3lfdN66bLmqfkOWOL9Nqbypb1dABr/Ar7+aKTt8cVDYe4GbEzeIUSTArWT1BputsSsxldld0/cqYYNJFoD1lIkInuakjM0eHX66VH9FyUvi7QxkyVEv7KwB0IOU/mCMDPot1+JKBzGF7kRSyLQ8/9QifAVQVW7hGG1kIE6Et1Mttzbjsqpr+R3r4pwSKuGgZ/mtVKCXrxOrWdghFwGvfe4uaD5Jk+n+Uvc5Lp8SnJhumjOhJFgbliKi0H3y8Uro9a2gpR1YcxTfL9SUK4myvS0DlMd+Mf/X641mYxWi8g/OfqSnCkIl4kn8u1BRPp1MLm0lmudNRPTrABNfbZaH/TI5VHmBeNG8TwoVthLyS2ALpfZWnT86iRMdi5wCUOx8BDhdTOuWhmmpskcDjUnHbymKma5o4SLM8GNro02NsUYsb/Zm9hB15ieTP6Hv5pKCoSndzbrySkOJj/7F3byPl6P3TvXKGI1MQx1Q0S7akjF+FBl1j5dWpP4nXhKkIU38p6ZwYkLf7T2R45e7wC8RD5/FF4Z7wx6Svf6FtyeELoYnx0Rubvx/RExDAYiSyQ39UV+EHgv24tS0yydjxHOPiCa9kLsxnEJItpNPGK6KXTXW3dzpdMXZo9k9iQbFCSvf8yDonm7G62h/ndPxfPw++nFCT0i1vACfg7Viyx+6st4/TL7K1unR4rTrnjR6/LSOc6NgDFmvt8LRgHSepcU7SfGOHk2Z8zbtVsFKzYkZc2BSu3e3nev8M3s7cQnT+2lKPYiNisBvsxD5asB2FgpJBs3VfHPwxqOLgujf8M1uKseUiuMlPZitgHj4iVYGJarOYcgtRrmu4hMoSemJ129OctRYehHRK8K+4OXZq5Tc8SAU0kb3tJPVgfiI/W8DNy7ooMiGys2+WZrfKeKS4FK+tLyARoFbMSosvp7Rj94+QQjJsXC17iphaabjj4NYdm0RPJppxEOzPv0hNhDm7naAqkv5s+kOxeKduuLla6VTfUdgO2D3APsRoQlzhu9CgdmBr74O+98vNXLuoRFkHQemc/IK9WtF4Fs14KRoPj3/0oH043kbW9SgZbJ2/JneECrW9InFcXoeKni77rZzOMmgE4u0Sxh4qe9B34QMx9XkFckZn5M5P6wKSQGorNqahcKsCR8BEo9kOhXy/AeY+MXbrNNHW6q7ZJNvWaxtqfUsXpiSlOMwKwbo7XZknD/k1Tcj9wF2NUEBSBK0OyQIEehhCLTM+M6OZx2Ej3y2VLEcrk7h36PVsvA3vXI4HXwVJpAevIWqN2NvmKVno5jEPUaBp9KOg+dqfapBJl6wPl/GwdEqx9A3c/jAWNYyJ1koLTwPi7YwHhrztggdLCxwSNEar0twvygP2R4Qw81mUrqMsy0tJPD0GGj4TIYRcTcV047CwxOThtf9H6jQoe/AcufQZ4vRoIasPAp1ZJu8eXy7M2flIDyXk5VwbFWq252TT35xjOjc8FvqNXigXUOi+Cn3c7dVDpduL2Vv3XKHsE9iUvlaJBd5DyuqkC3/XIsa+liXN/sAEm9ICPLIyLAQ+Q+moTAC9PudWbm348v9ejdCEdVQFBhu+IKd8rfUaahSe6p4quOHXhYPwXoP+Wj+kwnAAikxj/0h6ZMdsVEYjOJM3Sc28C+WUEdiZ0xXgHB+3jezxvDcWjCIdLs8RBbinc0FWCCQ6cQbjC1TEMoxzBSci0iiriYpMDEgeR0TRA8j/aKSydVyjUDEjyzS3Z7dCJE+WN5lMGZoUxHL2H2d8bET3gmjMgvHaa5XyY6pwDAXsfcsmO3pxhF+Am3moGu6zg91btpt76AB+Rtf+0UIebAeBYEpGBmasDi8xd2L65XUdlePPSq1RJHZ4AcdtZ4Ht6Sq6o3MRAzvE3nLJ9q9fyjsqrXvwb75YUBq1Xv+A5iezVdp0hOId1GDKXudRg/EgyEgQ//EJp675e4BNf8uwcWtWJ/b5aOC5Fj+xgGrpiA8rqOs1bAtn7lArvgn2ga58vyqGTFfpP6R9cQz7vqpBhPOSx+VmHNUbujw0In8vhMO5j+dwTfyU4MjKRrmFa4KxsXdDJRebHRmRu2tMLUoi5CW6YePOu4t/g5C4PLveu3hVYQuKm6wLDDIqTTZmYaQrjGeFtUEPkQLuTfGpVq18JIaV6pPMdmFE/XM2utBeXM1VPwEXbrV+rlqOPQblztsF0UJZKoci2YtEUb0ZHplDwaBPdgr88J2yZNtWGFQ0EMEWVMS7t9/OaCHQyaEafNry1GvSa3H/hWSD64NEgMl1F2AKEb56HdovsxB/yaOVK2pw+zwKRYQ6R5n0H8flq0A5+hJRm+oCisB7vOQoA59c1tvLahl3RFnxzYtmVQw0Yc5FB0tlyh6FUmHTTp9b6iQgLRbdF6CVZKRyKz+//NESv2Cd70+s6TN6YjBg4IHo/jIrgplEBblQ/wiEh+QdAsXd8mvqs1kyhe86LHx6K/EuyOiwzWVg3Ki/BFvqvPCXgmXrcfmKZYNO4qfX6xadOZ5svADdvuiYqp3m96yroAxiRh3pNQULKWPgBU1qIzKGeDaa9hamf5ZV4qwnw/4qrv9xzd7hMUgfLoBQZeni/Pc4NzrtlmcTkLdLaCwEeDNYw2Uwr34NjDQK+OaZ7Nt7JSvK3hzZzXdqKGXePR9hmmpZq94d2/YO0PzPlYX8pnmjB878nTNb429jR0Z3cwGn8cOuFq6gg1/Fcuf8JobJ8SLvyUdK20zsUKuk3H31J/1Fodmb3OhC7EumyYNjFKqP7pCVkSybZSh/sT91I9tpmen+VKuOfOupRE5aE4shwKVxJQgASjZ/AfrN0k09G2HdhAXUhAL6IHNaDquvyRvuH0MBpjokVpRl1wUIjfV7SmU+zEEB7/u/Mcs9Ndjs1w6oReQH/1RIxX4ZP5QG4Hd56rYqYwNP3hE3RHYFxW7L1mHKb3muDpX/IdV66e9E6egwY5M08aI3Hy7sMKCL+Qvt9J35uSFB+CmJXT1qybT4QmAfxj0HhVNROqv5KsXM6WqekBKK02ySLPBJ3od/vvPs2V1dF3DwHkZ27xbnYvlphFzLe+k00Mef2/mas6x/UYHbvZ3HgzE9iw19SqkQAqe2NAsRGYHQGVzkJQSbgCKQNQwwBNm7MRI9moWuWiyfmP94kFjMOx4xPiHinyNjpNXrKaaur3kCG65/XCAKEa9GZgZkBLIYQa6+G/WP3Cw21d0XSbttBDYV+re+Qq0APn6M+LcTXCinC6F2cVWKV++l7Ph2ErHBQ7XLwprK8rZwdhbEFT16nayeeyFZnKnviZQruaVfGjGW82Ual2wTO16WACc8KuDEwBSrntAL+ue6vc3vCHMkhvqh6/LJXQA0hbV/km32lMv3N6T2Gln1rJ6DdR6y+Fi1AC4nefcjkOZOIbLofDPU1OSTwUsOR5c3gxKw47DjgfaY5hUZa4HcNF+AzTmQB7b1LwnXLdyfREL2X417JWiu3KD5imuymLPdEq9odRD+XLhxaUHTUJeN4AB3FAirlMwtV4dFxuC4o/W/m9WR+hPASxgklPhsvg4hbqFnxx/jmqyxbk+DiiulZVC1PWceo5zFLdQhNkZHgXlAAXeNt96TJEHK2JXV58nHkBv07UI8WlhI7Y9A/0teTp3tbyuze9UKMSfQPXhDzEtNUb9yNJ6L0V6Lax5dvpUpozGOkDO2uXWqCijp0T8UlpqNPlfgE9IEU2wZ6bCCtJKrpdEa9M4ieZDF5Xp1gKxvv1+BWxfjto8pofOWNo3XzZ1kiPxYhNDQSVUVknJAkCJ7E1IkIA1usiChCJfEOQY+2VtGwlB8xkxn0gfxxgffle5vgxelH7J6zR92PFujWFVlSqQ14b80EriHwqHNl/RVgMan8xzqq2v/wWog+cuo/HzL14H/bPElYlo31GKGkjcuYLFszd7Q6FezdsTIrRuZ4R+7rsuh62E2StgF1GcoAgBqHxJt6LSGLjv6avSitE/0zI8SYyrH08gC7h2jsxjH3j3BdTvlEzggkN4Cgrti4+BsgS74lpks7PGmm+7RGXZQtbLqf6x0j8ychA0/N/qdXGjeSEeVGwo0mlW00J9Yb3nTA6VdlKrlJg1I6s0xRip0ULI7xvKuVTiN0gRsii5ghposa7PhEM2ZEEvaffGd0sONZIxJNe2crscNUwfSQ1cWN1PEjkhAiF097u5gQtZszfNnHUTJyUAHxCEJkaec/U7oQ9dc5QUMCVKhwJDMFT4q1nqFvGc+OmUkJALFBNNmt43IoZ9HwQeS7vKNj3FRQS+5X9sf8kU/QUtc9u3SwJGa5WnVmADXEuI0Rz3jVaDO2/StEDFUsbt6A3vomdvCIPk7NkNHl5Qy/ilNeVBXQrLavKf+/liW2uyGJ46GnrLger5DdYljQwTIUKni10RWuhAEA6X19a0n1LhrZhFPhEXg7//nSY/cn8DsTiKiC3+QkGKRDLQuQZ4n0HLcoNWwpOnEZpbkk+GOAPlMfjWd0oEXiKw4EOH9p+n9ZVLCm7IJSvyN8uVyBLKbhR5FdXXwVNUOH84YmIFt0A13H33myc1ts+13nO4ZNVjbLIliBD/ITI63BQeitUP1eVgBMGmzFlZdrgw25Dgk4A+2mVOfRVqor51J3ZpfeYIlblIpH/s7dXev54rAMDB35oserlmgMz6UZ9rIbOuPD8OB/jxM33JXMkpZlwucSI2Knd1sD7diGNKdr9ui4ev6KCHVc2R8nwFc3nGV0cMcy4rLNtmRL/lnBtPa11KP0KHsA3Dj0BK135tNmCqZT+VPA/gJV9wDa8MMlEaYeYfKZmVZuC0yKHGgKRXT5JcLDoOsSWh7BEnFBFbPWiMWYHKbegEdcBkxSWnJPewedlsq7XTdQKxt6WtbONzB7oqi+7NzGmib2rFZEVtyX3F3tvokCvm52Pi01syi9FUtGBlppwCGEgV5kS0fjziyQrH27HmYUns4+rejK2/9WuzXTXfUfVCCrzcfHqrDMJ+OoeBt6MCarPNwu/23Vay+7iF25/rt+norFxZNXuvEZxXZqAxJ3JvN/gf0g61mvgIdVmA6Gr52u3DE5u9XQBideT6FjyuB4W2HL0ibpwCh2WA+UmW9zs0Hg7N53dHmALw934ACy3tTUwmfRMobss9TUd+D5QO35KA+6picZR22h0DZlccruvrU5BPACH2LWT/q8vr224N/QGpP/8JkDJnH1Ypq3bOxtISeAvGhBzx/D0cGZId1gfv7iSTiewVOiGmbXLulX85HGy56feCKtxWIESVqYsZy9oUOToi0lLA3B1SGHjwVCsbwarJGHiRkgF0AtSqWbhS9w9DaOJ/Z09rPm3o6Fp711ZKXwCLPUMc14kJWmqN8wRvmf5vZfitYtmOdhw4lPBV2ZuEKhZ4zcD5RWJnpiweZIbDxhNKvs85PWpLTph3HBW4L6fkapTE+ZkTJNHqkTMUeTLRtFCvn+8Yjn3INVe94W+pE7nr6Dyz1ORJ5wL8MLz2FhFKapLem4sDuEBTtsSHohhU5R1JFWjsUWM8t0O4DXcZoxRYqtg/gQ1PRz6gcLcOFVeue6OdddLw2Cg9WdefbbcNzJll2K+dbkqEaxq6W4KDhb28TFd7GO30FuKOg6JfVup5IE1iElBl3cxIaJ4JWSztuEmBIIFC2HzMkarlgheHHf+WrX/9r4Nf8O8XQzhM94WdpE82PIXKRXffJSpD/0tvGh5dhV3uAoO7zEujyTcpArS3uhIGO7tmGvEJHl9ONSclZRbUtGHSMBcw/jQ+Mftlt15C+FqJZn/MoC+6OWCMx8fKWwnDU2BvgbKEgbavoVFdNVVF8cmRzkDSiLFelVDTuhNeHCMoUFQmxFgk7/f++boFovlOZV3FimX2/LvJ1LaVWjDzUUveWwct2ANNWVm9H3G+aldlmTHnZ8+NDFSaEsa2QeSZS02q3luPDo+HArzW/JeG5AwbsIQvha0G5Rni988UUHwYq/UoSrz2uT1PEIonoIcJU/VNpBSRg33n4Pj/KytpkWmt5ENkx1rP4MSoIZYYuWRY+jQOwRCS6Vi6IqraVHw7tIJxiCENDYlLjyh7dG48b7pwCRBALN3Bttx1TsYFAqxft1aB2+KU6qLfDbgr161bUBJ2RbheSNm0bnvYTHNDK3Kcs9eb4AfOWASKDIRsaSBwN13yhYoeuljxc20Xnl1/X/rEc+WvlU7/tBAAw2h/6+FDJXWb5kEdvsaRVQ+bXlw4z6Kl6v/X6TILKOOocjehdItxIaGjMnXuyZCCQIro53c/+m6huwpP/ShO8Y23FXhhRNguKIZax+LZV5jnyNerss/UJQ9/HwkP+TNNsY4ur6ufroy6kzmSGwDCnaQo+9wmAhmLGtTbft3v7z7x8kYtetndhw0JxJeYrkf2xracqipim/+jjwi29iKfSLwZbCoIi6qw6sOp4g9iEX07LPu3RMvouqYS8orUGsGdLUfpPJ/tJ327sKCND5BCmRxnyUurO9mQZgksJ0tvQ1DWLbMXuxOgOIDrQcbdayv1NeyaUccckQvU66/SpoEu9i2HbzBJH6LZ+EfuPczlZrTSUjVzB03paw2B8NfHwuhfaHrWN15PkZNrNdguJ6LtFmlG1IhzaGE0hof8j6DDeNiOz20kQxc25TjtZxAXLEWqxDQKUC8B4IuBlBUQ3kajc8rM27ePk6MaX/kJzi/DvKYT/zSa/X4jou5rUPPtVZtV/CJ3D5Smo5tLSyGLHtVKG+6Ok7TB9R0ylku8YlAjRhvgOKGBYfB9cxJ3eNDAllGy2AUGen/yovS3yFuDmdwSWz8qovkLw6sPTnH8T8oYAqHo/ddKZcf4/ig/0eDmzhjYyQhK00tHu4rLgW6BBPFHg2KTGSlNaSN2fQ8fDp9NCH8TB+HLNm4UKMOiz4UhO6HFkR5GClo31GlBIbca0MjPnEzTDSvv8/UKbqobUD8ZpsRlm/DHAevoFFn28waNKMMefFoqQ8CfkvHMv7qNq4dhCOotBdaNKt6nkIfmQs57/hVlnoNPokFKjkKd4iEoKnSTL897Ef7rjflNQU0Kuq8mbjyiaia2hNRFR4V8velyZlqtlFc4AAmYiwu58crc4KLjL3+q0v9kbtJSNwgwDJyTur5JkKJng+LabhssUJNFxcx7AHGVE3pNXUPsZJRky6A0HvkmXx1ba7wRp39JyFtszpkqWfT9ze2ItFkZkXOSZ3zCxzIzvWnbPFzI3cUV0xUxgLPgQEaNvaFvDO1CCPA0riEdzstYAmEUdxEV6bemWiNoC58oKYjFmxKrkQ0uzxsPL489oVoJ8LYMfrH0QoTkYQ2zKK231Dti6M8HVwAETpTl10zJsvca8M3y2SPxhTTgs2xL45hV96uYr8xYdkn/NxJMq/n++loVg+A7d7iV7Qee5vRwnMMeQ4iIe/jChbKhVF41RG49j8Pbjx/Eh+ukH2fsc5Y/fAEAX7yMTt1VF6K8HzmR7JCxbKkuc2mKmLNoG2CMY9obyfZFDcUylrGxERpzGsy5RC2RIlpvxFyuei3CecjoHET7feDNoj3u4r2Gy8lcsWgo2XqrxGIRpb+DoQj1unO+YOpWXxz6zQMhLACE8WttndNGJAdKkFj3At5YywwqMUtep8qho9s4Wi4ebOHZom79mllj/b+g9ujr9BH2OdNuRKAQ9ABtKnGVwd0/RryQrNXNv6MfXscBcNaDt3QEhG6Dkt770R4c2glD8vjKh4rtoByOXvhgnhpUD7oQGFBSld0Di/ui+GdwrpQHFyHrZ8+wFO4BFfMD8GFcVujJfECTLivsrBB6EVVQLaY7H5UhUW3z8YUS4rwZK11njtUXcwifasbLvrWvS9NGpT1wv3TEaP6ehGJZzVz+YBuXCw1jGGoTQywETgFzKx+OWu37VJmqEUni7JH7ZvRthvTAq51I4NE7cHFzYC2Rh0ZBRRuKPeLLwiaYb9MCIvdO7kcItKPyZRSrEiDj5rJBs6aGFugUch7y9iVhFgQxTRdXHX8vM5pFrX/0PMuPOrz6vpJppiK0h5phki32UM3CkJEJENibIB8p0fXWdaYPPJyXazj5CaDe36vYRLsmUzP/9DJ0A0jIaA6sPfWaN8Oqz3VVo6874pvLiH6OygXxNWMZ8hOmzPOiVkgqYoYsuuWQU2REjeIaSMDO5TI5gWqYUwhPHyt6BN18blCPTD4vKX9SIlwvKIG5YbYqHu8aOcZEV+dczWbtO2i0HOyDYekfa47+yW8afzRtjmHE8Zba8nMiL/SVDLz8DleL2yMBaakw3eRkpuaJvy4PfkoLX7UI/IqTYGZvBnbWIXB771eBc7doZsEdtWoOgiz/APLgH56u2HKzuVlPsH2dqxfQRKAJb6wrH1rgTBSHDGgKXawzoL7ndRGGf2rO57aZT+OzIYMArbwEjyLEx+BWxfE9isKhohbIg+eQ6g4c4co6WAJc495pV1YJC5bEDXfAUeWmNLLJtkU6lpfrqWdqDoGSYWZkKWAsSo+96xQ9dJI58AqH2nO7Y7A6HHsn2EQAvV3WigZ8ARzSr24roUAOD0v6wRI+OTnAr+nSHIMR24ooPX4lUs85w7LSqgzIrPIMnh7Pfulrd8Am3IWYWlr/rPHDus82t7Cad3HmipQBilRmCscIJlRzBCXWbvqw107ICu3VcqGYYk8DVNXy36biG/x90OXpuTSgfY42EYIZPrxDhzjPknIph6Rdd/Tzk5719T7KahjzfdDnu9kXsxlIXIRKr0vNW/hs69Le4pgg41Piq7Gs30kG0bSizIPKmI8jtbqxZUgagpEKpn4YAvBnKFwxnCTozSeaH7Ka/2tGZU/e4nMEF3QmVNunYgrtpWkzMJP+pSRAxF0QKR9BvYIJVyXwCkYu0JfEfDLRgOIrKRg/O948s3KMnVqdsJ99U3dJekkNS+mmSP7OQGGfh/Puuxy65880TnEtH0PvZIihQ9DWwjuIal8i014vAL9plnO3HTBuH5CEg8XV0DNPQgPu91cTIxbn0eS66ksnJuoobprC8jGVJeFc+Qi3f8fPdcrRVBeJ/STnAMTKqsMUhCTzYn/6AbkH+PYZSnEh0DtdZeDJ45nmIPassAAU/a7z1lVy4pcjxMcKHNJ8vchuuORYhZT0RvfN23qJXOJCUi1nZbLZVYbhUV5yE4/d7vWRe6uV+8KVXnoBRTeW9MNMofLfEGoerx05WT6K29dGiOKqZ7DR5Sin2OBFu6wQO4G3KyRwafGPcg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609600" y="2053319"/>
            <a:ext cx="7926070" cy="4697927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752600" y="6477000"/>
            <a:ext cx="180369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latin typeface="Century Gothic" panose="020B0502020202020204" pitchFamily="34" charset="0"/>
              </a:rPr>
              <a:t>Source: Industry, Company data</a:t>
            </a:r>
          </a:p>
        </p:txBody>
      </p:sp>
    </p:spTree>
    <p:extLst>
      <p:ext uri="{BB962C8B-B14F-4D97-AF65-F5344CB8AC3E}">
        <p14:creationId xmlns:p14="http://schemas.microsoft.com/office/powerpoint/2010/main" val="8969131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DFiQHjCqdL1bAIku2Rw+/elpsbhxpGORWsyShyRL/tWmsIuTsDj15mcBBC6rxNi02vfR74RCA/dpvKGhZx65oxS61WxlXyiEy9Agpt90lTaG5PCvpy4nMp8hq/RfD9EMWBn55MnRuSjgSbT7xjSfhoL32vrJIy8vtJ86EBcptqGsuTPBW+5la2CN36FYXwOITiQyW66KyQ/P8pPsE1A3C6MJShJLDpe7ooecxKvlVHntKvpU/rd+DZ9F0QJOiBQ9CDAfg5PYgyULfIVXd7U1+i8CNZ26bxKnWny3/NfFzpHRXCFqmvEi7FEwPB58zCwmbspTwi3JAOPiitv7RT15GIS+7JTFEyiNiyRDlenr9LBuE/ZmMrVE3JyDDOrhOS9NS4KFYz7LDQkQD67JENvCZrK1AcAgo11s7jA7CMWFD3p1gPLbLq6aA3Q0ZUw4B80xk3ld+BIIeavqmavVXE5TYRDbZDVqi40jADwylstDifp/6K1IV6S2XWJbtXt6NrpLoSIE411Cq1G15cBz2u0/dmHE0MRxl5ioCJkdZEUeipfG1vq/ScVJhHkKATuYsUz0Va7AdCQjgGWmH2A7MtZNQOz59saLC6pD9YFaiObq/Fxxhh3vpax4h9WvA07W0CFf8p67Qh8jA5hmqJpMZFQ9UZvsFXKoht7gVIxonh6hc+Zk+hDqZpBoRpvP5Si37UzU7ShRQEZ71aW5KsCz/IYFmqbbUBF1PK7D0zmnIjJ3fOVMs7LHXjyDyFG07qfxu9RM1me5X+gMMnEdUtZ0f6y+AAYGRoGdzkiUoZI71SZUNVQ4N+MiAqe5eGawYnM+enK9m2yWrHC864Vcxj+KBmx97LL4CVQkfhQD0Qfmid71hUNVuxZmKgqXUAzwXWFZSPqrAVvMuUZ9WIf3yo3ymEYcHZOtILU1phCMp68WHiizaPoLyHGetTd22InrANhvrDGijHlulfPOUH3Zqp9NyQNjEQ6BKoimVJWvIsf5uTXYRBwfiBOkvbZoyYN8shaXBzNOJdEsMxgCs9PG98qFvpOYAj8Yu8m817TdHzWSl+yturmta5jI7B/tpWPf4pNO/Y5FZCsE3nSudH4SypHTVaqdfNMPZEhk1rvmKqEpIw6P3u8macfqgYwpl1BFrJYYnvMYkm0EJxzEGk7W1UBfh3mxeP3Q0qsr3gRsx1Flf5rRsWQrDutwtuoDCCDgNvu5pceSR0pZMIUp/8KRf4BvB4dle77BuDxMFpi7bj/XaEsl8+9uaphpix53CXrFhW6axLeviuligxpY5sCU0N4IHG37rzhabvsKwrBCxLi5t4VJyoVZC7GEr6HFTZfrGbSxR8JaEgxGmP+3yyam0bzRRmEAgCRivmQu6KViFDEYndEKWkCRw4vWpxDAHE1nIGuZx/JWFEpEQalueFZKmlcP78U6azCF5QaxOQ7R1Xda9gYjrM0JXT9M/kOF6OYP9lTAZFnW9MP/M3xQgVeO8VEj1FCIpyU8kL4nR+O7dP5QpOJie7xVMcY41j2sPgthD8V1a2ZGtCgQmD81sbxBCtxJkoJzglxG+KCETgpO4L3O+sV2eXm+GJOudqzrhl3f3pu5hytFyGgX0njVCTmwYY1QSpKK3d8+OwMCWraFtRNGelistmDOT13UU+uIit7GRAMa5uO5+CZ8M+diqFgCrMZnTeCaoSvi8MzuQBbc+VgsTJU2DVnuwwzcHrVtviI1cJsSZBBeU8Srb5Fe3X/m3ZraHqgZXukEnpZinxvvaxh+t88x7jrvpnviwZTq6XKZzvEWPIaWATkrq+wY7lTDtpRQMJg1b5v/kaordJUGwsL+W/xcXY+GhM0PmW6FeVBZ+QkJyx6KC5Iqer9Di7+l8b+f0+2vvKYYGiLK9lWb/q+nkdIPUVturAYaO3D9Lhh4QtrAZ1Q35IgUETisO4vNZIVhX+tOfe/12jLPb46WWiUrTf/bUUT3rNk7eJNm7relB5vaz+zob1DkWsXmLrVhasedM8wbCALVsjPMoeKsArMp7SZHj/M5BIYRDnW/dDID10OdV17B6U46oiOQHOkShMq3NYVP3PAn2sejBuAWaioKtbtDQD3IxBO5uKUcq21kIvt4GxgfTSotvdkGp1auGiTvg/iuWKJ0zw1N36mfg4l8M6uJfoajtpATNhFdk5TuiZtSfKLTujMIAvh/8spy4ide51VCyA6CY6XGPYV4uw1PZgVSIwFCSolBKMtvgpd3yMz+9FHCKz9ly3GAiFElPxJYWGfjXaIn2dGL2gvIUzk6PFav1ToWW6kHeTUn7xOtm5kzZ/FPS/UZJPCsn7Ph6BgF4cISKdAxpRbMdQxRYvnHofswp0AHLiJJXACxHyHUktuJWMbOyeDJQgmvbH9DD/hmMNGpHrUcQfApEwsXfs2B7jyF6nxCR9+SnHaICK5NrIqTExriM98JLhoPadLdxkZLf35cEkGxi6t3EJYBLCAW+t7pv9rjdwudZ///YeJTWzwDvkwUyYGC0y6RN/TOdkXw7m64WWXEULqPAr1osjcd49HCjtHkzDpgXDhGFBveKrZMYUlr8teLbtPbteUIkxnxQre7MjQeMXGjHneOR51Vr3w8JocRmUXk9sbRgBC1ns95EKXeuzXL2dcoYzJM4AmHrivhzIoxJg+b/03lJt7zsXHGwFG+81QGHc9jRRISbiEyCa7UZa2e4mIB7uZKyJyKRa7V/F4EKj9otrv2SPLlKAmMExBpRC/jzZKNQ4+ECIld15mvEa2L/h1NqeRp0M4wkfhBvKQq4+vfkW2qOIYRqiKRD9wTH8Z3iqzWgi9jVUNBt8qWExnPtFqcWqrXbmvHt8ihikuOIZ4sRISgDYQ05GYheX2rEmnhcUYbUfNXc/m73mKd6WPK+VoKgvB4rK45U51+Ejwf0d4w+utt+Ikvtr4MPLjGqNv0pZkQNMVAXZOuO4vf9u9fPs/E9uZ89HWP63as9msYL8X/cZ2VMIzehpgT5Mxog830iKmTH/tY1xnIaLqq3up6pRWnydDaBlw8ek5/9OEvGJySewfFBrplutnZl1lK45X90YySthgae2U8SAU8SyUspRkhqGra7k3eVjkaqiQXtLRv/3/QO1N3r98Gn1eLXJwhdusCj1TOtRKrHJhRJbevnxiyzyD4W4hQ3sdsDl6mO8OEXFGKqZltvSKcySnVhS2UrdSYaEc65gBd8Da0tzV0+EhCxdiR+wHEb9oA2q9dT77j90AEP2FOACTIbZinkc7uC7Jh7AAmxq5nWUZQm6PIuVub0ugws5BQkfwjytlRs9IlPok8rUsN/utUgAHy25/liqli2HWrmlnNHYRHrX7ObdsjWSWI2/hnZpwQBJsnGJzU9GGyH0wIyWzFbW/gcEkBn65VVx6HO0oaapE9fKYutGbk+noSflbTZG9DPcj3KkvkUDM6pfzMDI9rV+DS9rhWQPcavdjJGgk1J0RS1KOIvsMdlmkxtCAK64tybY/ItewxNLmBpTfmXxbvbbkpJNo7wWQtPqxTWDKkNrOFN+HG1TC8fGb7y8E+UK74CdPCu7U99r9HGUcpKJvUg58gog577DhHB36GlvCbjBwcAAXTew3GEFPEUEJflEfJKFS98lGKQOjBRmDgP7J6yfiG3Jht2MDhl1dQN+ENcrTr4RzJDKBSiV7p9KScbEjHbjjM/OJgzoqHsiAr4UxK1mR6Jky5HTI5WnWKL/95I17Npl1NTWvByMtBH11+tdWSZL/loCu8P3ie+AXuAn7dwNyvIFdXrkhbsADij+WhqmL0/Sv2zTwU83pAYXrXH9vWkchzffTSEQQ8wX2P2C0iHj6nQXIcp4IGYCzokxoGlMSjB8Oudh2kM+oh1BdG2nHL9bWK3FsoBxfiKNJCa8rAUFVwHsLDvJl2q0DmZcEOer5lIYKFtrp10B5UhoLmeVNm+ijn8YTZGF0vBgYvujkSZMn5TGWmoCX4/GUYhTXvXPM7BFbl52Axp1uLlKG3uch3WzAEwvoytYK3dzBbxBwEQku2Z4kTMBEHoawPXJkw0BS4hyHH5jZLD4LEoq2Qp3PUX5Jt7KkB8ZXZnJ6yOal2tAyzUVAWR/WOtfFpFVa4yvgxDzOmpckjwxStvJDSsJUtMmMHHVMkx3T2HTtiS1GYGvW+nHIAH0/gbVBwMxf5bf+mGF1JKJwAMawmgV2impCum5w/xZUIpRmX68rZHiCNG+ZxU1hN0LZGEu+IacxKt3RbfVTQrXkM6lXfcmmprtd5fN+hQgjl0bCIhsgzwksUDhLuLWJ8fulbj4CRnL7M0M4etZUizl6AYyfh540JFOTpLrY1A3Q+LS0i1xUbD9xJnpeJHGNNhThIa4VVwJBMEOqa0kuDaDqNyYfpS4aDSIUSJbdSv7BezRe1pWnxVfezziFtFbbqtrw5TqrbFVr/RZN7ZXl0nRU42ZHKyhKp3zqEAwCvoYpFrKZ9fs7vRNpbX+pBVBLYG8mZIs+v10NAkkuNhd3KC2JzSpHjxyP7Bbh6TdgFKr5LZ1vi0TqNnroRG4SDH06HLSC5LYv+N+DBW25SwFWpiq/r70DbH8Jko4ozSRE+irCrmtkvw8rat4DxVXnrOp33PUF6UqNdw+PWUf/9P8wmgNV9B3tSDGQ1GfyDF/j+mytttwjJKHVaCnOPFEhRvGQfa7Cy2i5BmPB62eKg5JlZjSQ05+f31VeqTatoq3Gx9Obk/Q14/bkQgSRXXssSv4Weui0a7fLwsAZD1npcj27Q1+gFchlm9GcyKaczQ3SNycKMBlvMnlzjaQzuvZgLxOFxm28rYilzbTGFNvi++p0BT7z0mIGrBQCrHbd/QNb6V/OEjeykuOTinACUaOxEm4QNS5xOgKjYIgrhklaEJ3KjGLBTDpTYDyJXw+S6vHhr7wSqT1XF0Q0LeBjUOHqIF6N3LvJEr7dKymSmQFREi+X1x/gRCf7r+2z5Bs8s2imRXLoSouFT6TWdL0gcz+Tq0nEbLVMdxGQ9qsGaE3UKTAhwlXTWLgcn/ouLqVLvpbL15PvmXjY74QGMFwCdtmaG1sMem/fPrG8wOCRvl6rWSfKf8QjOIOSCu5YuK2oImHhiVe88h9REOGjqGFnhUgOBU3ryG3d+FQyploNn+UgdCjpJkypWfuiOBjUGRNicXhPpGQnxsWMfsU+lW0rFJjo0bWfE+Ai1km9xyG76Oul4JZV41+ZHUepd8mkr2DgV0bbQAuGud0ckAfq6NRrKbtmuW7Y7cJqOgaiQPSRT1kIn6vQV9x6HqcCdNL1n4rD9LPC0DCtcSkEvxSuxBYwA62RjXCDaOLiulCpfnxCwOCzkfg9Ynmb6jAXJRzkBvv2MVDdOAqLIZMie/fRIKRlaY2QhgiPSIykggI5XmMcwLVSXHZeAtvcnKRx16QzjjG2iEupFZ54xNhbomlwHvCPKQxwz1WGxnqvgYAjhyiuKYUcIr4bpFSppEt207m11gJ8sJRWXbs/alkQ51OLM8UMVPMrJDy1yMUwTQQScEdE1w0e484wb6lD+/xXJKPHWS215/hz6qlEPjK6c6VIHgNqYI3ARPV2zoordqdKUG+b5lAcYACrEAdAZp8gSZuQfINd64YNOQSqR9uyiT+jdjKWX1jZMMPiEWaD/8p97zcmmNqWhsoAd2qqTd8ZwPVi0lNyVw3EvmBZx3Q2ucEQgBqtd8iqEcHfns3eR76IaS+RVAdnW3dvJD3VL1ZSQ7BHPBQJ0+DKp054iE/NwCn1wHbPp2l9nbe7EN7fiAaS6sVQanHChuyOO7GMbopA5Rc2wT4owcqhQGuQhwMntF1n5EloUuuTZwoT9C7Wj7ndUeCsqJIBFEPK9OfiQYSzj6o6+96wWOb5H45P5XNWDVpyDDtQd9IGxGCLyZ1+JkNG1oK78R1k92qJGDyWAh9EtO5zC7QaFkc6+iTG2cQdV7QJQ+AIMwA6OkqHSA6VMzILUi3JFfbc8xcgbh9X8aeL/Lv49XkMcYGOiVOnrCCym/GMU4FiWg8ZrGWwuv+IUWHs3W8mA6ZBl/vt+hY+5CXtfYP8Id9MMG8PGw3T4mjtQ67kR3ZiwXgxE3FXjT/tMET8aZNflIBAl8etBZV62VEmZ7GvoSqjLwzmJonZi553io7YNQCtN7klQclaqBkNLZZrWH1NF5ikh8XGOEDiZbjKVHzpN1wboSNPiCujLqdFdEtcWFYf8rIsNBgKRJ3djfRFGUANAjwjP+80U5qZEDD+4ZsjpemDzKRyIlgNL4cfR0m1Z04khGBnvfF4sessYUW2aPlpoXcNruWz7lP3JN+DtEPmOBAjTYQsmNNZD3im3AI5vfSgvyiCkCEkpxMXsk9jNuUH5F1rxMKD0Iop97bc8oWdlccxxcwstLSc04veHi8esit4RdFGFneh/0XXEJb1Ohkw3iyV8bH9G8kuxFjlcGcSVBWiWJxS+bw7F/ieyhSHLmmg+Ta31H6lua4/ZBXs8+KZCHeeOIkGC4eiR4HVKjM61AXvu62iXOw979u48vls/vNDh3Y4gRz/gSneQ7s6gqDAL4adra6hpkf8PcC6v0VVOKjjz0CrGxf9okmIbhxcu2p763W+M+MACbgA3k7LRnKz7Q0xY/WO7dJpxr4Wpy0oBioHAFTISDRqx9Vs6TYVE75VTwpVu8itnTVLexfp3doQyA1QFuZtrwnCscxOO78nrMpVqUwDvfX3dFrJCQ+0klzFgYXUa8xrd6ZSif7yoGrVbAu8afB6HNOpaPwFCUUuIwSteC+ScLSXZwzqsY4MhVkzZzT8fzMvymKg7LE/+jgJMCPQmIoNZR+yz3sSAVfEaekrzLUHbpoo3kMkXi6w7vX54bB83zrrrVwncS41+Lh/PParldKL0soyQb9VHPv/L4tsJSARkzqyJhKBNSnGXa3i5J5XuGKvyg45cB+TbcUwhuddtEaK45DgV4Ej1YlOiNdNLymYSbfqS0WHTzEBKZA+rb8zeMdbTcmw9XCku5kQuqK0n/l0+LKgKdqyqEw/0Jst/maEMxdoKIsz6XA/9yZz8mUkWCQ6a0meaUKqyd//8sYx3fIxJGOA7M14plVPr3MP4g5hCDCh4ffI4TkxAmk8kl1cqHvtezn7jmKmhgz9uPWEvAW1botk7flBBqC7xuCoUjrzv3tilySmwKkYXUDQXxrbzeJvo8QIiQvfBJ3VMTXAqYQTauAhvIuK8bln7SMcYbkdcx/qqyZafQ/LhRl4/VKSLJsvegTqXYvzLXj9uMAFr4lCLEJmT7Ga0o9DnS0Otk7sysuuXkenoPlcX6Rxv2pwxBC47z+Ql+14vPRiyF4c/iG2/7i8ypdjz98IYUtkBkGh8myYUUYaLvOpqGi+puVnour8pF02x/lAp8BJmGn/kn/Dag0vzcUnaTQHF8xwLFavc3sZxnFedp8xEdTpuA/CoaYT34Vf9qp9xWl/CxGWkFT8EL+yE76FSyEt/Kg6JhMbF3sioFLE8HDFIpmosI5aJWqEeJKxIKTep80dypZOjefAIPd1j7yK/ZRULtHWBHAIFn4jf699FHBi4B7maESzvVR2hY7pBmjV9vbMTzSiBE3rrKPjcmJ9L7PBrLdBjfUBHTovYJKTBHfMVBwmXkAqIJSkbB/6GK534RbSUsvMMBQlHc6N5sNfogEmA6kzQ/k0h0pJazXefqXJ+BX9l5MxbYarMWC77bgfe/Q83Sc48dieZcwrBGijtzoU7XhX7hY7O+IFp0wgQAfpsVK5XZhZWZ6ItOXXkm2cPJj0wEOqC47I1hV5tzZXMx/iWHHqeTuWWS5HBbYl7cji9DRxZJUIcGp0FJSPiJh3rSLcBtlliLLhPTrZlG+iVl4QA+i7ufLl2m9b7FuH2w3D5sLIculL4T91WAgEzIs5OY2veq6Q8ofXnDkoMXuKyJkq8edo+/LC5KUmCuVmm21mnlK/5JmFrFw6CgD4zL8cVKKsDCIIz3lG2lMuGIB+Ggw8+2L9ZkWAl7qoYw9VXVcmVm9lYkeX7kqTdW7ywNeHEKe1DWwgAbHhvUiYzXL5u+V4yUUn7xm2aH895i/mPkHt2COWkd5EqQJGmj3uQwcQ0pBOub7eSIO1vW7onF5IkqxcLeOWEtZjHTHpslbSPIoWo2wGWSEt2L63QzoH+75vCHGrVrkLQvsqyVlj9OgXfc+syaFs7pT5IaNetEhsrg1+yjSzUgpXkLFIv1bC4/e9NQUDfEvQQsVFcsWpGT94Oc+FA5mB+zFysJoZiGYx48aTu7LHDSwzdLPAg9E5e3S2DXD6k7Yxexp3p8mM3R+3oSXUPoaMYsQmaa1b0UTFvP52ApYZ8VjEPlH9UQ+Cj2vHmlDMU4hBzmfUDlM+4Mey6Hd7XjLbINnq85QzXiLhS38C0RKGu2KAt0TSs3ukWQBZKdfBDfUjAhUBNVN/CTCp6de01/QxiBvZOAdvrasUB5fZcYgPSOf+5N/VUZfh1E9mgWbs5MXVcWyQ1mqNgP9bQnGu5lZI4UTg9iPmOTS/mk9X2LMb9Cp7b51uj+J0KM+5zrJVcHjAhP75k0TO45OSn2no475Kgp6PHIqmFmDynyITtvEkK8LkbWpuO9yPkMpXFwvD5F9g+qJ//n8exEFmYiG8zvv9A/y3jxUw3ChT5w6qIGcdwM1Af0YZu0W+vvEiGRXWBZEDBAEUgYBI61LR+DAJbK+lYAotLnUld9D6wN8BKH960DY3pbqpNsLr8sX+5rHNXpH3RJYuEOpl16zDIHZeOvvvPcEN092KQkwpOkv+rvP6olL1QFNQ9qOhAqvv/DVNABv58NwAEXQ+cx1qmMsfFg5AQbYxXUWtD4IvRcE3ewusvdOp6wecAI+PmYrCAulRIHR+egGuy1rC5vGlVgybs6Tkg7hJQEFtxJo7KZaDEhExkMePL7yZxjPTnxh5VNgzW05ZP6CYuJEDBYgrJujlszKdQH7OYj4PgeAkWSPxbng252tpIqIQG76NMlIcl4AphvSXizORV0tTStSWyfrKKI6mGon9YNLrJ9gkmOPJdYGTlAZyc64p4lY0cFWydFKtsyh5FTFvxwWc2R8OWobiGv58W3J+kWf6Be1vdFfnMUMRSZndVvlRuakFx1CSI87pthTKiPT0fJzLt9cvdVJ0wyiIbx0kDMlUTwShItZwFKobeRgMD7Q3Jl3803n/sWGDdxmIhcwtSyEaAj1MqgNNFRf5z6MUWAf042a5bVgKUAqXJLCBJxCWbD9j1v2R/4h1lbK7Iqsd2r0n6bOZyjTWtY8K3s1ONktumcTkirB+GAQ5CY3JkgD1PkCsqu00ki8KjpZlCpv08OtgbwLYpR1SYTE5QCHYH+Q06hTx0lZNgoSb7E2UJlzEz+BcuwwmpXGanX8FzmUtrNIHVoBjxct+ZKeBmWxKnClm5ei1VJmH8auUSR+ZQapxQG9wp3IJBajim2eFfN9mgL8N47OUV7m3nzkhbjqOxE/IfwVD1vtOqLQkvMOFYj2p4ZqkufyBiC2kguWTGu40aWbEcbXE5nRYup9iIqIplpY6AdkEH0gm2lupd0/NSUS6pCZU2whgXORSLh+RUFmXmCh06knuP9yM7gBBiJLCj2BtNo1czRh21ovTIcfRsV3JKfScAMU0WbCvw3r6Il2qB6vE5yLHIm3vjeTUZKSILsDtCvP3uJQ2+39XamUoBEP7YWiCVEIhjjBEZH22Ln3y098h6mjGWNldluB2IQVJ+PjunIFtXFxSRmDoPyvLJSna1++Ky0UBldesKOBECsQ4e6hwHVX54Jm5hKjPgz/dsnkEwXe/TJB5G5hashsiK7V8x5CEQekQpkMWrj/TW1SfGX0IXSwqssDKW8CSkvEa8iBdUvXhkz17AHTl3iDnqqn5+NCDQ9EhR4bKyDK6qOjGb5GbNOTlkhFK6xP7NqA9QxABDik1JGtdCz/P+2iKGW3vm4Bgj96kJk9yrrUZ3s6ECs9KG8pxqGEaun/65vGpslAiQ5ONakcejdY286s6shoc4jr6XS43RgXccZO35UtYQExMgeI+pHvCrnk2DZfIt0mj6Ee7nnC6DKCFM1jONTOYnd5pOAy2kqNMoM49O+S0fldAI16Opew7MhkH0NaiIQj0nLJQhuYEzksyYvFp/IgC3GT+fYC6AZERvvSj20/1iVWEThKsTjKemFFg1CibzvuvMH6/1qYRr3xYOaoodVejTzkGgjCU08W0Y3or6BD+DwZH6Xa1j8KXO8NdiEYhAD7NYjhHTkEoPZU219QYzb8snPdNJxQGkgTMEgPxG9VH85YMD7+cWfZ1sgnjO5bOA0aq+6Z0Sv8IeAZbFOSU8L4CjthWzh+7RpXdf56r0APOwGkplQot+GMgO4GDANlIoI0e/qQJRVKynvs1UQiSygnXd4h/LbwtecCK2iLxXl0fP+ShoXlCYZfSwwK1b6OGrem+sQKD4h6PLO6nknBJ/8UDHXN62t2yIvCBmMh66yuT/rwXdE1V2q3PI0f2/VyjZcco8XeJcbnbcLsCKd/L7xmxNLTmo3hAkkq/DFceNhvsO30e66f43n16fzRlyUCAcVBnwVsEWdHa3wEFxyYk4YvtOGLQYbSxlJT+Pqrf31okev9eWEgSvK6SQDD7LGtPThT/QKOBH7fWP+yhPTkqBwzysPU61Frmlc98Br44QWd/UBFhL9iY7Z+Uwyo66715wJfu77q1W25ipwG1WyJc5oU/FcSh9NXrfaOR5iQFOFLas8he9NgTLcHFDwpdTeKURkvHOgh35gFNCB4EzZf3j9tpXCjd5SkY5e1H50lSNI5EdqNzurk0DgVFIAIp0dx2NmXBSrCvVPNZHJ4m2Y7mAs/lhfEyc9dQkwqoSxxA269Ezx6X1gG4J462dg+Jo5mcK1CuWO4FOjjzRuKwP1AJ9S5fRTX1QJhjy+4BQaMwY9q0nwCmQU/abygg/unxOFqrfWZZU3ul5cQtaTfUkmIMgt9xwp4ws9LcTPPauQWTmu3c5yKhGuLgz+x0SEzFfFM9jC2SAhrloc90tdW7gH5fIZgL9ViF294fsQmynjy8kHyU69nSdbI42mw9/b1WTfhq/gBKu5bosRhQh32R/8lsbKI9VUca+rPgISkPwNN1tz28QC7ypY8V8wcleA45+kRr2w1/Qp9HnZLpi0EhHkVW9ZHRWeYbTA2OwcD9XT08pTn5n/WHoU3nMU0Y++K9Oi8FZle13DKxgyMf32HXh/OxLvT3Tyi9UkEw0NVVCCDNyMmITQnaZW+JDxeVAQJGbOYx9F4HQTZ0Bnw/YcWYf/md9sjPFfH3O+AA2zfY44AT03Y4ndqy5BlRZKFsuBDS5LGdMgfxixEyVLd1iut+NcbLWGq5QCjGTOKCgYxb3OBOo85sfTCTvTNQMxorV1Y7D910/TiB5PQTzxNEtC7SVV8RuZb4qQITYVz/Wh8ANdowbsiTjSQMtdvdukTrxCjPOKO5W6t/u691Tr2GBjA91tLtkN9Y0MGtmsI2kJkF/5gE7wbX0BwJVOQvLthTDGy2zVeysvJ8sqCr67qhWzYZk+HjVzxMOxJLUBM/sBq+x6pR2WdA40T9xHL03rRxlC15BbJp3+ct44abwjVlbBsbsgVCit7HXYUrIRRYS6JBC4LpuckxCqY9Baxne0D6ci+Dot8yvn+5fvhi0wyVL4F/FUTmd1kH8pVrRm/keOXg/LZWlHvNxDUXeXztvWLOI7D7N4jQ3WV6OlsZbrrYetcDRy23aRk8/YYxhCK55DlP0y94YAtWIZtW/dTTYXJb+AOFsmRjLTzbzLOm6sk/3ASmPW/bKFuGzXtsXQsAaClMqQN1reGYJev6c3bbaqzZAO0GgFXcJbCs0sSeqSSYGTP0GGtiuToeWAscaJ3/YZ+xGUj6lBLq9ig9pJMaNKD2KWBPBNIRVKIq0vPu/bwohFV00Wa4aKmF0a+2FtkOB1DyNMx5Hiyj3tml6iZjz6wFKVuOUrjAf1L8Fpv/lik4HRKkJIOQ8lSpw7qUI1mX8Xi6D9d4ziejaqoSXbfYxImQIOrvrDFQh3cNyVHNyUWFhx7/6ETzu5Bfm4Lfp/SJN1T57lf+Q36Mo8c9+FBCao6iXNo8E2HXJiCxCV6VX0zVbTD1j8k3aVs8D2UF8DjPGqgvXqrx9lkC9lIQO1zmSAp9JDzWSD+TCbiTX68pa1fx/Zu+SuCL4u3va+WclcX5qzTTDyxWKm3vA+FzMbCA+N8E7HFQnZkIaZNWFS38NfoyRkJgCRog/emWtAVaRTiFehqb7DlSsGWbwNC5zxaikNAaH9sQJLQQjiBGQHN+mKBRXKGVakUdRonnaiN5z7OpV+e9V9UzvMMYDf8nhqMWQGYelS/RwsUAIfJT/rsXEt8EDV5AbL68xvpWOT/rB5l3GgcvJnVOT6nZMpGXOGBbAZ0/QVTdGJp3ByRzL2LcR9ROWFo3/1S7oJSer6SMyy4VLqVK1HexGy0NOMlD44kiy95oMpywhwvfDSxjmuMy6A5YSydBZZXsrnpB88kFD2lphSgj8sMWi0lU+JlVUVa184oKjoWT1iXIPCys7qOpkS2copJjYNOf9g7lHAhIhyFB1KNR0cPO2RjMiK9m3OnN3VEQnUF+zjsrH6h0iAzcjO8GaSD13IVImDStK07LIi6A9wmIcXMAZEOzkO+4G0ZUBjTreKBfXVNeBNDQNag2gWajsgo2QEpuUfdbXrQSYspwCmnFhUEt4OoDeVKJ1Yf8paADscwEyNe8WR8DM6DUaIMHHE6TPAx1ePju39j/IZLfVgCo9EqhEcnEpyAuoF42wBqCVOVly2q3z28mFncS/X7oc43vvpnUw65P/Z6pDW/j2STePnqMasfWZwaQhmJvBWLPZCsW2ZqHsA6MsKTal84ZL4wc5SqTiG5f5zMFVQKCmZMPF4BW0h+gcitAp6i+OKmajtx7MhQ0CGZ/YZ88OLM5/gdyBuaaVkAaX+5jhMPh90ayPGAdgmGzRhDs3fAy+d7cErS5glGKzVOuo3vbgUWUNrkzFeQ3iBQ016jk6WwY6XSM50XYMsBwdsZKcfWCiI1V/1ArE1aXkdZtSr5SNfsW+fQclSQT5lPA0uE0hC5uFGzSuiWt4cIwn5mpIHAMWnt16b6iZ1Tb2pXGoI2ARN1c2lgfpXZkv6yUhU7+y6aYwSdF1Noy13w83xpRmdzI2wLpefsMRc9C6f7BVCvOOgWzHQcjcy3bqIzuhE7Dr3eBDUxRBUk9wz1lCxL+A+1PJw8nFJxxF2Ve3GmPJmtR2ccOu2bg3zEzpBZuLlNCSJ4MojhI+NdsUeVkiAPVeY2cLiEODvWXP8LPtAtUIDPisiAo/vgBHPxXVqTpcpvOCZpwITgum2sLkgGHh1UB3q63zQHF2GIIrDsjfMbqbUVlW5edydkXQvvTAfNe0w4fRglyq4c21UGExC3tKsZMx6GV1YKhqsuyeRQdrrWKjKlY2+97TZor2YtPppGTNMFp/48VnsJ0XmK+iK9olUNpNvRv7vsFsWRjNQPAIsSiY92e1YpvxYPk7GAZjgtNLhEDunJzBwfNmenZvglg5S+OSbOxbE9YDFw8stioDCOic3NU84kPKwxNGQ2VQ6b+MWuJ7f9HP5uknPVv5Sd+I3Y+DuMcY71MtH7MwUATrzLhrueKUd4sx9Ng3tCwtKVXGg8sZa5QtyETwv64A4wKNf8js8DwhvnF37N3AddRHC5l5exnKu58HoBHLhz1iVakgYfnazlyQF3+PubMoINKpc3vSbe/UHk02xZ91k72H7rlGP/9cOU/T+na1JQ2nrtCE3JRmjjwIi24GP80J+9yXxXJYn3raIdzsI59rwBf7P/83RpOBiMzPK6+qLyXQqMXrPqmly06epdH5GRhWQy9YTeVjCGiEHpRyxTzRTIn/xMjJAyboYjLxbKBGji8ixALbCoOFZWw6IqKW8YEW2SnoJ/Rh9cpetQ2bBQ/Tp9sUX2erWqyPLMXm3GYEYMncU7L+gnvUW8T+q/XCBrnEnfK9eYGESEAG9VHqJKai/eUrbP4UWR8oA2SOdXj/wmeK1Qmj1AR7dvE35k3NcXb3fVYmC8DHDV0MZXEU3r/87TqSyBphdx4SRBA97E8JVvD6US5SdQkP1OPJPJRsXzMrOujIkDi5YlS15967oOEF1OGENk5IZNkIhvSfNPJnJ5oC8kFTIJPJtrXFB46URvbahiNKVQDPB5Erx0q6451HDOSLJm5wyLfs0sz1tlLoNazkIkGNfATU7HepV1zqFKuQFju/YZBE8Acc7T/wuIc5ESFZq9oI+VjME0/FTV/+JZImov7e20HvDGsrVG1vMGKegpUlX6mvvE1CLKkey7HS5NOgbIu9mgbJQhDwPcdRqFJQxfJfxArMvb9Va2U2EOFxquy4x01PpGdr4FSwqkMTS2afsJz7vnOetr5tt4m4labSIRVC1zRjZm8PX4a9EbH9+ZUT9pFY6TJitGXxfcsond9ooKdAGrzmaIFjdENgn1kMa39NjpZi2Ks1ssDYufrn42CtUK209EDhy0TfrBtfsiw8s6ceTaXSpJKspF8M/4uH6OiFu20Tv0MJuTTzq8zkUHbCWZCf72Lkm+q1R9JzFbXa3mSqNa2xReuU9Y8HYqcDecybaVDjlc7JUuGid0xawU7Y7YgKjtPXAX/WSJB9devzEtAOIZTSriQQg/3BI6b8lFZwUxQZhZYY0S+wclrv9ntop5Af0aGZxfSSNFaREH/IvJZ9GGysGDDjf2DdA27epKFA4BZGECqEG/Jecc2uwvQr3UJtz8145PaN4845I0YPMa/PKP6FQg7Brs2G6rKZx/dIJ06hoV9OlERgkmRynMtqutzJAHI0iN6Yrs/O1XoIosOl2Nc9y64qKXjC7IRiu+fOk0R73ywe05CZg5VyskdkzIAe3NxRTMn1zysYmN+sh7Wi2aB9Ylh905dWFmDtiVeMmsz2N9+WStxYHhzUkXfGGqE19Scj66w8FS/8OXi00nnBTwLtw4e18VLhdsdGufRsxn8gg8GUcsIJBLfWMQxSV/rTUziJiihUGa0jxg7WPSkIMkCsZs26jvQNoxnr+AoGWzmM4lum+2QlpHRj4C1nX9djdk8cON6pTeklrBpCnpnCjVHyvv9TShee4JurE/0hwWg/OBHn9fyVAZUFxwEiE13qVEcm+GMYjii8KZnjW6t0ETpAbk9wUeW4TChcrOydobvBNHqShYKab9ox9E8fX8B7Aw0zM50PyCtFs4iC2XzuWaghAYeFEKioieWXapBGt+cUkv3fNbpGMo3/Oq7fw1EfspSDHVyxUJJuWPqBnL41OQB8WBKIuwtNv6Ng13Jr7LzpcCPfobWNB/Vx4FAffzjzAp2fh0+TFe3oi2vZB0TAmok3vc6ys1MnvB+WBXgNUFcViaUa6tKQ1NOYV4a+MPuxITtPh11Nw8XItqJmwrxHs0w6caPqDI6L9pxm5dJ5LMPN0uutXKCfFJsrBqQL7bISWR/7ho3yRJzsrE/W89yQTsP1bQifuWEb9Co4z39AC25k1et9gUQuUYa3T6TG0ah9koUHmm9l7fuTULeXEmWC1vXU73iq3OVa7lH9SDLcDML5aAizjMaE7GyW6cmWI2JKePk1iyk34SYhzsYd03+zGfTpnqgyNY2uweMX7Kt0JKu8i1KRTsc4YY7cxjcN4KxqEodXk/k6QgWnSwBLe/D6rtvswvlQzeVgm3xag+p9ENcvE2XWiCDjYkVbifMGiUKqwkj4syVidXmm3hGvXIDuWOYrpVIcEhqZZjAxq7y3lmA1lA5TKougyKv4z2ZKD0PoptXNahsnLzuQN7knld9LCY4Wwpg+2cD9w+s6cX1P8zMvlOni51BrS4ThcV7Ayt3Ih0UcaBwghFznV+psny8GSru2atuoJxLI20zQMtNHwQ5VaX4DFbK+8KdGSSnzQWEQ4B9yCV5KZRF0YLKb+HdJ3rEDwPDHuYgdd83xGRnBe86+bQb/nLZYXG18Y2oF4qgzWrK0g9I7w8IeNatFPpXEypNPjY/oBwvVIUhl45XIUhhNSn9pfk3AviqXBPPilrNnLwAamVD3ctKtLyAcxC9xS7WkXw7Zaw+j4FAYHtnRaJKd/U2mPeSs0ohJ2AdqKSHjhs1atHTIxs4bQkAIHFW+AFRCBk594yzX7EkTf5lTbK9egWjWmxhVtVe0DWq1Pv/xIDFt11HZY7eHpwnQ2MwVSaSKZ+A39PljJtNQ49vTFqlnzjfngpH4qQSP9k4+BPXDMAhkjUHsuw99EFk0LiTQplPRJncjzsYQWWZtmjj4AyOsStztgDU7UFx7PbPzSRM8zirrSbF2hgG4uzKmY5vd8tB1SqrK4RTQ+lGJNhPiGLXyFlK5lgkNp0efseXNmZx7TqPPNC58cEl/lOERAoa3WlXDxkTMbFUHEvCfZuF2QnTPdSGmTpFwQDjXaHKQgaOUWU6Be3/2ioduLXNZMBHEIWkZZMz2PoxLD7ag7JswCch6dDssm/tHcSekvH9l6s4w5E6vbxgq6QjYvQHTbL1+RhLAKg8cEJFh9HAWFMjBkWuxp4TAgh8upLv5tWyIhLyuAFZvUMnFnQmDRQVV6YkqD9lPIZMYuze3+ggNHekwMt6Ix7qRmErOPvEu+zZCIa7LFooFJjTGYN41XqLDpZ9xtvdqIZdrgDtn8NGas0tGSWJQxlFsOmxWehdBtv3he5dC//IIDFpo2BiI2JcW4CNAVUG47dgNyI2BvKOpmISSxbtS26Av6Tdb9uq4qBwr3YOv4TZgv7Evqa/VXCI2Ib06MkVsLB+4oxSGRPzD75tSvLIjSQt8HhdshoPSJ+agqC/WDoJhp90sdCj75zizy1XPDhiHXQGbxeUYahg2TV+SbDz3JqigZVrpCkafBr8f4ofUH+FvYtyWsBW09FaE98LM8fzahyq9zYaENyhag6PqTs/KsiVAylM6tP+mcApyLqanJ4YPrPjoAP9dcgmv6CA3UzDTvUjiTP9w4669uFsQ5WeidnjvpX4qFseSm3YGncnam8UAf7HhFznK7ftXpQJXz03YIDHollkAZMkFD1fJgfxf+Gi4VFyX823xfgBlIa+WwOFWz+nJ/apN0OJ5z+jSnwwC66szZk2fXl64fIA9SIB46BzK7QgjR3jB01oDHtcdxPb0OPpnOLHBPoxksyheWEFqRHS9MSTIY2cSzW4f7i2fpIV+ts8+1LLkJvomqkI70+vuwp5lxTG4Zg2HsykC2djg/2ExXPgUZVZphwsPEN1C5ie+ACQIxc5suf+MCvtSRTP4Re/GvH0UogzkEhEXRzVbbdif44uHFM7LGRQsfujQ9hK4mvJkkElLhb5nN+d6D7fkk+307oZ95Ztl3bPv2rhAgeOp72YMKXB0XgxAnNFf/fg/zO85s+fevMlH/TLgv760xO+VAu4Pall0qeuzL+bFkHVqVPZI/crgmVgvZuGsVKsZkZrO6jZMBlmUNNIfN5RP4SQ32XVLO4XmdzCdhp//l4OlQAWTL5pJxRrgzzXpq3zzcxMZqWnJhZSr7boLZNXh4TUOJf+1tgDsx8TaYWgINpip2fV13AsRDxXXJTNSbCHuHpD17cPO3bTnfnTEAb8g3mrqr2V76jp3550CCIxaNh8Sh9zbQwq86CsaXdXL0dmFyS2tX132/gZBQ6YcuqbDR5VE+OukdxrOYFl2wxIIJYjFzS2GN69QEpSce6MLil3S9omdTsnk8rUmhFXBupCuFIsQxmutHVrmi0knzdC558DeyxKvjRuS6/EsSkKBjr514NUPp044Om90p2pKY2FDkZyQuxnmb8ft2zxr+7MxVp/8x0Ph/SXw6qphQO7cfdSTeP5BovDNymSNmUeSZhneRUPLqMsr1O9z4wc/ERrxJGCHmKHnwyEcFUiPUh3bJH5AlMWbl/FLWSTmNfFTc/aynxyzDw7Gm4McSXMOD5og19Pe0AUi93hjyo3MCyvBE2qlTV4+OYLb9gk4MUzeIkZORDvnTeeHpJ2rCdIdcGlcESDjbkCbW2c7batWzNTdEQ1WN+cEan1s+OTZ/g6fVaMmwKZPnE6aC1SehGK+0BA4MlrE+F29ktnAG28wZxKkLCLSMs4L1MRpWwt+A+nmrZZJBWNCncp7G/v0a12sB8dNG/TxZshYkSVDTGEIZlkwYsGBO3WJpNGm70bQ/CP2gaZVwaZYbLEKN5wb6J4UiOSA1RG9kIAGGzankVrzijmeFU75FAH9P+jLeM+V3QHuQ7VP2gJBnQOXVkPqRCQxn6rszPbnhOoT39qiXcOiwFaeAqlSwTaed5BTpyMdTSfG/V5Nh4KQ0LTSAVURgvvZhlCsddOxEYXSYPrV0+DjaEFatGBYfl/521Kn5Ed+mUcXT3TAR5JK5f0mJ4fcoZs7Xv80j66OLg67AOdQVVDLwEFXAdhh9+KG07pcvit2K9MprAIbip/5NhYWJncGBOtsBb0xQCImwRHaMRouhOuPFCWQHefiiupgfhfDisEZ36j2iKsZW4J246zujNTMI5vk/UEM6+rN2SCZ7KHoEKUhEO2nB/cec6WJ2WaUUIGVuNlJDGsgDZ541xj2LbiumunuIIw7duDUQX7JxNfaBY0EHp+gVzAUGYaSdHWndf5XwPuAe8nJWuxOUcMYoPPgwjHet1wxNu9TIROtXeQt0uBf2hkrzpamBOpDn73gZC6qvdvKPLfbKHe+MCms2Sx/2EK5xmtgOUqbrqf56Fe/hP4qq/MyoqfHUKsEuqGJCCh2IKGuBBPWToiH3/vEz8KyZgZHGdV9MtJM10XJ552E6RPw6+L45EKNHtFG6DxyJ2ZJlNueX94BH/l0wizddQoClPS6ARsSampWHq2sq+7Z5gEF9tc2EMAa/t1owVVVxq7OZlrJ3wpAkX2JBsoXYVSLKN+Y0+DsTLY1uPV9Akz53+9ad62WUX6b7jYhVcHC9OTJtQa4woPk+KYsj/YPY5oOHkWouUsn4GjIY6I/MtypBLryagOykGw/kr+Rrxo40qb7iAO5ZK8Cgm3/MRIF+w8Gk4+XSwUXA9C6qrq8rUry1WujUXt98Qvqwc7MtAreyyIm1SSqF3TrQLeMWSLbGl9DqRFa0v2B1LJv0Tv24SJnrMeIT4EpkwKZnGgQArhDS7YinKpqTSenW5twpjat8jQ91gnE9d4xBqDlvEHYuoYL4ehNZkjm9pNZmr+7tWbrRef4lPuWWhbRAvDm8j9cS4QmEYCKv+/HNZfUbGhJ6RW+jJ3PX5d/dNj0iF/2slUOWD06g6ywx1zDfXS+9SFkihK4t9Z6oF3jH1Gv9AFRqVSvcA2PU0oB7zy+enrFuucK1jykpOFFQWyWYuStMII7kr01O0//jqMufNIhw8HNaVnmlND5PNKSCYHaCY/Cdo/01yRK6IXH/TjJC+BSCxq2iM4NNplkB3uoxkukO+UR2ve97ajCJpfAi4gVzvMWYRf1LoSYGt+Sgz6/T8sUbULYE5k8S419M4DFt2XQu3psTke0j6hAJMRDPNopjOwMG0cT0ZNb+tDgIw9zJZFXGfcnvTHZSJaI4ilz7Ob3Tb5fUB2ZPRRaH9az94RIn96egFsimMv6YN1K/eTGutGXYrQdn6IL1C/X6R83KlwpBRv+lGSL0P8kgnLis0dEbtkOe4rOuiy2tFatIW+c2zhRnAZuSAN5J+c9pyOsJez/2cf0D57KJtw1qGRQ2UqELb/5RY+sP/vMoudD9wh8IlY0xKaSWgnZFvklDLqz/nlYg9GyGLpn+Bjy7nFbNMinz+J9yOGNZma1CdASZssFJeAa9stS18bgDJfyOKk4mHsFxVMo57D6XUKknCt2AUtmmaRfztdlPUHC6iDKh8/xfLAxgfgZNxpvHoOL6aholaxGW5a4AIfIzb+M0Iv41BzKb2T5l+euvHA4dYQaqMG6Vmb8ksXOVvXOEL7XajGNzJTv9CKkl5UWHWypfdn25WADrzu29nje4rjlnnHeSyXWH4+bKhW+xdS9x+Hg9RiU6hu8ocwrGTn8jV38cf2PFgYhpyQLovO6q+PWKZk8YSQkJTe9u/hfAo+DJkqjJn7EkyzZu5m7rKE5nC1lmw8JReSFZvMllPP7jYW+3E5jvqKoqkXrxXfsxyjxITxEuBMuB9kEFEkIOpVp8LdYVIzbhnGDIFmbXjENut4GCFe+u0C9BodkkQIZ7kOeL3Vd73jIcq3lb97fLilPpMhQQtsCcuGBBtcxYbG9XrpPinKJOUYGBuBH9eUck+1zSdse1GO4bwa1SzH3MKomWiorYNlPyRPyGJ5PPwUoYK+dwgNRl0QkVy79ZDxQ7CBwUAlNKq1q/XZfigME6/UYcIkikV9dmv27A0wIV8q/wRq0WS8djROQIcp4Ar+3TVn+gz4KZxZIWKRm0zlgvCZSRS+tCh6J1vBYl8iRhy+CvFV2DiaZIP6fCGfbY7AyV5nqZQV/m0A/kh5uiEZO6+w0qhbHf4jiOWhLdYF51PWznJzwvTaqIS/63xIeinbAgGixmSdm5FF283LYT97kU/BNev5VCoud91+yMjElhieus1gPbSEG0arV6Ddih9eIoTmXjdJ+MQqUgj093j36fblOOJnghSnv0KyubZ9Qz8AYlSmqS4D4IN01ASdDUBIkUucLUsEWf6yKinWkR7ikF5kGdI9OmQ56r6H46bL1MIZdcU3s9faBgxxCARJTTnPv7clop4e/gJTTJsH6E8LBt31MSRxYwsl23wjlhEMJY/M8P9oDQo4bKN66O8wOM1nmf9uC7LmfkBcZ4cBsBOK2Q800n2K9lRvY4cYByUXJ6B96V8PqC/J7Qouf66qnNVO5cCRdDAxB9IjYmMZ28uQVe+1QgEgHMGvkXFLqNZmXpRasGfEZ1AtFQwdJwrb5lsXK+3wITT2qkS4envZZjCjzvVeC/aooIRGCtElJwUVa5HCxU0ihgoQHbRAkHeSgV8I2z2FgxM14VIK1QVMzWQTHFLLaPGk6pP/n5E3oxXCKWcJw4pKJcaJq3OmzfU3IT4yHUYkEpclhzWKUAkMwqyu6E3DLrgDXCeQej2M/7FmbrCL0KPT71ThVakopTMUCpq0c99iPy6fAqa4A6USxcw53OKpdqE7x1//JvshRCn7Q6Hm9gYAYYAn78JgTBDe9GuL4uObzaVPwJ2/0bpAS4FilX7w1VSa91kTyUqSlyZi3GSkPk+NYwo0kpBZqhdL2RIPtUIOgDkzj6M4cC18+BABzCWPGvEN1BgOGyOcbfIIB8xOPUJMf5t1nwjQYFeyIbG//vdNzbsPBDcxVb+TF3xMY1KRe196UJ39pho54Efvse017ei4IwVs/Qdd8zoYDaRhK04KgG6r4GcluiuqkKWfwXUo9LBx9pXhW5REfgfjuhlnGFn9Mw4txxeP0flZiN/12KPCta776cJdr9VGEExmUtLr2OE6p6Bk9ELiKYQFYg3+zpAIIAXiWzMumLoRtl42B3nnG1nuTAXw0s7ByCVL0FSw50DQm0QsJCU0oEaJwFt82lthU0aICmn/ROzoyceXuKs85ZqbyXgtM3ZzSDOzIh62jYsM9AUcG6fwaalz98m5FKDBDyGvnqXP5qpT16PP07u3f650dX4vJQGsbr9AFI76Yy5UwWn0lk355hySI6WN69H7Q6etoPA4R+zhaJIsP9F1L+gkPxuM+zi+6Mx8F0Rb7y5qI69SiYWwXwbptWfQjZF8qtY2zYfq59CnG/NFsJyt9/Ad2AGoZBvmIvqmR7SAd0YX+gCJlfsUfH3ceSMlpwEuFmOCcfqccA/r+3P1RR0akV9awZ1kId2NNTjuNg3hx2Q2qK7bolfVBTt+pffOaUUGSSx5nq3yiBmpM47aAFdVo6iS8j95mznE6EvfTCSsvpOIt9XwDKhUYVxViSAgP8SvAaDYjPeE0l0qm5Y8r3bQp3Q6fQgM1IhFR7J5wVgCCHru4aoA8fZp3uaLBAbOCjHZzcoXX6XS8Ug4yEV/2b7hWMqFoVDQBAR1RgeO1px2dmTse4GcwFqoQ0gF896t2MYFhJ9Oqu5jlZlMJdMoHttS+038DeCEeSceqbxcMYQEE0Z4KmaoB2FsqZAngvdG7paxZT1+LlKkaJISk+uVTtcjWCNiblTuTLskueQ2Hu44Hg/hHK2ucuCWDRCDlvY8K/f8+c2BZ1tQzFDBHMUzrOK2TVsu9zQEkm8fxOfX/8BF2GwP89DRrpVn4jhsaah6JXtP6E7xFbsJtDjBBnpo2mt39C8FCfvPiHXS5oeM3qiyuF1xHKxfP2gVE3OlA65iyrQB/r4mWh3oB8kliEKeOD3F6Wj9Gk8Dfeoj3Utg/AqWhZjxypmVpd9mUhXoRZkC0yJmpPYPQjKDOO1QhmfX6EVVJKP28CYwEeYzN2QshNgYMI8kY9eybxazK2WRHw4XtFCWDW+3ViNvd0QRJRmpGaR3xWfc8uY4XnYJP2YA6Oc2Lj9WhM1VcUIleXeeR/vUBav2KLZNSqjs6afugVJIvX3Bk253zPUtPavtgcv1nslM26WOOAqQkrbrp+Md5H2FeUPd0/zGawFQTGI/cfx2dVxojN6IWIhSLL1qD2cz5bLDrZ9Fr5H1uPqUCOq54qbytdRP5MD30sMTOzJz1cZ/xOttmQCjzI6UuOFUFYcuGOm6kpBvViswbtEVYK0OQKL50c52s+J5kkUhGnr+d1qYFI5YxBTyLvchTrs7Fu+EYO1KKBLVwPtff+SN8zUPvIzC28RLz0DrTUG2g8x1C0BSqHTOCX+RbgYUYtntwlIJUxauSPIdfGzl1+iMC7xjzTMvsspofeYWTOd1zwY+ek4YRNDF4FTi/Xzf9QKH9v2mvAqx2ybOKzQs5bdMAeObxCN2ho4hkxdm4ec+cXA6GgXQ/Ty7wPDBXMFevft5j5kMGJzEOr699lccwGccwid2yLVucXovEZ8ChLE/lkcQ3xS1qq5lKi3uI6K7lhePTy//dn0+fIqnvoanMds4Ej7z4LJjdLGisVSfpOPsrpB4m7JGoCyIedRHPDlbhGEL/kzALuZLRjWeQUS2d2DoWQGyK+b/33nZaNxh/toGMEh5IFy/3bOldR9NiBFWReCJ5hNsWQmzXlXGv8bB8zn6tTnFnBojpjhIAg0ZuO1j2oJrNpLBN+WGKUARHWx6d+34TQZHJWelapgun34QLBRdXcrGWm9b1VzK0mKvpvvhE9OUGRcFyUTx6ihe58YEi+PYRGO7uALqURtupX8aV41QnHVMc6EUkZ/yevFM25L+zLgMbBud+CBEhHUgZNBqVZZpQcZgtT6thOcNhnJcJpDILXMqo+BqX1oQ9+wmy1SmHMag8IUVlKkdTe4cxL4b9YEM+ugV5snOU7et7loCTdfgnM8CC89uOrVaycebRLDd7/BQx2e61JuQ0s9CDWm9jRXXozxbFfHv3CeIAYSscs6ZnEcWmRcWWDgYaAkYzsVZLjmG5JSl/tND6ukcOXD5AZ2FjkKKUst/m7CMFOielrpy2Iw4PB0B2RuDT6mlq5WInjOV4KAznnlXvTbunSb1R8Cd+nb6lVr7p1NN4/VE6P1sUbvUtBMurRxSia9o5ZOc/r2Qc2+Khua+JQdDzg0uZeDOiunHruRRMcmKMyIVFdxVLnOjZSv46Td0VIOKSPwKj6mwpz6kYgE557wj9MErbSJgEsy+DeTxdLOZKYBN6HnRkhgMi/RSIOkrWL6cVVbdEh6yFgXun+KPETrb/WsSfE9Cn+aJcsC4cRyEwTwhFAJN8xGbqIZOLsQkBhIftNM/EeIawyzFd+HX8TQ/WWQwE1tcyj/L/KsAk3JbIp2EqqnB7o2OXgX6ZbUGNpdBq4gUhqzuqZuX5cfqR3WO1+tprZFNmMofYcso59+4sBu6kyaScCjwYLhScXcAa5G3YAg4VmWvfO9eCTc5y6ayRowDrhbrGYc7v0LnTgXPt9u0r4epvrgCu1immjbPznTPU0TjLS6AHSDS2+RRpKt9enSZqOlu2DWYZcM3+RX9XlKSz9tHb4ihrktuWA+As6uwMyjT6KrFbzpyeR1gN4iXtZhOzVzzm0Qr9AYAH94L5dwhFZZdZH2X49RQfA57Hto896+Ez2ckx5nNshpKKSi+F7S909OgOsbZIxQTrS6j+yeJX1NjJACIq6va9/u1dYKzPg7NgYSdM9WmGworYt/Qq5Xi5OPsbjYz/EPjwBfKo2d+Hy0vjq2G+kLmLIzM/XJqRj1344Yhw40g1LU3Rnb5OeaRDjHkJvWd5H8EVQqGr06Q4hNZi/FJmhryS4yiLFN6Sbsblkkz1H0Ezslap07sSip5UkxYoIPly02xasPlTveaWFSLKmWsNc+hKNgFwRffarit3WIE5SjhAz/1sqxH+SxwvvQ6kL7EfAp0Fc8dWm5WsoRr+dvsqDTnz2usEvPwiQhco8/1LjujpB/QkJ0B9dEVMHKgz4O2SNImMeBr+cKH20NSzuSGRwLCacLt/cxVWCzoNdifRjZUwgl+ayC9CB10sxuput+btxzYCFju59cbQGKdiaZSxv/qhjlf9+3BagWQ2mkHA5P4tkpDY7KaLVxUXsqOOPTyxwpzhbvy4wIHIe5g2wgwrPj5a8xJ9idHEbVMtefoZ9+R4L0QYDXtn/SexSFesVFVhMJ+0yE4Ni9Cx+6/0gnDPxLsok0U3B8VZcvw0R6b41kqWVRaR3AbzEypmVBVy9bJBRooHbQr9c/qOkWe7GIOkWJ71THTABbjGlm98DIMXvCAHh3BzObDFkMHfShQ4VMUWRf93RiBLG8slaAnqKgIlDLCZ6Mtp4Y72UnpsZvgDViJUb90F8cxlGHKTbslXoABxnala3ubRlnUQddyjiEhGO0q4AghTnSF3TTi59y7Ij3rTb7aVDsd24vt+82N8P0q/0o0t3PaL2ZM2aDvzqLlUfJvvS3FVAX1e4i9UbzzbQ+KWUhLqyfK6x1KMPY5UavDyB0t15ktkySEfOeKV2//EIStWAbb9TJ6fNl7mkaHIMcjzT9KbMCb3w/xTOf4HXE97jiZRUgMt9+sRM//SVBHpJemfR+BI+5XopuIlAsA7LVHaeRKDDHj8OslgLQd9LfoMTwJ24ejeOr0EaFIMzQpcAih+77jsLIXiZAa26geouGgxXC2vBaFx5aWfdITRoxIYg7IcVGPTYxx6ifXLvdd3VHD8iMlMhMt3KufgJHDOlfLKp1Gu/b0Z/7Uqs0r2A/kb5u+rbZBH4ut9lF1EI3AxrCt9Czd/JN749DZhvfDh60SJOo131NlWuMbljK5DHM8cf+9Q3CfrUFUKGZ8foGIsHvRp+iCDAe6cqXJ3tU16DghiQ09B1DwnhKAuA+dCPzXbNSEb4THwgNxPCNABdWEo8J5qlyIszOvN+FlwcWCqsFB8YKT5CQnQaZnZSIQrUldW30OcEGjkYZzpmq8xNTe1o5RhCfNwS/PAzDE4ZmpCItZ9V5l83+QEec29c6/1Ht3RVl8oJiPXLvx1h3Xm9oRhr0a56uUdxqoUgc/+hbsFEkMreO2Yt1ZjngRDDr6i1+dHXA0HZ2u2Y5RUI7KO7dmuKKxJb9WD5WU38+7sfN5dPKhO1tcHnHGqbgVLwBVMxUNfZrgfyzOctQYueAM81tM/rB0m2A5kkkV+OwZx251yS/xMMWL4lw6S6Gj62OWglrP+uuZC0KD4sYIwli0ndpVWf+W/3pi3h9eTOy8mIKDbqic2n7Vw9iMlWasWtQH/6SX8SA5lUXU0ZA1zZVZrrlZpaiQP7GrqqXpovn2Tk6hp10pflZDQN9T02wJafGUCr2MR/8DTwPACqDL6d43pmTqlWTEMH7rEtYCfuaKFl875yaN7vLKaExZeIJiCQ2l1hNFMvPW0AwAEnZD9kwzttMZD7pjIPP+6rjTjCCerTC1qJAjTJDsj5WxR6gpp/aedO5hE7XBpmV/8/1fTfIBmqgujplKxf2DaR5cQNxNEewlhp8w2blouvQN1pTYjdGC5egBg3Ek8ENhpODdDmuUvRd9mtdF3zSDcJ82QxzZ6M3hT/RZ9Q8EGRa3J3Xl0cIAACiRT6TIS5S0DQjLiaoqyJOCBRMsQgDScorb9h5zpwPgXjgqkfzPc3S/sS1Hn0ArfNY2f5lCVTaDekUWnVxzCN0AE+Od1c78veDz+ZkVvln0lp7rgb8ifS+mENAJA1g/i/kM1b38MywLeK/2jEJInsnBLcRQsFyeqwYzrQd9ircv/SOz684fJxE4JnK5/ao8yEhUtyTq0i8APVJnj94Ziurppo1NeIjDI1UXaJTewalYu5DqjZkaARYRNz/he/vVzhsyI5Z5HuxiZOA+bXiVoaeMeyxDwpH26FPltqo+y94VCJfFqkUbG739HFR2jTbFXBiNjqU2+bjdxo6uOiGq91c5LauIhB0oLVvCKKpjwxeZvfBs6Oe5QWzVzdEDdAE7U5fGwXGixa1e+UQizTVTzvh7e5TveQXlnPFsMiPhkuCMdSVs0TOabwClb4O8FMUZHa2fJfDgh6ZPl7D0RiiNYAlQgakpDqDUc6AJoRtPTMeQrFReYrFwNz5+W4A4tCk+rW7spW3F298SzLFxGZHWm2SddYlzmpUNfBQGPSyIGSMOreQ58jqD5dTwafW/1WDhdOUvfC4t2KSXKieoBFe7bY9Wz2DaimS++pJke9/hL7ie8GVj2htaKb3vTwOJEUINbDQ9jbeU+3islVIe1PTdNHa9fwdoI+27YvkXcqyV2EpUnUKW8n5YyO9YIVfQdJsaaMnnuUxDUPivHIAYWVoxJgDgj+6XzxrsS4NqfU0qjCe/8ha7yR1ANMMZjVrtDsYxKPoGzZr/DqktAR2kv33vL5XxsYzODXX8I/BVCDc3C4w32J1WhyKDtB1rqpVOrQp6C5kpoMbsXtaJUAklakf+5h8zzFLL36WRL/MgMYYiPbzoD3heoE/kpAUu7KMxKuGDx+m2hidVkmhudhgj1OaN7AExZcRCE5l4AhH6GyvX+O/+ihXUUmlx2gGnwBaMBpMb8wjvy34uLPj9WbMFTjfgRt5aWEDAHsVuSFafqwVJ6vdZNMALLtnYOM02jXdzp3I4CrbRbFYoGoZ6sRhtbGVAgdzcMV3HqwM/qcPyhSOKJ+sGy3pborZlNbONquqjcBSy71Xz8jLoUghGKhPDGGl56yiiTRcQdrEETNZyRX49RqHe13s3LZPNZfckD7FMIoWgsg4Z7LdZKHSXaY5mb5+DKbg3MucV/aFRfVqO1qHOxrrcBUuVkxnxrkh/NLw+B+dc58qBr1b7rHkXUwMfNmZVwyXGFcMDFAz6ipnhSs5TS4MHnWe0K3dBZ4mVlVce41jUesdcLFVUCEbQarhmCo1iPYa3q3vGLspwtYqoHEYoLq8mifM2iQFCfJybAimU5gmit8m6mO0LLOgpoTndKRB6KPKx5oipiZNvM4Zb6NVCLOgxchyd1Fv9lLVIjKDUXkHwj1xRfwPXlRk1tdiFR5h1mqqalx2Sn/F873WHy4DKsm6hF+1wWYJj5lWpYE2aH7nWWY7M8hsuDAHE6Et6z1Hh9kYNSRlH1OXXSR7dNcVqCkBkiubOphXfWWtIrtHYRUl8KPdQ4i3TVpQ61NLmcfmtWfn1j0yodLOijNx8UF8IkjAYhDsic9zuaEmS32LPI/JZnf6kI+aPDaWoeg7XpkQp+Cqk9OZzSgpG4FBZn5FuQA7m5JGqsGSeMNJUXas3H5D2k+MEHbwCcaE3dOq/lfnf4HnSmbsgYd+/1Rsro4LiYp3uNTuvATHlVb/x5g3sOpoFezIga2znaCH3T0xGPsBDHSPgOVWATlnmU0ZHKAm9bw3VeaPkJuyH94IlXpVVbX1bdUu4mqFHlkMUqjgf9Thxx48nnT/Dk8ZdZZ+Vyly6+/Q3nR3cRBaPJ/GuemH5t2i4LBQyGGm7gbr+Oc4lrjWdwq4D+oJZxfPVmKn7ueg4738uzQsxni8UxrKRbyJlRmPFJ7wlDXfXwpOgOILcMV929Nhx6vLhOCHOstU1a8fsTCIkfcLBAw0KLlCgDbf7j8Cxb4C22iT0bqPZRIQjh5zicKqKAbVV5yLUDlj+i4qCnC67Ye8ChfkPkpSEJFi952IlXGf1xEspd07ESHCOv2IERv+nNiLk0cFGQFO5YCnHHVDAIgs4/rp51dKthanTMyT15WdCIgHne7wPLC2S/kvSODeOkWhDk1JOeAUiSVMBb0qIi5Zk3RAM20WiHN7iRfec5su7YJ1qBNZ0eC3JtO0J0hNz3SbNLBsp+rbeeDFR9y9RlYIGhfMRYN/SGJncPKTiQYwCcbgUDm4FrRh5wNa4A2LCjbaTsWfbioHSrI0mDQ46P3zpwU2WBHM1PrMIihWFxDl6ObPHt5QFqtncSJBp2iE7D+wxgYitFsoK1R8MApN3GOU/dVN77ukXVn2DuHNJoU8+SYHRzfGLS+8DV7/EOEfU+UaSHcIg0Bdq53MHfwDaFgQ2igElylnrmzUCmvhAMCvjMqXKI+4zN0191yVjExZZGv6fp+MfhgPd2oR88DiHcu6W5uXx6mYnqEoQ/T9Qrnyj7HKX7+95vJ5ta2Xllu898evh4EhRYhkIRPBJlesKK4Db+4s8l3JcucbhwxhEuWNYvcWGxPWrMdvitgo62x3IARrgngMhkBEa+6yrQB96ZPa9YddPevZn/2pSCPXxIfIXVbVsaatYMG4ZzB/LmG0WQAmfgclHGJdW7lmpIFNctTHp/vZYbgYxfT0mj870VuAQ5hNOFf4V8qWaJj/WMjETrIQ1WtYYiNXA0+TjcELvCCLkSbKdOqBNGzkyu3NHXxChCfQlOQsGmk/bP5/qXR5KTwG0D6/LTEPrQd3g4CbSUY11yTsm8NTY7gzKdPPZbJhjGP1i7Gax7DC4DR1ocp5NthCZNoy/wnZ/IpislvXW2s2llb3Aly5f+cbRY7InviUQQEY2+Lo0tMHz8i1/YiCqDeZMfD6abgPrJOZ98gnKVVaNQQ4Fvgni3SLCi1Q3vH5xVE4I6AVM/n//vkJOdf+uPJPbbgx7UbBbjb6sWU4ZIkMGOTzJc3LEBIlvfs6aT3mgHJ/f/slfpcm7eOAZBfvmaM1C7zKEr3RZdET0CS66Rgnl47PqOlypjOoPivFgqaIPxzIlUMovbRfg3UZQDjxr7pPgBxyZ4e7wJpJ+/AjGryVQZyjP4AaaqhHubSNfPpJ7QUFP99I+WGLb//UGu6dGGRDRlMk9GQIEEmtSNIfujaeb3uiVFPvMXCo9HldQbVNjKj5Yj4JxB0FumHPIUDYC4BYbrnJzoMv28GhiasS69531aOK8DZ5ssf0QQn136vE5bkAJcTH+aLCgNnbIdsPhW+kad+B/dUcVRHBNwMo6wkskEqbEliSAzxCgH1T0dx8JdaYopODv/+vF83MPnjTBJddqRedVvNLMGqkBisjeSu0rThhaz3wsQmliPoBP2iPsE3fBintOilDUfT61b+9lqOBebYF+zV1vEXkNexSVrVp1/oaD9WqNeO5ydmRYFJ7fSc6iLb50g6zmAbrdhHWPWrz9trQ4hkW86QeYPaaX/VkCLgPDWO6eU0Hk2EMeLS29jshZJDQHfEjYALKa7/J2wxF1TBgnT1ua/wsq9jaR8QnKNSua+DEXF+IrGPOPWjyeVtDzoEctRkgqazXNZeNZaibUfnVYZtUm9PwJzmKrRan29XK2dwXp5E0erFG4traeqd5Bstmb2Jf9hpl+k0tCO6AVc3Pbn+WOZrhPI128Iuef3ZILwFVkDUYHQOcjWzdmcb2gOwx9dBjEF7lvh/ylwbRM9BiL/yOrmnRGPIRa2gNeASKn8cN78NkHsZgDDSdXQ+hhjz+ySZpE6TuUZIhfTOmjFmJlgw70MlD5bOBqBwq4kkiBW03x/i3lg8ghKUcKSgaZ8Ou8aG/st0z3fjrBXGGDfmVXV56vw3kSv7Xa6JQd/l9mzXypWc0XQSauuZxDzYf+7vlARX2IoW+cu2E7j+bjT8NluIEIIGCKtRsLivxD1PaevbOg4TxzPoZE6mqml/mZJrizK63KYwz8rrqJfXfMRk6esJvf52853K6/CEqk5lelAY2gNFys53POwqPobtZz8Ed/lA0afS+yIp6tMkM6Ms7EEcv6tUkhqUqgbu1GoWTwl5CkIDCrnGvKXyR6qsgO2YsW24hEIKfsifdlt5KlWbPJukCYR9uQWa3B27JKnYFe1D/Q5tm7VfK/0DYZ5I/YHmfKjweYvkjq96oTHX2fJcCGXPhPyKOb6yntkqVLRKVVuejYsPAwEwVzH2HsjZlvZV4OY9W4Z2EzqQJWf658hKr5vWBFT7Ze5Lh1AWiHDDhZwVc9+r6PpzbFerMWwiXv2r8+N0ev2jDo75+uzY4jBNgG/L6bwcq+VT9Upr1j7KOWEi1AfPRbfs5SRuhm1z7up/3igrLpFBfqH5HTK+6fhxLOIeTS2MGUXH09TN6XQKtAkNMfIzP9AFJG9YPHXMKPhJvrU0BZFL3lPg9rvStauFLjTM+XuBRP0phPeo0PZOJzuZT31oI4nTOj3AEZ1Hv+d5zkRDPEl9/Lmk1GDoDCE97caIfeQPTZP/PkVxE65IkvBbDDkFQgvmmb3kLbiU0Dei4ebsSW52IA68vsFDUdGU40Q5TidMBx+/H/zMQIyTZqSHhL8VNXUvRM1TL6eu+14KAff2mA8LY1Zq3HlWnQqX8Ac+8CCLq1UXaO+C4r0jf+QoMTDOhYQe5A+jUlbvNK5eDw/vs3gSfLGNHwXtwz3/mDqtIjIAQ+Df/hk1k8mV7e1qRxPixfW8ufYRT26LOIZBk280jBYvbfYrEghQE9SyMa3wt8BnRHdT6jz67w19uEy2HcDFCOUrbj/tN9cgdMS1BDC9kPbKf69hxA7a9vAUoI4UiQiZaq0Ubt41xyLhJNK8R6TPSPv4YkICraPhuVUo7qS5cK+8Ata+IBI/JlBeakRq7Ilmmg+gmh0PFx0ppcTTNkpRZ1M2Cymj3pvR2YmuDD37uaL3TJouVY2fHoNSYsJlpmftoTKPSLr/4B1vyyRuFcXICnswS8NP3XUDzJa78YaSlngW5d2h/aAG8oIeK4R1XirOUGR5k7CuRfHuA7HtzKw7XQboT+ppsTVJyADCN7hyq/BaiLjPBIW9Pv8whpRIJqh0dwL3yibYAqC+j7oNFRD5gEd4DgiX9mdpzBXjAIea88E35ton5kmyfDigRyUkL/Lioextx/HerVgfNRjAphtrHcv0FmRYafPdAdo83IrJ8dHX9Ujg82c/v//r4E+tWuQWoU9arx8r7zXyxn4Xllmd/JuXN4S1mR1BQnRsh6s5fUIfx5V3s7rKMEp3+9JkkvUtmyTCePUQ6vJXenDsWB3fcDaV7k2+wCETLOeo7xQl9rfqyY4VJuC9SaZoABrrf6gdajX85mNi7oEqo7/z/zioZYcT8K6zfyOk6gsO9drQGWxTJwA/yBrIowibi8D8PAWa2Pt9zC4AOWqh0NWPbdVps9o1yiIu8DYnF6R4dYAcrUEgbX6V1TomAIImcAwC36uLLHRTIYhqTcS97iNZunr00q498UBx2bpeS545uf0d6wR9h/qi6mAy2JfX3p/tNo0MosUCU2sAR6Qb7bA6rRBog8c504Lm7SuvBROv3W2+2jbL0IAlkqWzT04OuIiWFLr4Sl5brKe3r/oQoNTEecVSg+hjhvcS+rHGln2FWM9tbYOz4EaNnBa4Av/hc8fsEBo5ETXdmvMCT8DYozBJLzGPwTWdOogTNf1h59nfTPeuHMnpEwsNIIt4hRE++P+ltLnEmWTBQUVs388/2n82CKRmH15xveyXVc83h5zDmiO5r8wYLE1j1GeN3OQBT03fjNd9YCK5dY4nyo61eoBWiVo40KYHHti2nmAAjW9sp8VGaPnecPbKGAmLI5acVGGB5nijdDLJePs6fpRUeK0f+sr+zAVy8NILSANOFP87TukkSDDJDVSF3WddLglXYKqNr5uJjx1lY32uxxZZiVGz/XktL4hORQJzm8nZNpGLTqbWOv8IhWo/c+io5yh0bjnARMCaDH0jbvPGZia5f3dvdrBmvCPxhs1QhivJCgRQtl8RPgPlSvohhH3sgnaCF7BTkOIiC4JXc6FJJhBY+P+vB5fmVqmcnSj3ZNYxQQFlUlNXWg4txefNtSo4JdE3yiUNuCY9s3N0onyLB4MCxAlWc3Qo1D/RVGRCOtWMd5YnAACufLd6RWQAjJzGxc75BON/5fvzdodB+YQjfj6Y2nlvekDvGHSztUVRI8h3LHj4EW/kTJUQ8uprpQR3lPd88K9emR5tp9Vhhj/pIT3vun6FP4GiQqAzpo1IPrjxhqp0lhyOM/CrvGXgs8w9ZFCmDviWR/cAb4vtBJDPwtTNKD3ylyziRA/5zRX/I1olU8EnUWKOonEEzZohM3gRZHuo29OQPt1gOOdlmHRo0Bmd4HAKN0PeSOeiiayXZu08C0MfUnnV0wuIfrcxr3HQ/lDqFHchV1Kgn4p2iMZNVs/pYfiDhkPQyp7Q39JQ18r+dlsWgcGJg4KoyfPzaoVa4pASN+E9hYb211DfpA2mkFXm3w1FxLn7N9siBMGBSYKTsOtLn/BE4frLLo6sQv6DXY8N1o3lVpWSZQO3A5qodIK/zwk9ngG6aGJf48qaBRRWzEXSSsRqowTcEgN8HpcmB2R36aDZcF2y7ILjaTLRhYwVoFnjG9A1q+SNy7xvGU40celPMo0D0LZoPap19GP4A2UCeQRR9WN+/GXklQkmDLxAuMgkLqpeaj2bJLJbnPT5s57F9BzLknqo+02sqhRbeuGRegbVMt6CFILYYDighkPUgoc95J7/yjsWbLcdXr39V58Tng/jzAC0EbxsRSprL5oge1DjdKwTx9y0L2Fgn+jVMciMPOMC9K51vKZRaew3NXLWwxQi+X+iPGN1RTAIL1XWwqry90RIxbp7iS3bu12e+N+Rwj4bdk7g33rW1RD8le+XECrJbquakthFl1mG5IWMlkvSx0Tj2M+GWVwHxvLfcVmDpQC3hY3HRS7v00NDHeFlTAMJwCMBFkZpMRderQgT80m19HfhVD7LWutyJiTPL28v0nC8na2Rz0LBqp/+GBCafFNobH5nVhMzjp+phWX0nB2ufhNLpWXZX821FD8GEOiwfFgXnz1g6/Kz2faPLUXZJ4y4WBU2Nxtgq1jzeqQxpr6Pb4A3sXG/9iig2sPO8T75ikGZIL8DbjyNt15qNxXavRZvfF4P0nOrMopMd0f9jEZfto3Rz3MDO0NoGWyf5d4G1KGPFZQnULjYki3TxaBmAIkRmLwLkD6v++lY439DacexoDyzuLWdsRt/8241VyMpQWQObi65bBxaBYkgFA+1tfLB/dFj4Dnjuijza4GMBKMOIizDyKOknV6wqVXG4SHBeo9TjZvxL2Wkf/hPF1QQ0Rg9/W66e3KPxX/OPBQ0vA0wPdLjF5fg6TCQGRoB76tKmPk+kDYrQRsfLU3ohUNihcLlGZrk/ER31TvyczCnj1HEL89fQNxfB9jXL9nS9ctv/OjxI5IrKozYTAi/QkUFu4eTtHR0yhS3plpIzeB1g5eFSviz0hG6XPdf5CeKTE/2QapXuf0V8pLdiENxSRGcfiAL9Bu1P1eyIBBeRYbqQdWcXNSwPQA8ZP/3PKwqBERd67IYNw4L68DP4JN8caYwQL816NK2MsqaEPuyDxP/Ft2LWk+9eLZS0DCDRG2nLxilGM88yh7/wnNxBkD5fn/7RVGgSb5MlG7/9wXI5WhkeRHsrfgbNSbO8WNufIvEGe+gAS0VQNkry2H+GPSpghZ19DxxoRwWTEtl1ITgIkxsETUu337OG13e6ieqlNYvb+G4xThTOzc6tapTjfPJQmiIGa9Ms2AG0/qtO/8iPUwT9RUmLqMr6NJg6IH9bvkfZJoaQTzMJGWfBEFgbjexcPuDNCZiCuZQld7No8t3cpAeCZB3/9AWgvyWMGMJNWNBs+5xwJKokvQ7c5wg68MCwybZ3oB8crqPYeSFBx7vaqglS2pz+FOo5erwgY6zyiE4eLGpkS+wxfr/iY/y/dAO5scRc6T522pLFtnmp/2pvlVDsA1axK1vXQj6KG1PAN9bIK3TQEkAGE7xHRtTyTvVZsjL4Obh029UVP6H3Lr7lwSToWtbB6A7gPEU2gUeaZKQvzJFkMWiMRHivF0hi7JNDWnMHegwnKK8nqPpLN8ju8buU70uQYIXtRmNYFgmDGCjXq3u8WDkLfsOX5Wff4pCcFU6IZRSfy041qF8PnS/LY9o3uXo0QQWNn0L4HLwrikQW7QLGg/642uJXltv3CNDVz3XO5EOszblfVqr4WSxtHSFGdBe1T6UcfwGXh245pEVusdA0MwxND8KE09ak4tKHCXaHM0bsn5dOHJZrjvavl73QHnRXhOVmGCoVCMsYSxPJ9u0UOKo0uvTtPi5Fr7he0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685800" y="2050817"/>
            <a:ext cx="7467600" cy="4426184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ne Consumption in China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Wine consumption in China has exploded. While domestic production has also grown, import volumes have grown even faster to keep pace with demand.</a:t>
            </a:r>
          </a:p>
          <a:p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1447800" y="6400800"/>
            <a:ext cx="80021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latin typeface="Century Gothic" panose="020B0502020202020204" pitchFamily="34" charset="0"/>
              </a:rPr>
              <a:t>Source:  OVI</a:t>
            </a:r>
          </a:p>
        </p:txBody>
      </p:sp>
    </p:spTree>
    <p:extLst>
      <p:ext uri="{BB962C8B-B14F-4D97-AF65-F5344CB8AC3E}">
        <p14:creationId xmlns:p14="http://schemas.microsoft.com/office/powerpoint/2010/main" val="20329144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martphones by Price Tier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he growth in smartphones is in the lowest and highest price tiers.</a:t>
            </a:r>
          </a:p>
          <a:p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1500552" y="6477000"/>
            <a:ext cx="124264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latin typeface="Century Gothic" panose="020B0502020202020204" pitchFamily="34" charset="0"/>
              </a:rPr>
              <a:t>Source:  IDC, Gartner</a:t>
            </a:r>
          </a:p>
        </p:txBody>
      </p:sp>
      <p:sp>
        <p:nvSpPr>
          <p:cNvPr id="3" name="Rectangle 2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XCyrewlnn679fGM8yP3Y1PxCvej9uRDEFdaDSWLmbudO6X+lZjs0jEpy4iJ5hGtOwHaKsxmTfA4YW7/8IdXpNtcntgDK53mIlw8LnWbPZEwgcCyrKCQNlBfASovzrdm2U2fmzv8Y2fWxvZlxxVPRpwRXD8cs/XInm6MORVss7awp+hJb4wSJgv5SxtYFsV+ukRFFhKGAfgJ21ImmsDTmz8qWW9gKY7FgApkrEFJ3uSfqiiHxe0iL2yaEg9CDKciZS0XemmyeAt3jTO9kuPTKEckWXiA1Uaf7VEOtD5YnCwq18LDouk9qf8RbOIbHOIOrRQUsw/QJWVuxHp052ld880HWAmVdS/xwZAGkiah6A/U/VW0NeHwU/vnM3XnKOWj+Sw/qE1SixwykREqNFu3CdhXaaPUSD4DbggASC2CYNf0o/TQ1mRZa6fOUjAJB8nVv1T74K6xQxvxumDc/0J7OGWaJToebuKe9OzDljMiIOV+g4YiQtTiP0Nt2eUOpbT1wfNhPvzJcMkY6Jo0XIGj0jhYEfdgSYOw9yYLdF+h0fao5hIQl4F+uhdZT8tOHVYiWM1MR729ZMz5TYJluJFqdZDD14tP4OS35jky/3Js4k518UVfimRoq/kbjKIFF0rfGNhGh8KhFJaUopC8ka3AIgjfcgtF/RNIwlnYGtY9oPWKmB7OJOxD8PPKi2j0oB5DoY3R5sjiyzgW/aoT4vwNCWt1UKE1ULnXPtYmqRHzC2A+IJ21PRrdlMe/JgrmBeJjeHac8koVzjfhTklgmQ7PioDTBJlsmnbH7G8GkwAmElp9m9wyUkDfqZl8pVKwOU+1qwefpc0Un5XlTz7YIRNBVXajpiq1mFUHeQhHK4r714s6XZMA31EydD59IU4nDjshYJp47N6y0uY8So5rANsqcprqKgBDZ4VUP4jkikafuBbyegvi2Ap74rE/biv8mZr/1uShFBuJ5O+C2sVguGygvwSGsJTHiWKBj00AupRQC5JTB2d7opHLJRom5Y/WAKfWsx3DxzX7RUf4g92/q35xCLJUJVWO0qxIJV24aIK9vfN7balVccEvRv/mWhXTlgltwESJ7U7AJpAgBYGVILXNH+ETe4ErPNvybbxNYZJBGbn2A56PJjASH9ffAvMcVB2EugzN+e3y0FJ+W0CYMAzABBAERx08AGT97u6mc0h4xdHmhJDfyUw/3yp+kA6nTSCijivIGvjo1loa0rZn4vBhsKyE3aJcdhe5K4lnra5z8YqXu1L0CScgUGpCRgevipP2AM4PMSHwFXsfDTNSglQQA1Vl3ek2HnKIBoBwU3DagbyZhSLVnFwZ3/w39EsyUMhuN/4WfYklqJE4lfNyMXXBjzzctAv4rr7zbwIqLbCfwDVIxVNslmoJKk3ZEoRZLJaMa2wGKCZFeFmxmRxItlSZOTJ7djQ06EmW7mbaVcmvZLL+xd24g2OaKs/LoGBmghZP2x7UwxoNSk/QEbb7lDXgNEh/N1xEz6hGyXzPxaIV4YKcCB26DTqBvOrNPaWRY8SpScc77WLzm6w5e9l6b5uUHjHYjK9rsCXgceBx+HIAUkUXpyt9Qt6P6/lxZ1IYiHsXX2H2IPjA7tCiI8uqZwjFyubaCJ8vai0ek702h4XvxWOqyHS5T9ALFzOA5jmyj+nJ91YF5VqI7fnlz3Otg9xnPpzs6mGPcDx2cePCUp2Oeat6EEzlVUqFrTAzmJcik39TLYvZbR+K3ciylAmc1X8lZag41ImIoCK/qh6a/zM2GvoOF0HGfdARxMeYOen6GnVc+XWQ2Ajwm0xLoGniR4gNEBcv6LeROblgJHMQb1CMFx9KA9PVKaoM5rc/3rwe3lwypRms8QeeP7830tSvUP7n/YVNSLZwy20Bt8tVeibsQtrdAQ1ixwL/CR+bCvJSaiumk6lecaC28jFiKs92/Sbu/l3S1whfA5c4Pzmz/Bc//ZX7cegAy9G+7UdZojplaXqVmR5fIjFm7Yuj0jwaOM1IhZ14hFALJn2x7pAvpIWhUDrhbAeEbs5mHsNYrp//+EeShsoiqOGwgKM9rUCIQqd1VaL1gUHSxwmrUZ406WBvNiBvlPe6weDL+qcj9SN938dO5GdxHAtxL2CClg0yumomPyLlRGvq8TY5MLFGKXZFlTwkFoAdQqzs1fGhyN7gOpcAVBF2eD4ob1MsVI5YkPYvA4pjEFczc4rB4i85VdGqIAjJx7Cjhl8DzAFiLL/OZQvs1zprIttan8LrV2jLR2nDddBgAngyfkzwpzO2wBLwVWl1YcnEqxuqn9CNiewqmN5+3eGBEeQvLyERUdTIeUzbxJH+nkLdOebhKNze82DScUYSAnn+fyKdo+KFSo9LryeydaZzWpfSCeBjZ9sIKb3GbzsLIpzCuHy2giSYH47A4fXG6oakiGcndaKYSKg9EV1w//F9gGuzWj8W/KsYosDHCF62RMFe1kYJ+GZwiT5f8RcW1iNtIwubhAkC1+pQo/9NieooLH0kBWeREYesVvyDmuG09eJVBZ9Gb/ebzgfGKr2WB4QgAFwDW8jGlebsS6JM6LhGfvYHuXhkf6Fwlq3FEYeSz0sccUWnkkFdUF1EtymBoRq2qjRFxfQl0i7R81A8Zqq1SQ/RNDap4MTkHubPWnAlFP29wjCSqDf3kz5eOwm7P6iLi8Mh8ReRJGliG3XbJ8KaRVuH8tljsC30JavlLnHWfafzb1fPxld0Umg2UeB8axQdEdgP+dJXGWP7nRrDRONKpx9IH9iWn5W5fo/68V43wcL1N+u2bwthKTXAjDcljhyKpvabNmaiAcUgUUNBvzCI3HUW5fzRoYlWyNUcz6BIRBAMuXGnmv6C/LTSUMEJ132UE3TpFupJWUuVpaztuLhuvF6/3Rs7si8yeLKTjBb/hFcemPc/ZpF0w6mOKd8rQKZoMCuVwrEvSZ57joUCybS5903rrnxdaHE4ZifTQlQFiY36QMylScJcFCf2kNO+I/Of//JirJ4CvkusuTlAn9LyqgwMef9S7qP0ijqmYvefdyRj/FtrtYI84a9zDL4gdyqCFVMS3G5EvY+gs0PIWdF6mGwwnj/LbXXCY5/9GtvigtwbryoDqEjd3GSyae6hAVtY0QaxRabJuva+7GPO8WIWS8YQRf8DptpXxwv31UY9XYAcSF1DQ5364l1g4qF7Be2LjYG12s7LCirt49mcdR6o/AtxmsSZFuawWHJgzc1quB9L0gSKBzHy/Jp+wP8tj7WbVSnz+1emEMBZWJ4ba+jE6tXrZLUoZLpXkk3l7jveAUXq8oJIfdGsOIBD0P/xOMOC6Ity0rTzXz6IyobuK1y0qwnMZdmUQi9Wob1LrFcRkwiXCHL49xEnH6VqawD2Hmui+SuIIdh0C84fujWTJ0Lu0nRPTZF1mBtT7AMCSojowCBfpAsH6UotlLrED/7ao8A1YIcLBBkU5YrmOaNbmd4v5WUr1tuJIjOnGscAOJfXg5zhmJtaHqswV9qKQvRVFu84RWnXVbbN3Alu1KeQCwWowE1ht7yNxI4nT0k/RoIAdSCDMeMRqnZI0/s238DzpxK9o7v2KVeGDtORnQbsqjbMmtltg/riqsCV8PYoPq5+K7yhBihsRd70UHJs8jAQyOslFQgePPDiTc2Ji7/BrR6sEHZ07f3nKs+/uvP9ruqvNRhQP/ZOemKtn7BUmaO8isjiw3hZoyGRWVFdyR2dhyoxuyUG4LTXOLd0Yx9T1hXkmBFQgQ5X323X7+e0h8eQ7Ip5rEK/Xk8UqOc9OwdVwCxbW96FlTj6l2IiHyYu49MpJ4zn66lbMUa0/JLIg/CjE0QZdzaZV8H8YfhaQ+TzKvhoX2MUXfxXM/j2T0KnUFvz661GGUjra90bw2l5zlOHKMqPww3qhCR4wnxBBQ27jBIMfWiwnTZoLwbAJ2/L8lchovdHu8RGwowUFAh81suVPjmNxw0aNzt2D7ZuTQ9vMKQo/cA4xTUdj0yIBjfE+l4wS5UTIDi6PtVyzz+p0TjwFaUxtlPEo3W2z9ZRU0whLA9Uiq5TfvSJgl3llAkvS7DJgXrlVzl2U87G37ADYdPyWvyCAXepS0iBAWAJqEM5cp3MG/GUSC05EpIJJx9gLBJjv7l2G+m4b2jiSpKoUtQUrzQq7/bbgZtUy82lJoPd1ioZ+ldraXDHup0GQDO0UaQS6Cxj63O+wQ9BrpHYo8zlXgHnjhxtvIeA9D/dNEP45FgCqMirahJ1TgDijwx+uUphvvcRSVJoa9fVqJ7LOr+yiuKcLx48H1/XNFYNY4ePc3B1h2nh+lwQk2gqHG4XV8xQw4zZKMzBBcOuEXrQAaHm9+ZGECbFZvRvtConvm1TImWlivqlD0W0NMrHLSjYf7BGtf0W7sJXkoAF30gUv0bv8ONQz5/lBaC4CqfXl+OHeSk9ffH0ICmCvbL6AtOjCt8xfecGRzyakxuNY/EbUeGz9SVzitP42RSpA3a7wwESTZQY5kxVJPg+MAw65RA8GfdVpKU11qYMOik9HpG9XB8vYzcGC1+8aprBlWaZNNxsQarKVu/SzHrj4KMMrgWPE0NdpfpoP6IbBEZ1xpj77/roWZ0JoGb+prS+ygEvO0rw5cJFwizk1Bx0V8yWB9Ueehsj3j4EbVCVh3H9XoUjwhn4qDXjAIS5azpfi1456vfvI8L+qvxWEmjnMUyG6jr1Tq7vfIM1g9Pbfyb21WdC27u9TeaLIsN7+05Z9yDjLcp8eo7koP7CnjFGVG6vTuO1X+iat4+nM+0zPxVC5UG6YOWtVHhxJ2S8QOk7QGDRSO1XT2wn4K02pnVeGwBkBL+iKuDKUG9Z6zswQDr/+4/CVRVscJQHDk/QxJzqo6yXv/3r4S1BrgpW/D9EydKfhHY36c+qtDYk4n9CJ03yB9mxFkEfay3RUczWEPZiOOM+s0Ea7cLFrcvpD2G5C0DgTSo2lu+NgrljVWBZCtSftvdx0qoqxQ3vxWGBEs2yNRZGg2p/UIYJHE/5bLn0ZXQlwz20W4XlecoPedhY86TXxhW3zP6rSekVhgTmatN9o/NBTpCLZV/cxiX7aHMSu0Zi7tJWZ20p14/rxNKny6zyIkKam0ohUTb4LYwvlc694Gl22peYAFtmPEfseY8gF5ZEK10qntVXB1cXr0HEt63jsAY8T8P+uxWGoQwhFnQZVms0v+WjsPpqlZHLE9R/UQFhdgKEzGd3/WdCgR05mhYh/ECVC6pstbYWLUnQFzky+mdvm5WFyqT8bGLea+dx4SI8P0VYB6GsXID+pj2/7Fzr11O0MmvcQBPyE0b4OwFvEXBcyqI6d2kIArGUbu0sRAgEO6eFHDF878G1SrbaLS4ZUM6Yapep1/u41zyIbG1C5G8Ny5+PG83iia19AQatocfXc5Yl1P7vu5/GKtFL5FNdfGsZZUbkj5gwwl3R0SiznUSyi71M5iq2RstQvzVklSJvsCfZyhYJmyf7wTJDPJ41TSIq1G6TWz4jEMOYF4+P3lTELynNySyxBqkWs1qI1tgaJT1HIuh5UUfiBwa0/kXgIWJiuAXeXoZGuBsTXLZcdGqewIrxEt4+MF79wZZ3gABSfQnGTKnCyKoLN/ZzWrlmh1uaXv85DFVhvLRBj9gCwRCzkqCaZOg3P8TUgpZLz6zt1h2QleZMISnl1042e+TekTs4oQwpn5kjJ4BK3af0mrm24HQY/Qn+5T6+mCyiaL7x0w/WLC/rNAKeRwsEgFfBnqxydZ5R9KD5u07tJzUwQJocnhRpszmJ+Ooaf5hq/9bFV9zcTqjBSZETj/jUAChJy0aSZCxAaRaTFd+Z0mQ2MvHm1unPB+P9O0FObxs1fenYkDj3eXHIJbCpnBwj/U7906xXv70Em0Z7p9/n/cTnrd911ORNWn1spQYaBgVY7ZsI2+0HT+lfDxF397sJSgIq8WmUSh4hykUPonI1FGudFE3gQK1FT/rVKu3f0Gy4M9EmPBkIwyglauZyO0iF56r+7kjatIz7+6rTGe+i4Ze9e1IFOWVvqySceVhO2eIuWToSpWUDqzBWdA09d0lfhSLdHWE/zngyfNUI5nppqXDRvtNrucgAK4zLscfG6CkrXdZi7j84bujOrxWswvBqt1ppZ8w21HAd3IlJ/aINs4j6hKNWJAXwtoPcjnreKQswfAKOupVGpPmYIYFrgZnvk5mQ5vVFTvFNVTE0ajeDqsydBT5B54Lzc/LA8tq4nQPH3QLbSxoI1UgFeCL35Sid0aAx0+D0f+t54fpjVHwSGo8K09IAD7Gulv1Ul52piWALYXsIRDn2iD6apqr7tejcNx/R7oNgGusBqQJG0lmmTby7Kw4UFBhtIoLJTCcMLv0Y+fm1xQMsp5PjM0vYmjOWjOs2ToH8/5+gmV80RjWG0eMdeDIu5HLZUpimEyspXsq4pqdfygOJt2YBJ6xo1D/aJsvvTY4p0/WmKhX2uFmE5wOsIYC8j3nc1qbIZZjfRK65L9b6VIVp8WxWrxoi6WsWlojiYNC/Zz15O/7Y6doNCNXQaJFp0kLvvYaqVD2uVwQ7aGvxYAg5dDSs6yegB9v+0sSbS1FuHib9XwImgQQE8R5k5Hl0U0HM6JHXAfn88TKGwvtKOTPrZBThAorqjNtNb65cl8OKlgBDAy44MqPWpKDUUnuQuvbLFZgjjRuNQv2AmBy/phdowAIu7LL6AWlruoRpRYDf/RzKmW3g7TqC5gsWpD/qjhH9NDSchRxG8gDvnxEPq+y1wKHlOtlZp7dSn+Fk3lSti/GNQ9GDGruvPxd2VTdUecW1BrRBKQbf6DmnqWWTX0SNsN+kw6ZnG/4ZVCgk59GBa6sNBLhiBevdS1+mm3e/jhAsOiMkz6o+o8cQBIXeK4XXOkNFOoViZb8oseFre1bmKUXvf+S25q3VvwfouxTC1BYISbV+fCipYc4aut9UDR+Wp0cylNTMqdyRuyWtF4FBkEaWZN8tooc6eZCrKDjPjMcvPiV7bw7dE9CXELaqK0TBGv/YN0Iu7t46khMFTilTAVVWizucP99z1/wnZll/4wb6PxqcWd+RJ2WTFVOgUmVmtlqqYXOj9zSVswiQ4Yi+romdsrUAk+7IJwX13vtDVHKveMIJ8+IetSQ/RhL6odGsZypynpqHu7AU6lXCEKvqC7RYTjtdVMcnu509LirbIDWC58EMYIWulRr8SGazx0iXRtfMwJjHaFh9b1JZJU7JpzIsHB/gr6v8pw3mQ8zpNvJhBOtXU3RSTQEbRAr0K2/chYDAKSiROFciRCvELyMhRaHhZTs1jRRgDLPNK0+fk2mlTBGzls7uPxnUzAyKepl9OCvPoyL7MYv6sF3ZZftN0GhiLxbYT6XjrPdnJN+/xmeKifzV85xD+mStEJtMHRA6il+92ZwTgMDxh0vi2TYHn2pR9yeN/e/h0W0KQWYSaS5SXZhrYr1h9Ex34vusC65DKD6CRQLB9pHTV1Uph0AXzxm4cLxuOMwvWafbmam0QoHDRHcZloqpjb5zrT762oj8i4D+Lhpzh2VoCffelRgW0YQvnbu+d95kGt25h03HJUc4p0U6yeb8F/W6Y/g8Mq9V4WrP4dt9a10mzQrMidHkpomxOLrOgnleTHoyd0YsS/PiOuiRANeOywefLFEbD7MfMHsveKEHBv2RTkqncuOorpEhsq8p37TVwbSiyuCw+9DXwJW9DKbvADZ4gZU4cvAY6fqqXMBVRAFbZG4UMphOaysmpVoQhFrGrSZDaSetcdPyT6gH+cuH+5t4n/5j3A+fVEusLowaZQ1w9xHxmZx6pBM0ebyzcr6zDdSa6L6bilNDNPWKas9FWAU0X29Cf+zCZ43I3hsEFiGHqmRAslpO8NOk0fh9pS7++ahOL6FSjHNX9EiW0gc/YXOIGFBaIEcBpRUEYt+yCutnHCrD5gXPhGkp8c7MkWiNnSyKT5MIRmXx+uAc+bx7B7XvlPKlrDDPHXyOAnJ9nZ3QVdLuPUgTh8/US1fO9mdXrtvtSQXQGX0Qi6Dva4t7LgD+jhfUoPlU8TRDMMXgbdR6tUaykos7/8Pk1JQMCpXBR4+KAUryxKGdecXJpBcUb3FE4DY2JZzWPkh1zwbN+vUZlu+MYRW8ESV5hv284xOT6AqfuhegYWCPV9cfK62hjlKZa/6my4Y91jiqul8kIf5+lPnLLFpnh/doBRKAxkAioSfoQhJGf2FpwKtTfYgYarw0/3d6chc7xIhzZ44jev2/YZ7DV20/3g1n5ZPryS+fthUkeAA4trcZi3WcuG3FlWsNYjKmUir1tdb8QdHLFm5sma+8PAJEVBh8OWqIfnpxUeWvkeNiB6TaFbe+emBOh6OCVCQa+qeZGW0u9yjHkFV4iOtZgful2VKgahn3DYUzwrUsIbt9wZVwlBSMRWeBaBJsYg5NkYKCjZE6ytQ1hTM/IRyIuK9QuKy1egI/iKj5JU3xV2HAvhv2Ee+DtHSOou8OXeMn6Tbnysm4v8HgW9c3PpwQSzg0rWq+9lL80XXS5SFnlmecjMIc55MNYkumDBQcq5qKyT3VchUnvCXy8kxLvfSeDaxJz35pRyJx0GZ6ZZWsh/bPjSUN+9iIX9E+fF3z3ECqgbxY+tL7X1b1InTigiShrBJTi5GU+HegGFY59HMTKAb3T7Cs5CcU3HWAog+PdIPEshCuSk+6P3GGhfG3kdUO7R0W0sonbUZ4M8jSjnmbAKcyctpncnhevADkSWi8P5YCEnLPcoQtZY7AKG32O3oUEcN7W/v4iuUDkt4No0GwYmyTTTBHPh82HZNEK0lE5aqRJCsKs0lU8Fq3d+jK9vJFsejFoE59Zudg1bS4r1xsd/u3kJ4Ucq7WbStLVyGf+jK+ARlz1Hml3BHURFQwWCQWHUGA192DPEWOr42w0x07R22jYeVmgdMD0Aw6WJ4jCnPyr5xIT8Q47H706UF8CrhR9k7CrYvQm0iDIJuv27IF/m/X15ThFlDbIc+GKumfxi//yahvd0nB+GsVEPm71MQcYuOF4oFjvDMiszFnthaKJR9QHDDnVEilE6F3nJAerfqK8pmtUr5qAXn845sFnt1f6Hyj4GVLij1c4trdU3aNQvTSIH+IPBHWen10cncMN1FBkwGUNfjlrqY6zkH/4PPCP6coZHcIxjlxD3lUJzE7J4lhMN+MKb2Q0S2agu7VnJ0HHvi37FXOFiNFeDaGcocbJ21UuKv7m/0peXEPad+0U6cOmDpdGzWYHVtrBbaD6TJVcAnuBw7aBf6iOCuOynOpEl5P/m39/kujsu16fwukkBvuFnBCIy9zoBS+6K7CxcKfNGdSg0piGILaHSiSvAK2jxCD1MOUvw/7sYT4CpCbI/HA2BPL1NU2807YNP+z9OTDOk0JFW2Ghu18QVO2eZhwACuom231Hu/GlnsoblMo/wD1HCk3s3dJTKrYqmBj8veSeOvUWvw9nM05fVcklSh6GDkqYHekf0wHGRfMaBcIqKjmNbQ8lmNWXW7VMFHpMknYNcMCYuKHtiuV4hzctkGF+oWfgg3f9LkqfhjL6HUXplK0VcPcaOuTb+SAC9Wb8EvC/DvOeLqe5JK9x1gPal+NlB4pGWiZ66vueHawdoWJ3VmheQozqTFQDUlIXyTmqbxd4jMgHoL25B2BHkVsmNp4IK8x3jrT1uiiCmnLKJw8gvLmZMkNF8qfQ6bIeADNo5RuPIGoPx7K4fin/kiz1oLLWW9ykN0mZi4sLhxqq+ictigHR2VQIm5AlfuwqHvB+mM8MXTUTaeYQZJnxgXcw068lrblKHxUXqNoRPhDXc4FBgRj40s+iRmKh1BjQWTI0G7nz5eSW1MgzIzkARGGbaOda2BP4qIrrZNt7to06NpJ20rOUjRyn1xhBCIy/bUMRq6VSKI4kGkeac/iTD0MsxZMgYL4X3jzDs4BmuPHNhuTcLUdZ49MWsMASG8dj0l1T/zaLYFLU3Fo5x3CDheT+tQ0K9fwZmipToL0iYjZzj4h+sNXb4Xc8qz3rFNHyoyBh0c/8y3ecEOa3PBaWQVynhs9GG4lIbxHDLR793dHVGYiets5hr86m7LREX73n3Sfk+r1JYaaglo01uqu0ArF1cpYQ0EFjjX0rswbmHNenrBZJZMWAx6dZkgQeWzJp3eKusryp7kqlIcMa2260IA6rjozW6h42vFm5WdVl9eHSal0u7S3n6dy+cJyUmJ7jTcYk9YegztDF/5YVAUaUdIebBpE8z597pPYCDiqjWVt/FJh6bbU9g8xRbBxQr6ZNETMKc9aGoIUOzR8hL9nvq7cqTLIP1a6t0bbOJGt9jHi1TzTcBF7r5oXhlNnlO2FA9oZmrfSfnF7M2+bl6j3Un7pLGRtLlsvw+nkJXLBrhDMLufzwp34vn72DR8Q/KPawwru8wxoZVx9rUcy4+dYQCHuwYmP98/XIAPrtcetD8qm0UKRsY3/e4x652UyJgvKT9hVu0cCI4NKGw7nhRO0u0p8I2LdTd2mY3csPqxn3JEyplUkWSVyCwm1Q+mT5zv/86haabY3+i1Ouw8avmofoOO35T1bITPG6JTmlsz/XYeRevsLCUIgKm7VhJFEhUjy3F8dc++7tRDv4ki45DwGsGgdvI2FiNup53tItKIT6OfPgzTsrLCJ4/blMw8Fjne/HHmciJRP6R0X42vvRWVgApOvG+tjOEHBbkI2V/OTHYIRSKQsy3jQA4n9YUDsCH54nMXz6AozowjuQYkyqNj7vt7DokqMEWfcrT+M+FMlq7vlzRqaAw7knS51z5600wbu6FErZ54w0bpqjGYkyg6bZF/7tO1yYWtIrYuGsTGD8Tg4+9A7OcPH+IYL8iQioU6D0jL/nH+Fk4zRbNdDc+eroA//RkfjXn+ALXF2I27u0fsSghzOEcOJiPl9ii1A3Wq0FNJyr88KNIMpxxf9Vq52InjrEGVEWMd0omafOT9QHsiAtzmaTxJKZDXjV2bsEeZ02l72s/kfadRlt/I1SnlWM0cSqBmJSlfUp3EeE+Exn4HEYOi2WGh0l81p7D45LQfQVJ8IoNN48pDcR/1uV4uR+g7yEmNibP/OqQ/e/HlJttzXuBhQiJTfWAqEMbNOTEndInFiLxAD23aMoxEAuTbdLQOFyUbqDBSFtQ/dRuQl5jyBcUO3OIgqhXpH6RFahfbSps2MxVLQIAD7TJrehois/8JwBViHKN+4I2j2yoriBdZgNcak8KuqLcapRK5OOzrPPM363VU6DGNE3K6W4PjiUgL+9fYBn9LmxbFhtJbXlUq07HGLG5AnHVKcAzVhTdlkE2QdGgyHiEwGGNGw8pKMoYvLwYCDnsf07EowhsCGyElWph7Gmmc3VtinBfbeeqMPi//grAs/rjrrO7DShNFMzQO8ZG7yfUYdskUFRKqITmEYQQ4a5VSZovfpM9ioOcy/HSbrmNgexT15MNcmak47gp/zxMRbRJ7xuhVbVOogEKxqltQ/qHef6FNvnqcsaVUC18AA8j9PLAM8/vD4lNRm4qY4WSwxFYarq1hIfNA8w4HkY37qWS98OBvst4yaib8bXyMFw3y5dfmue4maRNEhi5CWEZ1n9ACcOJNhcF+YsR9oU1PUsZP11tCUo+W53OJTk3hDBg4UwnI9tzTvFzmC0/Uyvu6f6njiwgoZPKfH/TtJ7QuGgi1TosZYkf2OKuRmIhWAgQrPpKWpEBLjkn1iz/HPPAcz6U4mRaIKzFNoZRrv2sYQSisGBCVgKx+ua6ifcjTBc4WmeqyXFwBqIrZRSgHiMGl3RiHJtw9wpSyZnpJzcBxzghDee3bWXToIPixyzvp98KaE36Q9qpZvfsHeRr0h3kEElyXjqMmAdZ9CS6oqGSCV1ITw5HGdFOf44BEaOM3Pcv+8oVJ4L1KcIhX1h9ZF6peDKi8S8OzHOcZuNwVKST6nOTnaDXapJyRaPF1nMLihShZYa34lS+XBFz41iXmVCW84siwAROTEg0BrcMxOtETAjMri5nzU5+WpApgo2nNb1gFeIm1YX8sHjVmIzy/hu9ElgmyUvxj7353lrwiasqsvnC3i+tjJrj+povmi3qyUG/fz0c7VNbMmSasdAVAJY4SGD0EOohipTJ2DSCwPOnYfKwcVCM6I81VdYoV4aTqmvPD/QpVVPONVEVZBJzp9R4BDY3MVzkxkH47GvEo9XZBxOd14PKrdD9VdFUddMWeYAjm/2jepyZ+5fPKYM3p448Y/G1AE8UErO3lfqEYo9NJeHH2hzR+M4021c+HnQlS+ji+VXwsHntxNrdH7MKBuRFA2PYEb4XxkhCOEdJMknPaNA+7yMoaaWo/xXZxPluc8+4NIpBmAfAJrii0s2nHJhKeCV+LY/dWb/h2T2H1dhHL3Ri/1YRsDV1qWuvYCo54GsBA/AOendBn79luJYsF7kJJF25G8LlQO6FD4fwQCSThKjsQQ7+GdqSedYFSaGtYY2YuYRlc8GB178QorIyzV03c4Dej2+MsJ5q+Rq3XelwtWQyLT8Rm3s4iP/OTBndxESe0fGdtf1xDp2JjK+f1jW9ODCF+lECneV1KG/qX6nsAifqITJHeD5+iKW9EgrEzyBAYERdwFbVxX2Je+pVAJH8VrxuT4FE7YAUJbKOZYN5sE0Drflq+83RXTS91ctLpTwN3PirNvSd8yMYzZaaBXDmrHOAfvn3a+njEC01nuegsXfTHsYOKjJ7evf1wnCQkjsH29H+eO0Dsq+XxNq0S4nhSLzpBgq6DiUi3zebUY73JzNi82LNOJnNjVKDsN+4yvaUzjhktLxB2CPGLmjBdwiIgnaVLyUQT2Idtn2e9PSWH0Fy5wNUvIL6KUsGDIPP+IpQEl3zhHOgKmqSS5wffo3/x/GgdRjyeEn0m/UN7GRFtUgfXa9eT1qvt3YOJzWuW2IHeAMvxc2umYlC+SnQudGzDCcbTIIr6vj3Fl3OPyU41zb1ZzOe+0cz0quXRfGKLXrDZ5f1sb7VNwCXjf42IAYNLkw/q6DqCl6cY3stUHoWgXYfTpFELlpqHc9boXyJqFWjmzmf2DuJgyRW56m2uBeMDASQvPI0nenSMBu33AMqHL3V6d3SfSyGJAd73gPiq/27kAeCq9l9uhmf/pbw/YfsmOYbq1amD7bSxhg0BOt4UTV2OBgMin22e1v4om852sKT+u95EMwN1PC1z6UpOTclRWDDRyirMjbfGLIpvdI0OK6P3bCspA5idNqHXECXs1iSb2GotBYzFIr8pa1sJ8S5z/rBtqknhArrXGR9CY0qP2Fo3LKkyNFgvW0+qoP5KyS+OLall4TdgAN2Ijl2IUu/oQXwUanBD0bpAjwATfuWolMFgUF4KzysZG+cWBlZAY9O3bnQVa8cMbdy1Ed7SfewFRC0HGAGdQTZz2sdlQcYIlM9rp02QhxbE82c83vVvSR6IZh8XWG0rrYXf6NSeZNoqQ0Y5pN/gubEq+AkzO5BwSlm2hn63Pu0VI8VASXTuo7egknDYG0Xomxfx7p4XQJe+vZ0wYbPySzg9aejXf5WmD6dtXhKJScjPfINz0IYISJ/czASqt4OA9duPeHr78y87VKRU9Y3sx6Wicj2M/I/m14CXaViTRmOMdiZiHPH3Ev4xcHKQlRy45yk80YFFJddIB+FYA0J52XCYzw3RyBPzTf6+OBwuijHdJZnpa3k9TSBlRIctSmZHTLvWTXzao13sLc2vZC7CGlroGmRjgc8GX9ZwaiINgscknbSRHdrSc/mhlHXvkX0DB+Y/+ufr3GJmxmv+6MWZ6fb8kbDEXSJ9sP/z+B/YgDX3Qwj/VMo9n+nM8W2oS4tPwLdxz+iQgAoEmGGIVC5ZzEC/Nmas3nEHlCn1GbskAlbLFQm+Gj2o466sYZJ0IgRCZ2RLDelBZ0jdnQwrctOT25bnqWMmDnGA8bNLyYPqmO+irtqA3Yg0514qeZgWVK6h3880dwqkawGX6+d9A+uZDupPh/BCpWcrE4G5HfKRuSJsoVs52SpZ2LoxXQ76USjcPkB28Quu+indx7EpmYd/tozPDsD0iSEM3JVbwP3gxO+mact4p7h1mCpLTv4FSvqZOorGNfcCZxeAl76jwTNWeGv2RqvemD8il5mPCj3N8r78SEvPSGBZHlLecqz6Ei1yQWEuS7+0Lvbrp7cfD3c7RpPCqAjH5VZq+sqeuS4auYhDX74JV2f1savuh8jl1TpPncQgyn44bq71X2IpOOkBPrzLOkegwomvasYXiovgZWwI0sJgDKMZwlV7oakdLGIR5/2Vur6s2rzjEQO7w7P1aD6rIftQz3CrmHyiuHZSNlCEOOncfAzzXCCN5kdbNcNsf6qY9RUSIIsGve5S/chaffsmBYlV13Wek7WACptisUa3VXYPGK66G81vhjkCw4SstgOv+DzbKhNaiGFYK5Vv+AAhYx1g2m65wDkWzUe5bjWSZEayk+hrayEEvctDSowRJwXys4NuCYq+wrBRrxHWdcLGMTnyNlvz92U7wU5KC8uPlqFjd0wO1+kPmaPo70u0qCI1HYVmhoJNkAkiiRM87Gshz3+Mp50cTTy0olRv677WqsjTprv7ZRjOn/NAgXaMrYTpCr9CWStaeRSqT+ag8jJUiKPKQyDAnBs0+vadhJ2XgzZ3odxgZfYu6Og3o4wCGZoKsnfHer615sP3JnGLUOj/+ZsBxDaxSpP05JEu5SgM+iMXOEfWMbnRaLtRfyuyGGpkwUmanDy9Ih1fsrRRiNASDfEDkyAoZLkbWgRVYFi3Ss0ctlgJuE6AMMupOyGuYDkPn/8uA/cR1mgy7peaDC0ozgBUACslDhiNGAD5V+MQrpF2Heu2ueGNx1UVW/kwxGQpqRwL++DSUmlPfKwp7Vb2DOrhGkbvge4n9rap1BfX2KQyEX5k6Pbnk2aSOGC9gFdjdCly02Bag1A4U8w4b0biRA6KjgyLn3JrYzIft7AFVYlCIsuzOyOuHvL6rTDoarAg6iS4x5BdOBQ8zdVhFklahkhld3Q0DbmigS3D0uHlD7c6xYRUWsV3Ih7Of38svPGIZP4+oEFxS03BvxTP1K2+IgN0HMI46lgY1d9Bua10vxteOMmA17Uk9ZdnSDAzDIokR9nhH0wjpTG1GIjm/445na7LqltTOd4sGerbOPjI/PeKEZWm0r7Trf/AirxfXvQdmocyy1VyldlvnPxThzru8VDnbqCDil6OgZKvPB/7wZrdCEYgUZCYwOy3lcw/k6yp9NiXIjM0z/VI7dhOJ/AMZcUFktTbPb+Syey8X8vNM9p8piZDTPqgDtCFvz5/UUNoYUDvWmLWRC0pOwsBNBup3r88Ifi4TFak5OSqogPcCqilqyBoMCMOziAo7I+7JWo6XXDVGSVHtw6W9NPxgqaQKaSBgifaJv32IwHkp0aRRVbMtpWnl8T8GFpoIjk5oXxQWZEy13oRJRhUNvl7vZIugO5KWbHKId8W0wpyFykkTGheb2V1yNHCLMWVX4xvNJ6NJTVQ3j+2em+bSSJpK6b1R21CUR7nTZGuuV4Oa0Qyxikz1BSM0DwQQY4iim/XdT6ZkNGoTbSyHZgfeNSwBhwKm9WcEcg4hst1vP8BvOq29zp8HyOMbcVCpUJpBYS4diifyBtv8H6O8U1gAuwAHPoqbggg6D//iQaPSVNVCYAjtzKBKI1+puGXKvxc9bTi0/fWlu2NpZB8cFK+5Uv2FA8D32AszrBDlkq5xuOPEVxW8SDBVOisfnrrtysI7n8xyBSPinc3IdOlS7yr5odbXiwwTftYP8Tgays00jw910/d0kFAmHcd+9CAq1dP/enNxHXuqgeLybkJxKN1oiDqXhnnranVE0N/Oz9IPSWpYcUPZrhzEunT6DkawPwoBWYl3/FdlfANnpdg6k1WGtzUXD5Iw4rOBbd5U/xzR/X4JqZZA5dHR5TMApp0Us14jHkqgy3Gczp1itmYamDq4kXFQ8UrCTtrgfNAErGflO264lYUQ0c2ny1hfccJrUgweBVev9X5PpHfet7oYr4En2zm8zbajhtAGy0g2/DQZgEAaE5JtvU46FjaJ8BCVoTscw/Nct+SZJ+KyVLvaVgmr7MVP5DN2Z6w1h5xu4yIFGm8CbcEcysVupNvb3zTN/dsYqdouKjvdloHZTTcsmHfGdRNXo7wZKHLQYFEklsiGSAUoejgzndMjN9cVJigTIXh0RXme5lI+2a1+sOrIRaC09YuK1FfqSheAttWj9NjlixjZo6xxpUZovNbaAW3CvkHjHdcp8ir0oNCeQxq2kFv8CwawBKmA2kH2ipzRUxPZJJuPpGd7oXDFu8u9NXOjsqtBuw5k0HLCl4TmLiOQGbj+iqQEimWLi7FkZwCJg5JDwcjVeYvp3xGzMcrboKfxv1G27dyjH7biHQDLb3BlcOUx0O8feTCyFzxu1O6oS4djuRq/o2FF0HI91d1PPCAFJTqFcOydaKgvxTCdsY1is7tv6VXhOfxpXgen4dsdQD5YG50ULPafEoryi54xzoV/WYorj/vAclICKdvmQb2GFCMmvTB3s7KyhEi9MSfdeRbSfsAVIWjMEMt3I87cFTTyPkidce9ai98SHdEOUzG3BB6+/F3YBNYRGTdixInoWsr3wutk66wC4waXU0zjr7dDozAFtQ+LGeVt+2iiGlxvU9irzsjn9I3mooeIk7WrBv8o4EqODD2FEx8EkckIoENAhvBXtgARs5egIBz8GwrTlVg03qcyuPjFWPvyNVi75WyMZwa2rrX2dHes7zuR5CnxiKF7fAT78SpovjpevmHHJsRV5M8TGxHeGQL4nOWBMnvHyj14xaEhZDlBPdZQIL8U+V/QBohesgyOsmrRlIqWtT2f34D3Yt3s159xrkjgZ29efAA+bXFmVFpbQ2RtiP8c30tykMLaoBXgIskIFF3YeaTsfyZrsGC22QuYokJdThrInj8Q16iyFqZNgbVLEgjv0+TkD5TvEWwmIgfp0bf6W4j9+Egnq3I7BYOxoJBeoIdLnucSno4TriDKCWomUDmyvoE4SBWFGLmR5wWWKiIir3cAuAhW2yOlELPaH/a4WbN2gxQZ5sN/xn2JCEepYxKrQXkasg3tuCTkXVkdPHElJ56XrG5galKhbtDfvGZ987eywwRwnC/VVafRIS4028YO3mCUMHKpyemaMgqBZSue/CBBGdPBFLZmPZQcMSgawve3IuNTiX/89p81VDbdauiLJTURqP0JjNDEdwoisReW0eet1UOasxUEBVZiXRurH474hRijIG5IDLq9lCcnxtpoRtZ6sWAtMR1hGmSDoE9GXpTSMDLbBga45wI94eocs1j8wcosDB/s3DEZvPB2r04P8+AEJdXLJiN5mE3jhautgF2+E42WvAUfR0jGRMODifZwhPjN9cbjy6O4oqYMBkluwX8vbUjUV48L8MAtDAYCWgUkBudhGF/tIDKBleEUMuzUMGUXhsWTDFrnPu70moc58knWYfiJUKvtwpc5z9n3i5Z2SJq006siAP26++PONc3OktH76/o4p/ta4e8odMfn7thM8DKV8+3+6tK8rQMRBz97cCkRQBX5sgWCXPly+JmC1FimW742eApVPyfSAS/6FajvZxxdafHVYq5o/zhKJVXr5eenmUL5RfIlhuSpLqO3xylLTPvxTOYDT2UX2XkJFXxUHXBlJghpAzOLGdFJLcXTP8d9O61qvuWi9oYN1MwymaO8AFXQKfGvI2l5uMPAP55Kmj7rULhZShHnYyJM+7AgaC9+FnP1TvgWdYJ9fZsX993TfuC8tZZkU/flxheMWhPN5AjFMkMXPbJRzk2otDnWgCVCA7WK5GJVLvibyi3N2pk42Q2YTMmGu8V0N3ga48j0qoUunatdQpelhpZ7kulghCSBkIpp6TIZhpiS8r6pzzBkExHtvtNpnH7v4MlZrvq+fDriA5/b3fX1QN4ioMJp5btnxA9whVw6wKMN372Wdo80VNidjn5ykYo75sdFsK3rMuHYS2cPBRWq+I+VnKlzHlkaONLEgOu4bAJ5Z2/254j1Ep/ATRzCILs9sDYv2IUgEdeDOVt53JZ33v4mHA5Fh6Gu9lhJJPg8J53LnmgNvrwBa3P5h1Grje6cyfY2n2yekbgIfyrxOZ0Vxkj3kgFH3pHYi7S4tWU6zq4OuUzqlux5Dke/7KJmbiJw9fT6SGJj3c/umtMrYm+UBAMl6tbv4X8IX22Y/0fq6KxMv8+ncY1JSEvYRorffps1AqjbrQdTwpageJiuTbFKMOXv0noTiz4+yzIe1SBf4a+SNZzWxzPqfsR7sRDOMOlG0yo0QpcrEQeUiiboyqFdNM4RB1qRPhJOCI9sQO6pNg6U+lY46PiU3VSbSYNvFVe7YpR+Ed0mvOEJhKUe2y6+ivJ/slj+tl1hQPk6QJTg+irBJwcppt9vO+HDvDvauwdN5hFisrgRIKb8F1KWiYnDwxJNXGKpBiko+Pgzy6Qd3t6EhBDoDaQ4sGQuvUYqXLCKQM7OzU0pl+Qp+Vh6iCLFVNn8T5sfHCu7NAe9Q4W9EkJtNMOr97Krb6iBwXVJqUVsvcY3Y4/80tnuwFu8zm5/X2OcxiiqBnCVcmj1ySmFtM1FdZhSl8gzYsCawDb9RfaLrzrkS3CXLqRkv+sowtOE9WfEze7sui7uG+T+uCxpsIUz9HMREibwxiIXvz+hqjqH8VHHoqRkiEONZ/zU2GllGjUVSDtzG1AU4UDB5CbkD7qlPiqHzP2rdyxhqVanFRHAiOVa2saO8pCqDPdJei/ChSfKJO7C318zpgDdeokuMgo0XFgL1B0nPzXL1f5viZ1wiiLQS04S+L0wIS8u32xJgepEFqV2nAxwVBbhJ9AnfF7QAzDdZ9WaYzzzOYxx1i2V7JEe8vGpxToJTD5U7YXcK4+2cpngpGx2HtwVTbnOfDIl5VPCAvfyQhHrVwSM1CYmgqnRfEMyf+V7muBdE3O+jgMnOR2rrADIsGppRfvljnO4lOoiwazOI0sDFHtxi0QSQZEAMhw9aV0hvItstpEUqe4lA+310rdFMYStESSpKuyOcIf08rf8Mjh6h2mZL05/th+V0Hxd9P3w/fNddeNGx1D5e8bFNMtVu8dmFRD8LS4ZPiNxMzF7leHAprDz/7+CJN0HRyR5TJzZKCQ+Jfsy6IfX0HlNaLM6TlkYzme6ExFxhp5ZCj6bIxrQXiRZ5C28lEUWv/Wf62kqi0HZbFNLvz3dqJOI2Q3/ZPGDaSuK+UgkOgGqeOYC90lHT/WXmKt3zOHHxKsLILm0rBtN2p4XeDPgbIcuMye8+8nh8awmXbYFTVHE5FAFK3XpaZQfyqb0Mreg0Bip+mN1j0Xachq1zOWii3U2EC+vbInwl9QePBBaBSTsmE2ba/yAZ+hISjzjN/2j1psg4OnCugjeWb3bprCywxn8fdSVgzZYirPnonMfxIrHWFCWgrrz6XpqZAQntKXJtfmt0mz4q7JXWxwLZBmAxSHfm+dEeOAm5et8OBWtHassQZRGnCkmADbSGfYlnoAPfY/sUUjwZ3NAQgNQx+5/SWmNhcIC9UQYVKf+AtVbElVJ6h5vbkFdCVvXw+L24EWPEvKmYcseEY5GIbzQ3nfki6ocOUkTx+dP0Q8nBh0T1cxpbpgW0fpgOjLiPXQ3mHtisaobDVsFjJTVWnsMeTIVgtDElxFdab9sOqShwOVzfau2MC/RvmDuzxodnjmrAC5UHu8LLRXzd91VZFO29byako7C0SdNeO74mcKKlooTlQCuNq+i+9caqTH+ObfnsbHU87HPCfXY8xCK1n8wEcBE2RervlYbXzFunqerWtnxF371bGyRpUc0/jFGOKJU53lKQ5wDQjXdLedk0qnqib7FmIKx124IedbauW6qsiPg4nWYabIBkQZTiua3+3tzUuEbiuRaQ06jiTWLjS6A9Du7RF5KuuZju/d/+Rwj9nPnMrTAp5xtTa1BqVsL86/XIs9O1fhnr6avWVACB36KFhQRoDCKfEt/5TMv39LaQswFOgWjZue5k2TGgzbRsyQsvMfhg4vQ/uOpt7t4Fu2C+npgzH4Vp03Ezw+Ket7g83Sv1zBwEqbc6LLMWOSqHtnXtHc0UalndcZuo/5xZVSSAa+f39WUQ7W5ddhl9ZwPezNxqZqYCIcEvuc/BTulV4Kzzd/njaCvK7X4AgcYFZyq1FXuVkIPEAQH/zxNxiPbVY0GPhRcF0GDQ9ecRWAO51D8zBlER89PyaBG7iYOTV028fi2gHsklTCE03MOoq8yvU9yla0TZNKde1dv1WYyjq0WlBUuNEXMjGmJSzYzUhu/sI62H/dCiNIZs29oO2fxVWzH1gRDL1OyciF++db3LU9Ho3MTGLbeF854u9OMwvDlzlVraZ9CsuERwJWz6B36qCBObZj4v3TkPlljHHYmpVmcrAv5bS50yYJ6wVWas9kbw8WSRwqxX9WgckDl/ILNzGYlGnrgQ2cTtjwe5sgt9m8noffhz663WRYsviXooodZtK5eWgWxM6GMeGgVEx5O6VRZ6CN1rRNM/M1dJGv7qth+x6jIvW0h+sXVNnndUvVzHxEWFzs8v3QiA6lRB3UwXaV11wLgM7hpypeRvKoR7JgshzODSWhnyQlSDsnvsq8J2PP3tSx+gDdlH3h4oRJrLLSu8sRke3QegefLh0ROw5PnrCsTu+CPW1VNehFyvOxKswE0vhRWhXIaCZdbR8Z6uKxDU08cjkwpDsbqa6ucJHjiAQCD8mpteu0RQlT42BpsNxBrnY2IKDAVtyE/RqeK0N3cLyW9yoqSsgkDmV4tB2GACKpJMjJYHSgqxr4IDZ1ZuN1Pw2BzYXEs7jhqhN9dCNdhfzsdHp5kdupSV+SYqHE67LxWxa9l/Vrpv0jukHaBgDaMOkEAfVaEq+w0b/oSPF5wImyUygSQyuvmNG71zoONWsp4yBpmM/NAF0eWLh6ecn2oO9hUOaV9KC+8DljPEYb3/ldbzOs4kRzk1yANAK2NXgxa41B2MFzA6ZklBdsrmuQKArZrlMfQ3W9r8x1On5ULWXE6aLYsCuYindodYn7ta8FLGErjYibrfGfD1w52xEMGD7bIKhL4Tjo4qtjPbADYoqVGacebF06WLgZ74TE8ybCnYiRl9JJAcBdK4cJ4tLUMK+yVmrFECFv4UyxtGbAKf2JKZae4s7bNe71NKaqTD7XDyWflvhYKfg2TH/xIrchDm7xQcNN9GXTstGZFaCr/c75jWZeGe/eLc2m7RgbY97M3rLfTPyqkb77DfIA3flIJYex0LNJuFL9YoGEn20ZNY3340/ijhYHA0Cjy0pJjisoCvxK/x8f0NDODbVCySjYXRvOU37g9L4kOmKqtZ3BTYTQ+P4GJpDRchvZuntyJvN/yCLYkE36s3mLzj2/EJfES2tIEF9ZR/xh5DOrKM8Bhsw/1rLIp2y63545uxeXjsIRDofffFRizefAAGY4IAaUWxdDUrFt3G6NTk17apuInkdL0Xe6DbsHQK8ocgA++G52ALjSd2uSiada7f/YE8MTqRkjxran4awGuZH/kLDaZlw21erfg2x0XagXlgCZ0n6rmWSD28Jc55/vmr0VDSnr3Xc+8rmyjuWW94/BGxoSMyPLN+SC1ZH96rRBZY0NOuI6IQYHTYWv0UL+X/bRsJYa/YQvOA4lXKtgYysSFZ7q8f9aMiFLNWzTY1WQxd/Aqlas3XFZJTyMOlq7HAdPVZnofWMDTENlYorK26qg6h8ITUIonxWtlmmjiPMuwzvGutGBOHXzFBLz1h1V1cxsqRDwoEcRhhqg7T7Z3ZJ7flXDTIXJ8rJ8CiHWVekQrzg2+ewNa3slZbyKZkINKgQhaxAqR0ftmz1MIxylQgGWUe/fBERnVKdsMceZxe+6lzWKanBwSCGu386jdx4fl8tHY3GfiRRqKeiEPJgMZb7Cwwv6+dpSh+l/C/P3oUPqH7zka/Dg6Y6TVIANS5U2nbywxZB5hb+aC9QVy/yRj/T+o2grpxx3VL9Eo7llG0QfYSoV/Hokvxh1yUk82uiJFXbvWDlFzFIe1oJ4z9zwdz46j2GENESHs1Ligdls0WZrBUvFFJ+pwLzieJ8AIL7OCwmZ4hIBe+gvQZYiBiRuGOg0ohvfcxFsMrh+/hxHx0UNf+d2745Oeid9iIgUJwyjFuflf9bL3mxB+rXqBlSC4rPbPoYcgIiNZZ5l9y5H7/P+x6kZjsaupUfLtsje8ZLgUiX+1szin7yWNw9yXc8qD7vj2IqKJJNUmXHyWAL7XkDEF+xhqe7PPmToRX8drS1PLGL30GmfbZl2DFWPqW4VvoPNGhmvPu8lAlhyPeKEzlQGpjj4EKBBJkthKJxcJ9IjDe1iuFhreE6Vb1QXwjymrDkKImqwTaPHCn3jFq2WzKo1LAWir9FkWKuvk17Ekok6xJCycC6E2mjIbzX/J0JDj4uCpBb5Dz7549hm9ajE2HCgpXT/hc6HSRY5qqrv1P+H8M2dWxWN517RytTHNDLHlcDy9SX5Gol+PLjif6Nw5eu2bWt3i1Ok/gtsLkeYNDA7FAgIIdygQy9ld1ns9cyfnt24cnQvAC+APlvOc+ow0h2NaaR876wFNV+c1EzMa2m989JeauYH4+3Hi+OPQe6jTCgpIaMDUT891on89c0Ww5bxi8mlXMgs2E+pjuyGcWB9MUUuPqzesLJgAkjCllNrl7R5Z+6oknrWVn8pvm6ooG3kKnEfx/0PjAldZlVrJleUheQKd0g9Sa1vat4cYjwIBWJwrefNzKnSYp4YOwp5vhaVTiYnScggkbb2hviF41cwc472kY6o0tigeMr3wV8rqE3xn6wEyIZaxyfd2lJoH7ZSp+CtKObraSLdZHMg/aUI66zmrMSNkvqvIVMg+Dbrn2eIGv+JUbkOUcSbgRZKf5Zi7dwdvX/4qkfmY4tla3+iYbQs+jmPiMaJZIfinFhNQKZigRAdrQVKecv6//PAQiCV7/pu+yIYhF51ZXCll8epEqj8KAp0TJvuwZAw2nETqOBARoV9T6cDU0L5ZNVfRwQcc2vs3iSBHDBnomzkyjoFVTvNgdo/AKqURcoh3dnX0/UGRSXsp4SCIznE0weSUCJ1JnHL3qQAUW6qpegyJA5YrVHzjCRC0suB9e5tI2c4zmeAK2SpNdhZc1IDi+OqdB6xr/zkQAWAIEFfAJimpMK1PObJqD3Biz0A4ZDKLYbzmzwBGLE8LY6nQaD+JqvGFBOsXGMrVOUtlWiZmXi/Gmw+dQpDipnnXs9t8zQMUtrewI/YldMH93tRqc9ANgFNWqRE2tC6F8+dnYPWXFp1nKCKaMEk0ao66cAMl3josReOFwX3V236/UxCwVXAvDSfN0zmdWpUy8mpIstU6hJznQRkAmVajZr2SHPKmoOMyd2YbC/YMsXIDqZdXyILs+cZ5zKip5m4lUoM9n5hSxqO7zBQu5Ozze/zuO0xQKKZGPyHrThp52cNyepFDcs6ZT2NbYw4LK6gVHH5jWIS9qpkBN/vajEVPgZrm17aKyiHPStMmi2/AHmvr3hrFQt2AsOJdQ8quNcaImQzE5rgRKOQ/1UKTCxY+lnLrLWr4GlKZhFt0v3Q2frEMX8GY3KqGzE6uCPa80PBzvWIJQ9ByJu9xzMPh1wcUmIiN1Gicomd0sf657BuwlDBbo68BhP5anjlDbaMntcRmH/kIw3V/uZpbZIf6yH9b32Dw646u67TjPoARgENbBEj++wJy7KQmADb4XPCK7LOJ8yvFLjp37CllnE3O+fhfoLEDcjWpvZ850k8lfhrNvZUY2A9e4iufEUMuHCdlWv7BwiDFXjxo2w59pgJNIZPJRQcAxtVNP09R5/lNHSuZ7DTn+BffAWlBktuHPK6eF/Te/zs0PaWf/SPw9oaHuQSXtDmVL8lUEng6GJpyEFAfyCa8mfY4NZ9tMcTrCV/db4zYFQSZiD4ZfjVb5MaONebfjB+WK7psq7i//p+DZ89D4yHjXaioj6nX5n5v5Xx/Vx4MYj4V9lE8mkXEDlMZmPqxravr8bhxSIPzGrCIS3KUHK3s9rC6J2Lhn8P26rpwvEBFv1UPaB9oEgGmLYwhCxfm/loiMuDagNIl0G6wL5DcxjgadxXB1rmuUoY7TQGzpNW/7GETpkEfyx2bFOD4LAEyaeJ4Yt5ZNWDTRqa95BT7t81WAg/B0VnB1mqmXhtZKGg7B5h5cZntJnHotgRN8zvZhle5+doBix14SnQZ33HtE74Dxwby+NqZ17+cs0LmDhMVhhFjM5ErZWwr9vTHAdpEElsqHDa63xKXpXYZ5ws4d2EIUlO7wQSI2ia2VxKK8v5jcoKnwPwPIt/FQzRkdOGh5ywGjE6PqNCRAXa8JzzwOPV089TYIZQ7OdVbOuyhW50J/i8EXvueCweFTKbahvcg1hVAOpX9LNOCFrO2R2dadKYaFCC9jnJQSz7H7d1wNBh5q7ty5dDrVo3FInf40C3YmqlQEZ7wIE8I+ZUPH8d4sWfePcwAfwAXGG8+3Qz0wMM3KmQNTnrAbNFgXLdH5r+D5mNeD73P/Ua4EiaSptpP7vGz84qlIDHvh9Nm3YyuXaIH/nbIYO49N2RF7TO4MEF92NlJlj5tnIO2no8rFJk0XMY1J6NmvbzwE9qexMJow/g8uEU7JX6CeWSzcR+t8dCAx9m0/nfj4qAyuU930+WG/3DrQzGf+5RS4UPXfodahFc7WUVdP4CZnHQeQ0ZmnGtVR4f03F6pOaquQw7nxbcJMTtXEwnP1keS8FcWC11nhYC6XxJK4wVSaPOVXSgr2o2aiBwu9t3woAxk9/DJATUbwN9kfRkKQEJOEki8j+nyO3tarxrHaBeimRr0YsApZWBiofXnjS1townLpEDB2MRO+NwRtMmdpzgWnxSrjcfChfeIBPxB0LuXU38zRO/gSZOq8krKjYSqk1ZM2z4OQrB8AICLlOn8b6WIsMxwIdKsa+eE7VjMoJ/q8ig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32130" y="1975522"/>
            <a:ext cx="7735570" cy="4585014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9907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DFiQHjCqdL1bAIku2Rw+/elpsbhxpGORWsyShyRL/tWmsIuTsDj15mcBBC6rxNi02vfR74RCA/dpvKGhZx65o6uBOGbcvGaT0ySulUXfCTd32KDlfORmwuVGGYaNpItxEpmbm349Yimce843W8PnzONbzAHKg75bzC9q+D7jtUG9v+L7o82vo+Ek48yGIB83+kfb9PaLBtxb52971S0UleK+wbZA2Rak1mnZ9a3tdQQs9nuuHGkKpO1T4PNcA/CYPn6MLjqfv3Xjp5I4Thi+vvO6zofTlvvDIpH+zMxVNuFbuyrsbb3y0u92OHfq35uK4XBj5ltWESbq7jmsgVlSqLcl/01rleMcP/DIYQj87d469pzedo/9HSYgeh1LAc/cRk6FBROYZRiG+AupBgJAhqoh0iimrPtPnyCLQcxUQp09krUSTlGVv/ZwRaA3WLFJ34ayBVCNFcRsyxx2DshzrTh0jqMQxzgi9n+D7cMwdt7RbGELU5JhMzrYdDTLSfkhaxwjxTzKvpkITayS4qCYb3M6/eM3mXFC5GoahUac+GyX8knzuBHuqoa5wS7GBvm1cYLYG8ETKPVnhDFc7GkQxEsaZFaKgG+Y1mIUcR5ERMGMIbM8JoJ7wifVANC/vLc2xnmjbBtmgYUeUuF+I6aHI8gIpC9aA9nioOED8QorAjS22twa83rZkW8eam6cNatJacUqDVhc01flr/tf8dk3sIFrtFhZefLoJqJyknhnGW30CM0ED9fFfUGFftXUUIoKoT7x9Bry7uLBJtbgUDufXR8RYwYuZjWR8f9uXTipttMvX/A2tEogH1EAuHCfCVYSSdMmOdoVfu3W6SynjMjO/tMMazDKAEVA+6/teH5aQ09Um7n15V4o8K+JYsuaX43t6Q8qCTaA8/inm0aOhBWdUfJ/Y4cEdo1Lx/PaeA0xTav9XYw/t5nov/NL/31BIoIeBhR5725xlWoan55UFggOZvOc6OPNKbQpAYry/lT+1Iy1+imrz4FNEAZqyapXU13kRJaShTCcZ3PzCVy+V95MOlEBBqhAIAWe0mjXIwLD9MbCIqFggKSK7/7go+OiBP+Y6nd7mfq9N1xY9ou5sPzSycC6Cw7GapkHDGHxQOsNbaeqhiCT5bxcSluHI2rbCOBZ53ayGlqEyuQVGuO+lU/CkNi2vNXp4g+BKFH+StlAMHkuLxPPjPSmIv/lcT/kHIHBX1yHbtcQi78PRw7Hl8IemqrnYjfK62CzUNJcVScTLD0TgyBFF99ISxBdWLlILQ40tVHxmjlf5Hj0F0J/gwd9OxKzXE1nqy2362IbEh6XxaPJIWJmtpF4RkpLBQbaaQZaGgQ85hZ9whjMLYhQIjWDvmjgVX1BC58p/VvvwUajyr7klgPjOkJQqEk3SgQi+EFR3tbV3N4RteVrNt/qqYdV3VwiG0Ej/uwgxysJKYmzcLHeEArfFNFoiH1bT4uKtnLAbjuhDFlSloYhAvpYVtk1n10cdAOpZuiXTeHW6Fhj3Mq9IRHSERTr42593oekXPUelx/G07ecdYBzp6AGzuyIQR8a4xKOqCAzlUC4rNa8jvrKLV58PTeSAo+Zmi//WWFQDXDEMHaRhv07dbTE+tAG1+N8yIWe9/REol1iOibDvqDk08EyezsItKBROOLOaDny3I2TaD/9dVGFtUqS9W2rJrNhqdiEFKZfoX+DdtpnmcYPgpK5eVvKGlmTPYzIF5RlTaLmACBB7mgQzQedMrLJZSbcWI+QJ0diBKsGaF9zPn7r/jTdsKEm3m+yH4ImuRgjQkFv5Lx9vYg/XkbRYh7zlLy942MvMdPD0SNijy9lT3HZlVrM8KfCNj104L6cwNloyZyMXVmJ8k49eW4+ZtzXQoUp4EwUSaIyYVhD+ku9bnYfLrJHSCooz8NKG45hUJ0JM7X4uOJ68LefnZ3St0IFcBlBQKr4WIIoIlD7cyaDG0PLm6MaoiGDODK1M1blrNe+7+oouA64rtgq4Fp+OMw6wo01n9+gXbgsGCLS+K8lPfckkxGC83yvCZcKEQVc1khLjr1rGg/EuLFUmudK4Z9NPKkuG6E0h50I+HsmAjCWmTjDQuH3n1tnBtNGyXttp+56wstiTzOasc6vtQic36VMmCV8KG246s8ZjqVxuu79Rdt97+LC+difudYUMDBkA05hL0KaPExNsDhVGlqL1lwkTEEzycMu0uo4UTNRILe3XQqiOLWQwb0007fBr5fNK6N7r+J5b2bjkKPLfLFURjfUGWofk9+6CRoheeRKQpu5E6cQYJUD4RgpNuetFvz358sNCkZnHqVvfxPH922MqjK7m5XZs+eEGOOgpF1w+/UXKBPgchftPsWY7sF71HZNnZIsm5UGQ3FRMx46wrMSHDH+r9/NJQv58+UV77JEN5qJjXtfM6UL1obZBOHqfXEDSA/PP3MYqSAWNShJ8+PPzHjUGKawa8Bgv4upAkqR2BFF+gZDv+UjXqgsa0JlgMXq+E38qXcfoWO3r1vg73TIP6S1IhiK6bm40gqbpbXIONcFVjDdc/Bc3GUJSBdLqAnMuHbs+UzgmhJF63Qg4O2sui5WvJkHRt80PWUsmivYk95PVrkmrc5WzU32iVPJKp3PD//YSDmBahPbnK0YF9gvl709LR3cB+Mz6yT/wxcOrhHpP/Hbbmrg1RxIWfKrWebpH+xZX/ODaNhxkUh+Y/zC2xIHWaZiLELJxIarbmHxOryJl65kwbqDqjeX585C4SMQz2i+KiONCFMSudU0eWMhs63Q/X+2ttFtuqlans9q0q+pFQnq0scGOHkhGzJ5GMoaCCty9akgCVk7C5E3/bFcIzFF4zF0vI/6Y2TQMUr1SqnSTh0r6jLxUwppuyRI1yH7uAKJYr159Ysfrir/MXAyzfsJ5QTLmKmzw1lfkYIH8673FIq068y0cMbWsXptyZPlbslH6GfthVrysvYihZg3eLGDtPRI76WFXkJvIcmUjkXI+m/vHCiiNPsFk/NByQaTtg/c/gNQ/eK+HNbvPgFIc+FAt2TFgMAWBSSc9xDgfhxm8VczmTrjO3ufJBr00epNvNe8xlWt+6xeQml9DUR48UhgEUGD1J4gWyqi14a09JdjU8GT6zHMJmDlO6Q4nW7QEUKRkUzxK2VOmh+8cWdGpjF+aDYMBoXLNCx7ppkn7mOTiMrxIOpecaXooxIvwVeO5DEkrNMDTxryieR1ILBkLNJNsibcc/KNtpL40WUTP1orqgfPvfchv136piA6lYhD61NjZTlWy+47R+IlVXXQhPEQQHz7bLnepzI7hkvaXuVmFpH9/vFqLJcef6oieredKwWHG+9eVpdUtq2eUbF8Q5ZHeOWJrHf8B5ARGuuEykMr4c3rSAsgfq1Xc8zWqyswwa/O6Cs0Qy8H9OXKO+IIFEEfzyMlJp2/wbbYbOKU37xcFGR6TXPNs1FVx3ptueXHCYD4orZhQmRt8Cnr/xEuht6CCZO0HCKq7XCRr2EQM3B63fwAGZmk/jfayvCJ0uAUOsPIBxshjhxPG1gCo9DsUYxx6E72rTSy1fTHsjTJKN6zaEEbp/zUj9e70D6hh9lyl7bonygKvgp0lcVcRpVx1KCcq93QozaEoDC1k31kVb1EaP3Z+ZMEPuj0auNe5o48Iq4xHhirO72zFMMWGCkt0PrbzNXJPEdMvxcE63SyXkv3v9YM/dc2zdYU6VQrSySlTu+BiZ2Lor4XSB5YayVCg9Uxb60gCo5fNNXJlqPdS0c/fT7mgJv3Y6w2d+dBR/zDqpyabb22HPGIA/bD7oNgLQDfj0nCHNKPjDdLGktQT25pxnopNaORU5aLjogFbq2RFWkrzoMQvieetWPsgTyXdFvEQLdKrUmXVvZKxPchJ6O3Y+s6FydPDCqSFQRYHt77h117+fGAcSxcG2Ww6a1hQ50lDgCCV6A2rkgx8wYDpdr72gZHlCzovbdckONcY+Znw04OzMSaywhIXi/eQJVjC2ZdBiP/SoqdlfGOqm10G+jTGBFlf+vInj9DBUIxATzWqj1tpnrpmbvrlgbo9KRNTq6SS8ciqz8OaOlMhM0nwirt31hdjpqXr4cjyp9so4qeAvHRhOE+ggm3Gu2HgsaHdpdHU+d3ahdtOqwzWMPlZ+l/7lUWJuNn1e4HNS5d+hBY+AnfE3Orr3oR7J6bNf3abcdRlI+FSa2uTX3BC6TCQoa7OIUlw1UUKizxTTEUo9J4CYMyKN1hJpr7qGb29ryMC42LfEBmgFK0J7VjqncyB6SGANLMJ6NclsFX0qjXRi73Db+Oohl9lemVGYpTaxyA7eFXodssphXlWH4hBzia+Ajr0SzES/ABpktvdrtqorpO/E9SCC/RF/yovbyjeRBJjf/aVvBJmfjWHfL5AjRyA3q+EcAzpMrE+zdKJ9rBsSrT41dtS5dLZx3exT5lzkV6cY7vL9UnzCgtqZBAZkqDjqV8GSEzmxOLBLleIXMxxVrI0r6IByQ1IqkNuayrPGWSW9YdHZjDfU4ulXSDFjefL4ERYAsZ5q0JJaaJceeD3C3TSlnShrVY5+omXHf2v/rZV2BrtnVkBkVdqasCkcB1kBOeAeXwUFmPfSNb6RddCN3HjEKulZ8bWp8wx468sGJI0pximvPnWIX2eyxjlqniyd03Oh65KqsEFlgl/QZJ7OVsj1mSB09urN0Turna9xWV0+/zevVLk0i6VTEhE68LMfGWlYynGL1oyYyBoAdKJLYS2w1DzTOQDQM2ilT3rVvU/zJKVFjT7T+s6sp69af4Bj3HLqhbxO9A1CkhGaQc3OZ5UD5AHCOMR0OUh3PKJj3d4znStPVPOeQz2l8Oqp/XpFX0I5JoHzUirhqrO9YumVrafAJiGM5rPdgdhDziMjd/TRUFcNvl3xmrlX3dhCOf/FuapTuAqhH2mI1lE0cZs4N8Hh5he2JuXHLPcZpfO16qxnLL27v5jy3yQflbX+BIp8Q3bcqSNp6RyVnyl2o5AarqMD4GyEJsoUcE1ddD0u+DHEVA/z3cxQuKrpH1T+16dQ08MWk+t1MGUKqGKeKmrXMq61rCsyYcCzHcm0htXobUXn7oZaRwhgS+prg2NJk3CUyMp00iqCXo+i5wO+mpuVnbX5oKiY92qK+idrOZ1qJfX8sWTWb1CFuHt2G4fcLJ4m/TR43I1Vq7BPgcRmkpgybaYbM5yh1I/pEwDMjEjl1pUPFI+2HRdqtGf4QGF7QDQOyKANcI4sDfLiIgTmzxe00ecxQ4pgjWD9u5MkzKYeaexQ4b6hTq4omOgCgkKhq3tmC2yodFUTfRDi7ouZjrAi1rXdPlB71LZaxvcWPP+N66VVNTLSTJdlisNUniXhMBQak8nhc69VFk9iuZd/qzkjsqfXjX1NfSOCoorAEGZwOIWxgzAhtGj8wlQPi3QWYwNyHlPyWzSDHw0zXj9HyFkB/mYO++zLld+xjLVJBHaw1IbqWiM2hYpudV9GJcFX9Ri50k7d9Tt3+juP2YIiT7sZ6qgXSDXJObyXLUPnI/yCqa4Uwd6kDf1pX6L0KPjrL3GVs13Gs5/v02i4vVz1hSK+vmz+ZK3oeylxFpGrmcCmxT8U5wefAx7bgUWR94eB44PqnD8Mit9if+pyoYhzU1EjgCZivllDMz+KmcnWE2c9LGhc8WfcqLKWiuC6aiYIVgOCxXsgHA8Q0rvLqcJ2ChsEvLh+gcSnHq8TzkaM9xoxe85ys0Q0VOUO/u75AWsZPMzzvaJRay86NaNLDvGux5rpGUPvDQVaPPfCgNbbSqlFKBnhOkrwT8YbTP7mL4zFaHqXy5VLGp40LCc0uPijzLcBpajtNNfVc6NgsX2MNN0esVA0kZ2RrRlmYOXhRhu+XIRisY+KfebfsEs86/a094BPt1FWiWrv7mfgdfc208IRSsAcqYaTvz0g99F5/BlYiQ9cZcXiy5iSYgSdJdPMcy+QtyIA3ODTIGc6zEAP7/HbvXe4TtANIIat0vZ/4WZdV1MtjVqAiQ8IlpMDC4XyAQ8yQ5WUn2DyO6hAifUUaE5gGlHUHtxWvC5xidip6+dpOtBQJe2xM39RCaC3jtHxMCbTLu3AfXVAxJ76yIWLK85lr9kEcs0kVdG6AhRRDmq2/JltxPOjmARL39IE45ARmKklMk33QiD0G+Qu8lnVx1BjHNrddmibow18tl+RI48XLk8Nj0t5speJPw+/S08Igty3fn23uCXgIGvkNelmB0O0dCxW934gAg7Ga+ChmYwctVDxU6m1BIyObmhKQlhNTE21KTTBVKKT7y+0Cxe3ZfQUZXX5L8N0dFaBqHP3Jczo/JjeBQVtlsts6UC0vNmkyYhNptxgkvTshM0hByqoxNbLq/A/dsQyg6gGm53dll4FHGFIkUovOMH3y1fPzntrhf4scwiJgPhVTYYZdDDllfRt3ge8jTaVNXyGi2N5nNkkdKx5UGryTVpJAdXOrzVExufpM8bXRM5D8ULA260y7g72HfY+hwbVI6nDBSgApzw4DYejUR2/dWHwPl2+fysa6JtWZl4cLP/CGgQlnWdX7GhY5l0ckwM/otJXNg61zUqVfl3icukiWKTse0W16sWe3u0hmIsqe6bTkXuKxsMc0Xf2Rc7bTIdS1/9OKtIpg6AcgFCXrlB/sRQ7p5AmSOmCU6edIB8Pk8qkfEfuzF7tHUIiHOybM53Z1LR68F7pzH62pGuxgvH4v5ZkeVwvwGh6xUi7M6ZD5nlyQsNetv1kIQIOD9fek7hRACUcTOqba8uikiQFzEXUNEsS3EMkizojQ/o420fJAcUy7EXjwn1WUVEMN7dKeQVnYONMGUBaaM3jncWT9UrzOfc50Q+IuHKBALQeI+GWAV2t9FIuV3kC7GC4VbR5yt4RsVJ5PsINNO0l1brbWLLJj/ihk+WRZavEtDmPtzi141n56X21f1S267PLw3r6dKS19Apu1htHix6bP5ej0GUoZEJ3aelQC++VcBuPfzJ9aSzr/5chGv01PCzbMvU3LK0FtmeJtLxmTxZU0Tdlt4aXkwvmh1dioX0fk1nbHhYmK5cOetwG/uAmK2C2KndrcEUxPx1fqbwqEJ4CPYXMrhl6hb5us5AHlmP7jD40MD4AzMTg02D06yd1s6Q9HsPEnAcPFM72n9LP6qZ/HUcVsWJbxnBnUG9u/KUrAj/XWOI4e09m07UC+cBN4URJnKvZkSJ94Ky5ZBURY8xyYATZ1mVf+XgQS7h9CO5l9HIK+BgIAPEiUmOF66Nt4ywWmMaKBKjbIMjPrn8DDPk+IeSveOZIHbJ+eSTC/9TG73H6qRQ1ag3n5Dk31AUsFUsS0FVJ7ZsGGTNzI5w3ezfc3CmrLEH444E97eEIFdLdaj0i1l4sdZ/1hlF0GFRjJl/lth4C3iHEM+xpEHK+AOa+2+fhO2RxAubdl94TGPbIfGPnzeKjeSyzmmkGphWOy0lotWg5TBrvBcGGoXnEHFRvjqSCMFEQzRscM/hUyaBXDT62ZioaiDUabtEx9tr5z3wyR35H2XsXxFzNiuo1lXQoFrh15WqTWMpJqZh5SK/xHRg5x1cszYcjySOG/oCqq1A6TNWjkRONtVFjot/4gEIV38ze0P0sWsSecX4kzsYCXMVaGrYOvSRv3kdXq5ipEYIWsiESzJOIIK3Y4mNzI4YBVPvPL/zOdbNlnccALXhtbXBfgrpF3UJ7ueMdohNGTE+KSTUPeJpBNA1ptNX3IyuQzG39CeaAqw9zRpcKR7nEA9uaskz2fa2rlMInwLgIt0RtoK2qBfpkvF5Z4cvGzJJ1OzEYyXxG4bXkrmxZTYmWrwsTwguhgEwXQJ0nNziSUPXhRSwblabKJoc3yj5MX2HD8SERsH33sU7tsFlgL8Fj8X9V79QYwJggwA8fai8oykD+imjqSF++aVqU+AsQpiKr4MDSODWK6/BkNidUd+EI9fqlDFaJ0NHwtvVJUtIJOiQIzztmDjVkATMccChuQvcpx7zMICZe/sgw3A1w+6EIVIUm/+Bp2QECUGpvyUn/gkM+w8a7qBdz5Rk9dPLh3JFrAbU5cNywj/Da5AE4Fq0EwF4Lx0HsAy62gacPw1MdoM6g8vaMBV015WZXnKVqZLLoGJQHgoEcA54Ka37L5Sb6oO07dHYp8eFb7yxVlQz3JP0LbEiQpzJu9sxCYZouh6wcZm/rvBJgnr97svYVhlZgUZetV9j0QNVfOx+vSS61Mo0793zLqRG/Mj+c4ZY1oIkgt/SeFh5ikVTYdfGkppyBOg6AvnnGqsXD38O+EjRsPANcFjCFTx5XzWnjs3/UvKZzk+J2TgOFkbTF7CDi2ILR+qACQBsG1sN0Bts9Vii6zdBWDnQEOb/NaNJxPEQ9B3OXjcrpyp1UJ83a4ElHJHtQmXPspoDY7eSAWf7JlZZ0zy5w641RIPA6G+gYZ/r93tUd3kZMvKUnH++OBEWiy0Szy4wJF0aqzoNgULCgaxVRpgApTTBk+vUDHW3zQFhUMgfUukguJSR9xNOXYGgfwEXKiKYh9nLijNrhaUGLfeGYDHUxprenSpUbCjiCjz7ydWQD9ZjPR2i8bURAWQzCT77nN5XMQnmwYPc9bcoKo9QKCRRlsVrwnTbGUdftnFv3h+WeG6Lr6GN4po1BYz+GV8cQNbvVHiD6v3fckq3QE9vQNGeA8OGNKaPUHn3Qp+OmXytVOA/9gwJFy+OOjQ69aHAhpkubrS/i71KJuMZHO81OLpAsN78VLpgbQjUKhE8RHCsd8BLHkKrYfIlFPZFfmoBx/1UzgZ4wP2b+Xa6/MBycjgnINYe/DpG1gO78npcBuH9fsh5VGO8AwfKTG4Bhx5zuU7uWe6Ac0HS12vNMDvtGCsxeC5aD74E+W6Lk6Ki4TLEvxH80NP2ud21G9RBGYEXVlFPhQtZghBIxbCehPj6K8b1JARk7n7abyhLDLg4fB/9V+9gbikqDib6JqB7s6qRxQA48QM9O9AVbgCmEGDEFVvrW+GaIEUY0E5iR81haN5Jop2lagibeQxe9q6IaYSgpPz0DTrYVFBcrfUUVZ/GzfI37vPJxZiJO4HGFjn0T2Wf379CpJoyr9Lb3+hoQADB1HiawLFLrDVc5fM4uZ2mTxMKAEUAq/JtdABUeKYO4eLU6volNjOCzEbS0SKReVEilrDtyX8sSMFdt7S5x6za79pSlMSh6YT60+bRBFgAnRMdh280o6hcD8f+r8GGd2Gxg1wlh/kOSx0mhl3oYPxNBz4X79ZcqVOUmK168/oYFq1ZMP6z/e2hbrCHQBVzc1g9LRyNsgTVKHddOWzrrXH9qOkhsf/sGA68GY2xDtxMGJhk+gAbdq3Wd2MRhwv+mY0SjYsRnuD4gVjFrj8Vna8A1k/1UCjiIaBI9r8Q9CgPgFQrfMqLkE/2nS6IfX9d8iv4hujbWjJXnbTUyB3LAmcjeu/BxXs9QxxxVxKN6xYm9pY04Ibx1f+tNiVeXCJPnVZOcTY6a1nv0fbF42jzLy/SuHVdXtJrExwtJ8LOP6q9+bNlrua/GiRBLbz4BcO2XsHtramlWHChuAbitxQUFmCIbF6eSjVg/nuS+cNRhYHCial9YuK9LWnhe6ifJb8noyDg9rbph/J7HHDmYzpPgA7I5U/eLlvEmsRSc9q+vjs6i9ZH77V+JDh4cgEpYqX2QXYyHDZargitd9VmrZ6kY+cBeDRZg1PpvLjOBSuwqyxIEg1UwwLQF7Z3e3AJmD1w8v89DuS0zoQuuICp/vThRaRAeIlLANaLPgxV/AQyPyEfoEL/pce9ne4nI0RV5J8enyn55JCEaSBdNu+OKqN8p/DqZJuIi5vPhP6d6c5aJL7Yj7ryOeV3rD8SXbvp8+qYqJzhC/+nCBZuvNO/cJiF4fFHf5cR0RIuntH+plM8upEELMWoeXD8+PKpxl6k5BZMLj7V/wC8G7fe7gLXFkiD5ddfUN6qA5h+vtzt3odu4ihSeKzfFv+z0H8jcTZp29RMjtyvue5ZjHpAdmSQ4OtRryN32RhxdkrKIEe1nA2M7hYtHize0I+qINc7KlzBZL0PR4vKor0xKQY9Jf7hAHW1fN65PQYYS8WugaQM9jKZxLntJ74na521lJ22tf5FUZDeOdN8rAEGSc5TqgnpkHWXw2+gnQuFtqoX6c1Qr40ceOPJ/MdRr+EWPQN8kRH2WmTKRjTiH5TCad4EK349u1VqpySR1hwAKIBAb8K4DUXQk94EK6q6Xi0Bulw3ktHM9UzpHizvZrkmb/R8Gaf42AyagkiHXdZQkFuOZ+X6aqkQTiaJthvWn0WZMVeIieRo5hclPayyzHeon/ntAlCN5X08JPtlLfpY0AbonM5PxPbs10fFnAYDt6KKUlRX0g+HJgWZgcftK841LRoiQlnqKjkmH+ndOBNzDnlYCRwk4VL7HyHmVaGKyxEWUtV5MNxCYO4Ke4fYAmQiaUWHXnwekPl1vyFLuuswPNajkt0GqFlFuuvfhNZiHUrZafR3MNRMIZKda8gamM+SYcli5UuGBwst/gRqe2z9iMNbz/OJVd2PZEpI9lgzBXI4/xlsGwDJJLh28k9jcqxCYO2v+PdVm3FUfpV5ockrClW61cNh03za9E1cXeEkfxmcGuTvGy2gc5ZDmOKxgwKDlVuyNbsmRPnh+mucFfbA6f8Xohq6yfrMWQaloCiH+1Zdrx1BExTs8Lv9jMKzPQEatG4Pbf1d5h+TxgPXVs9FglMzmTV1csqE8ibRP3h4fFFPDkQD9FSIjZNisTa4c+XUlJnZVC4GPzZ6V/UkTMkHLE/aPFm/kenMEo4+CO7vEDRIpistsCUaZ4r0Vd8k6zxixqonnSyqv5WADSB5vuIfAyy/awP/4SMEcWqzqVxguCuXq4kIyeMIOiPpPA0rijnwnvAvQPV0bknhPCecHwxzXOFbKzNi2fpiY8Vn8B8+Vyte7T67FGFKX9vjKP//bXuPoUvdkZdCGYFZAtQyfdquZGjv3ieYg9y/BhlUHxDsxVdPR6OG9eUYfQL9esdPPuB8KjAH/fGpTR0wfpjXGaXnLTReJ4Uw3CwGSK5+bO1b6hrNgC3vN9ht8lLtdRYNi7B/jzlft5A50pBiXlxRVNg8CmMmEkra/lx9J+jG8fJhRg7RPC+IKfYaL6OZ2bfXqWA063y+hHrVJR3wwZAOBRVp77YU52NrAByM5cieLhkgP5YSNSAEYlbfm2rkSx+uFLkXQIFb8GfTD7fJx0fSgnp4+9Vn7kVDdQK3U67GYlNzlOuAgeyE0c6puWDfKv0eQ/mN/ga1JEE5x0dQx/qonK8aU7NuzbGZG2RqhSkkV/4ANP1C4wBqZ8eChCJIu8JBJTG2Uk5sh/ilmfWBaQqtdzy0x8bNqsvziQR1twm5Brrwm5RKGEK9sYMUw4xg1kV/xbJhDDO2Y8f8YJFbq7VLB8jJaxHUHeX1DMAjJCVOhmuqLFdZx4S8VxKOW7nns7Rx9llYCdm8TfkFXLuo6iK00UjJhRiN69JJ5U6mS0XJh4PHb75oqsV72PgKoOQyWJhoChwV9D1l1ru+MVqlMwS/KUYto4O42qQOdC+lneblbo8TB23+yGR1uqXDsXrVZl5H4EaiFmGhdhRsV7D3AtWjsR6pw6H0Vvm53ldk1QcTesMSoIx+NZC3A6Dc2av78jqobbtZHsfQtkO6juweGraJVyK2uykUUm1CSe7xHWBhCnQ42uT25geuRZKn7dZqR1LuOZqcVACIRmq+vaMl7EizPL9evkXKh8DCUv4hzhkqp0Q/n7nHh79AQ4448xKg+RK1xb8flqxWXeBeJnsDiDRqDKAvj9lEPZf6rn/h6+LpODXT1ET0nrtImgOLwkgiBr+Q/N9BD3ndJN6YUpih9iVJw/wdgLXsuoqRWJn+ZsGSaDw6c/D3B4V3jOQRIaM1M6xQUobmlcAt/vfpfLjKyTZ8JxwAXm9l2dU/y48jyLNjA3BbQmLfIbOkZqMVRZVugKqID7bnm/7ipQxvIyjS3gf+Dp8Vcqfy/RswLe/eQxJFtVcb6N5mTIaaRcDnGdMM/PEl35lmQgChomovTfhAN5+mSZXdanxydlcZmDQQr889OTSC/ITQETvkys1OE2bYI9vcUIYAZ/X5TB8DzkrTm1Vs8LS2ECA5yYmA4LQyjtz6jhJ06d2yEN1oFuOYNd7tf5K7d8gSOLuVjUB5WtQ8l/EzqiXy1CxW2ujhICDW5WE6MKOhU4mmeGzg59KlQ5Ja2KoL1jbWqEWV8rw+a+4w4kjBCx7DYzuYOk/RfYVwM1WO2RqNGD3RCiPW4WiTNimnD5aLtmptMh8/2uAGvhBETk0nkk7hgwt1FTOUtsn4K0/c6a0/Wm2L0b5b/aPkDGkx1Rg+6iRKvneJBVNyLp9Dfce4tU4109fkKD2mSiF63Ob8JjWQc+8Evf+0Df4GSOVrCLz1spISuafzVeI8sOxY9jc0PSFnjThHnnYeEqpIlPc3H29mfHI31dwZXKL2K6XEX5welW1reA4BXfT/kHkDB22dd0FgmaIOjeNCkF3Z+cLjkAE2ZQ9pRFJ6V689krCjCG/7p+G7kqwzzvdVGq4VSguotkmBUiQeDJcLLWSxJ2FkHfz1p57+UwNyGxwWLJqZW9JBISerW6PtYbj8ZSGll3uw5ryaIQFBp3vIOr+Dnjxt1ho2GKNYJzM+CfznR7TCdVEpMg9BuL7u+BG6g/RuNTRkaoCFdjrFjGhB6RqZiLsa+gyUDrHv4kgdd0uzkBW/CoPkNX9Rr1AufKgAOJmFNQkau5mFao60TACidgLX8fQ8TLayFmCQicJZVG2AEbl33zIY+7xeyxADmT9Nvo3/wgfp9pag54jY24aNZkp2QA23foultLx947xfz8qE4pkDaLzFZY/K2jAXvn5iuP3TWt1Q1VhuVvSwb2NLyB79LdzhPdo1z83z4cL/e4Kv/pK1YhDbQvWh9ootu2LMWs9kzFDyraD07H7sj9/pWE1/UnWfKNktFU1USB0xQk9pjybl50rHtyCJUYlvG2jb3nsKs+WO/5GnP5KVYdJwXTjy65gVT/Bk/6OG3xcdSsIY511axw7qCm3iUL2mXWyfpw1Qu7pecTpwnqKQ6+9ZddaXG/bziM7OzlOTbNzrRrutf0j6wbbK7M23DMbru8sF4R8RQD8H0laaGh23g+yztCBepjPRm3APCkD193Qy4TlqyHyjvfh+OMrtkhlDRpu3xCKXRQgVvaVV2/fLohcuCbpytXLSGhCXdUz1vJXGGoHCy7PaSU+8kkkXqF6T9x2Qg3DSCsKdddfPs2sU95iq5l4F3pDwGIb0lCTiM2z8UOUlRHVbuydv++rY+LTWu8l6ngSeSpuilNDbfFXg0l7lEZgEYRKR/ckoqqL/oZThU0eRCxOygNkvQVPjG1oIvMiiq7XIaSlZv2v3+u5uaN8GMBUKDrwMdjTJ5Y9eGm7cZO7W5lb3wBLSX/ymjO9NTKp3s+lIkqjxPK+zmTHgpcPTr86Y9YHi8c30q9NKjZs74USDmrisSaJl4lOKjwZn5gxVIQGflvdP1kQXBL6VIPnHByzKOVJsCh+Zz/3+V3apqCjT1Q8MhlWl1v9tmPOMOor1YrOGyhIY5N+jOvuj8b38RhE+mJEKZLDPhPgJQPqcvJ3eJTz1pwHKYyjf8A6EmBkZHJeagmvb6gGDsHA6es3hqIUo1IE6GhLOWY+yqYC7nvvqclaD0FPEkZ3RtXt4bNKUy76jvf8+Qll8dNRMSTAwlNIBdPGSjHiZCgo9Ist8/qLVx0Y/KkS+1hYEOcwZoyo+yK/nI8IZKebVxL48UT6e+0Ij0wH2aYqgjoW3rEGs7Seg8iieBdg6XxnKWMJPIm89zXxpdEj/mwUN7cCt3787OhHcftFy7McBEtCHqDV4NOLgLwvTgCNGOBFdk5JELW9t2S6JwmWN1y1s6Jh9J2kh/uV5AUznq2MFZI3NrR/jDhJ9aI8wxMqv563GbWqZHf+kuIgJVNok1Tu2bP36ra+UcW4mPdrov+AH7PMDYJs6fnSmR09Esbvae1P+9kfUxvyf9hzCMM7ASgdlgCDpSAJbiEfqkRO2p3YFGI+As50VxSHLV/E3K5NOQYPRuW+A6bnk+PoZOg37I5b6I5r7wBsyohwcMB3CbrR6mMJKX4Argy5epVg/OIrTg+TsuqiULnalaYMkGKaWeRwL9UfI+UVZPHjrUUGPnmfR3Fbn3mHKcxK6jNlnDqeQQPashn1cWRy94EldX157iWEk9Hnp9TU/Lnhsk+zHqj+7ZFpy0Jrtti7/uNQvqpDurOyRnlkHR+v3rVPRanvIjICsyr8kVg1xmfNZESBDgmJiam5ETqU/6bvgmQXD/3UfAvNwOvJlf4DIilxyAvW3lRTEsFf87b75Z353c2SqfGtxWApUzgcwM9cCiDLnSvdP5N8x3Ve2YVdjubgUD66nP35Eleo5gmhH3+hU0CLTisjkShB7d/cAL2EjWs4hCxhNIKKnJWztLK/3OqWLSjYxt1o4gqnxevelQ4yreaKmT7WX6hVcEWWFV+bEQapawbNMRdwvhGtNbAihAgAf4usOUjAkdNunZS3eviEsiXcOZx4D0bFY/7phUQ6OEqRYmGyqICiaYs8vKcRAJ1CUMTKCwkskP90AB9xQStmJ+xxXUVmhWaVYEqL3TG/X+N2EnKTUycGfpDJU6yK2jxv1dZz2fwyfdqX79dkip86IL1CfaPZMEUKEAtbP+SUNSF4fYW/OI09FhOicp32ZNyhKSLorE/18wHVoIa0LkzvF1IEs8qr72ILlWhb4AUKZbtmigD2ffyKn2QUmttsIHX4u45uwyJP44KTolZ6wcxRVYzSOJ2Kktl4qTUtarAKpeM6m9qtEm3jMj45wBkVLUjb3F33YL4DOKNVzAoq4sqx+OlNHJvG2cP9FmGaH9TdN0bMRCz5BtdmSOJ4uzyizCvH+MVBcN+iwnjhK5XlkHIuGTZQ5EujAKQv9wsCCR+wE/VQ+4Y5pwANJbAB0fBcngeG/q5oFTHvA9JKd1VPhmpoLr5jJFrPrTkKo8Hqrj6QOj9c662o2+NIry5KRcXWid1guI4bPa67Cn5p2Xr9CgnPMtcT0WoWqJVcbZe1lz80oYhL0KLTg33mwKlZY0/1cp9qHP9/kjz5xbdL4Ce8uI8TCzISPuN25y09rCQO88u9Pd43L/n17pjG0xfPfvJ41MRxa9hCTduId3ujXJsflcbnRDReqdSLYYX/D/D1+XeaOKyLICA9kAA5kFB51BO45UOqx7ljkAbHgp7XF5kcZtkGCTaFFDz0SAEpjPC5j7MDS2koSH0W9Wn3XmHyR3TEaEZjEIAnoIxdW19uKymIvvVaK5U68x/62E1Bsou1rq6CtH3GNmYYizlHeJytnMoMlW2p4HI1nbsbP/LdGSPchvXHY0r7A21y8PZ6UVrA3aQvnQb8S8oA8Q80wxzWcwT9uK8Cs80/VcUK94/Y/om+XmLGgO95Fn9TYEUZEpUCwzC3IPYzPzJX0cOuAGhlQaiM2dcz2jTx84iVaudDInXs8XjsmNUcVjNpz2NuV3rMmDtvCJSrO4DHs4ntpQSN75rn2cE1oVQ22FfT0HKl4fr4UQ2mTE/TI7vlmrBUvfiEuewQ+3cAEziXByo5VL82mrojuZtZIKUex9MulqRkbzAT35b/1Gh9SXfL+Ixj8k+gkhES3Th2UtJD3sKwYolTBPTKFTRBtGKlra80gEo6ghwCaf3WsfN80rwC8VS+JOj+RN7NnxB6dC3g3b7nqkxnFaZqQM+YlL356Vh1bSeinnNzi6cDzkPoKY/INkIEF5JSp89k1mwXZBSHJoPPW9fn8Pq47b9omAEThBw95/CGAj0k8VOEdJCNlJVpLGwcPduwPb5AMjz6NFZbUNd6QxdP37Y4LXJ+soE6e8xEluXTjrQ0BQoS6kms1BCGAPV4eDmARLU7gV/pGrSVYEMnylHmr/MZMTSZqqVdBf6FgQA8TWVArHJdVPK3LM/wOt+67d107AIAu03VUJ2AXzh2uLSvBZQYCQGy5CBeM85cWNg8yyiQHrQQTWsZEhHERD1j/cUmrmuIkCE51yUUzsjLCrQUCnmXrTYq7b4OCxjLan2bZGvajOI+UxmrrYrnzKREeNNGuHeID+Bf6eVlJfCT9/8NnaXnUzMLmTs0JPwXm9lAzErIo9BiCHTv+y4DxvA2iVrhNnwcTMVPZ7cCFQAEV39vWEnvvsM+JyxZnETMS0qTb8i7kJVS5HVRko93uWnkFwsfxMqWE/S/Cw77rk0Qvq6dXmx9rddJbdnCYZkNtVkC522OXwnVkyiwMmlmKrw+jNo3g1IEEuBSTuus3jV3UA/L6wdGES9DZnsajZG0rGU9EqrL5uEOrP1Siwj1HVv2C1TECHcw4cjfTv7pkN9s4hWqYE0TDjxOYQlShQX2/HKW2Az0jv8qHQ2bzaOmYjBPasHURFKKpWAeR3kixXdXgCzwts4UDG2UPXP5HMMCDQD7rFWrq2vp5HFUVP0LPTU476ED59WzL2NI/DPEVyVMZIrUyuu/efMlOzxKro+DE1Ke2MvBjleySd7XFOyA28eRQqfCB0Y7XiNpkiVt47hhx/cQU5+qPUFFREJyaangYgnKUSK1BG4+DnG56giEfwDmgbZSid2iryRLUm4L34zsEaG7WkVSlTN+bT8kIJFhn8sxuwY9ocbC3SGq0ZI3HNRNhyMpvs3HvEnAUA/fcu1PxiAk3mdTKDFYhJcMbNg/z9AYYO137RC1J9F1TXkXFvXtjx28Napxl8VsWoq6AcMWv/bSWQbLMolLUQ0hD9f0xeoCSLOv5lZva8W5wr/ojBugERruKVVjFCSEwvSKKegM9ymNOVVptc2+QYu0Zn1dZOzR/HyL7hTHXVj/u0kFVbY8OKhUv/aLSdXWwaCBt77GKCW9BmT43e/tZ1Z2XPkxS8zP+5zuC09TOYiIHGMf8WXuZg6NfZuzgdTcqPRqqqArlNhGSiYlz805LclJ7s4Ocr4NbTGYuQqEKO2SGf0f0FlOdmf/dU/1O/g9d9CUl1eNeLdgzWwTV+h6d7Iy6oO74e0vxWHrNEUaEtNsZF1mRmfhmyog3dfq9hewDh8WJsFuyUVFGNSnFhPgFax8bT+RRE8V6DTTGXEbBtAJGGt6CarYvJexyiRk8Q9Gz+gAh6q8HDOGWKrwzadEt+3GL+dj+0cD2iHAP6/0cExtmLLwba76lzL92xuxBXtEbA4LvoRvOvFyN/nL6m7+2FJOtD0P6Hd4nPZfRWFVLBg2pezl2VJgwxrfugcIA23FlFs+yQdE2RKpHjdV0Yf8WiOaISIxKJIKwiKfhgV7al/C0h0EsRKcFJ7JNBItjFa7ki61AzB9uK1pHKkFUewK18wS4Va+CeDC8/lK7RMLqvARb0VBc6/CbWY9Pr84/BFlS1+p4hIk4PYjnGeHpb01CnwyV7RbqHswBydFrjwOx79yAXCvyOG9vZUmhPvqb0aS9vXUy/ibcJHmo8ANCjQafEhA9qThBCI5QHkG+Juz2reaLjACNKHlgoOcbS3CsLMgzyJQX2qFU0/BGMmPhZ0YyvrwBE9kmu5Dq/+GaOHSk/0YrVKcmjjNhpSMuqDUT/EeZhkbTZ2XrEitpSeN+VW31UHDur5IRWoemhJnI3ZwX1TIA7MS4pYXIqonXHpdRcyvmu0Wslc36LEpg7BmlgFzS5gMz/RB3FP3Fzn2B0tazAQkDmlCHO71ESYnpVau6I68Zr4P0sDvdia2g/I38/fi7xi2HqJ4nhHOV/0PEtAFkAqgrV0NZf1QqqQm+MszH338VqE2GDI1wK6f5VokpgLIgFv5Rl+uKSv0lBC7q34ICaawJTch+ydKcmKTbUsjPgMAzw2czdCtB/fHAIRQP96Kmt+AYr8RdOs2R7lozYdpnRgS384CRJZCelaZCXuAoaEYiI7BRcaZU6AyspuoZRt53aizkPdGOH/BejGCptgy6VW4rCfxN0HkuIpmpDI853VMATG6pSPlHBUI71Gok8K4fb0MRZI5RJVO8vCqVrG833OzKOuyA1tzmiJEGzNemPX7MGezhxeR2y2EPmulN8Pmv/E28FGyIhSQEGqVJBR/kAEpOtaHFDMif0r7pri0KIKIPZqH/ZFcaSRwdyf7qEzPPjn1bdijb4Q6ICvb+FY3ZaTuRrepMucn3u3oo+p/rqh34jPoIfze/Kq4p/Xz0JPrwS8SYy5BvxgEB4SIueScfEdnkTLo+vWKOz77GZe4Cg4RLYBZ7JUQ34aHKAFB5Dkte5vEwUFrXQrCthx2w8CnLwOf3iiCd5o2hXEfNqiwvAkvWu7D8H+dFTVfefWX6XwP2+vrrKnK8uoNVv1boG0Cys2ZYuns2yjb0arybPqPMA+f3hVD2KtYrRt27AThRPlXNqxc7GPcJ3l13Wnb/S95bUL78uCk7+DkxmYWI8+bQ/NthQl1uLXwvHK72Ii0gTiYgi6YCC1pcOccDsmH0fXNcOZ6+CveRH2OkfPHzzLG7uM22INbz/XPaByC7fJ6B5DPOzUrYKO369+8qL3PdkgQFWTFqEgFdWk46VIZCmxO4CU33FaFvMaAoWf6qTKBCYH54coaRVdnJsO9rI3xl/TdFlA8jGFHvgxzYKPJ1ZDldSA6Sg3ucOV3tesR8EInLCHui3/f4QUQnbORoTrzWvv5Hhb+hl3Z7M+c9thxXWhzO/Bzc8Ad+UqVSVXDoVjDKj71ufDyswCkxmvFsBsc9LY+9l/YOB+V6iKnU5lLyjTBCzIwqlQzpe53JQ13H9BYBFeQjh8B/iRLl1v1gGCqdjMZ8SJpmpP4BAeta5byGf+N8BBvZhW1k/R/4YfBxmr0VBNreIJMTe6j/awwTvqmfPwMpQCbLnziq3sqHB3/TJSnfko9pTan915jgaSh0oEVSq2N9Bhq9GyVmBVWqZGNMgpgEIdn7bQq9WA+bkogNvFL1fwBwmFtBIsFBexGL/AFAFegPAXb+uf7aYRYjKSLch614OM/6+8kDGhAd3u+8ROYqWkhiffaCS75E/U02NGDiQy484Hn88f+xGTYWBLykFFMdWChPDeI08S+Rialyh/2wy6J8VIkbHvyeCyknKMhLNqrdcLTt0C/Bi8Ti2nLIbkWj6k/CiqnLQj9czZU6tn1H2S+5Gsl6XZQ7AV/eSD3cS7+rxbW8NNbLMtfp/f0wmVFHljziwWNNiIHqLHhB4VZzzeuGj6GY44bbgPbjeuozzA7sd521IdE7LxijkfRqCRSZSML9D/R9axukgRrHRyhFCGrvNGl1qqEYnTVRVt/MN+Fqy9nZJeN6s8uf0uESFwl6x8a98z8BPwMqmYRCm2E6s+RrfGeX8Cyj+7IJJ/mxOsxCPpV9b8E1mlLkW0PmNVcBW2qJ4JwVRoy5rBbrf0fuifC8FmwdP50xibsMCompaWPzRYETNgOBVjUvcQA72VZQ1IAMLX0uG6JFaFPj/rNroSyOz24V24sERl8MbEveciFzIgrH2WdSV4U4KJ+hOd0iQy8OCag9HgX2YUiUKS8Kjvzg57KqzZ4+c/f0ruYjpANpu2EF+AFLi+D29A+eELYEDVrlLZ0CaXIys0V8t9nqKaocifHTXTz36CBezQAGgxpoF8zAMyhUboLS6fQLCM9gHamXsWPtWVa7Z/21whx8RGUlBK6JbaiV/SqHpIHTuxuor8X5Uz0zwaigX5BBodxEDjtXm8JGOJ8QvqVjfroSx97drOBiQmxMCoXAKIz/g9PUUflt+iumbn7M3duE0/5w0mtde2sAHAusIRMoZbKpT1y25YR5XhmN7lOBWJQER+7iyDf8kbLSIRhHmQq2VsRCcrVfj/wwdBLxsfkyniBEyaPfsHd63Wofdc1GZLgAJ/1o3/S/IOf5+5JEk3DR15FcsM/N/2SFWpo/2P2szE0FmuLpzAEoCoYFPJz5MF4f5cbfOHrBOjTnu2zSSH5mepB5pHJVNY7cVvydk7a9NeDjsqzt95uGW5BoCy/M8NdeC4iCb6677DTm2gniFZFhfjt3SIarefjbci0NDc6xf/SLgBhYa+reekU3F8Zh/7zPsVSMF1jVekcV9DAWmIhmAw2svBlN3atM6tSwblMKm2tMP5RTMcO4DkvZjmnTaVoRsDQaiaU5EpFGoU2y2nERlSCPJV+5oc4hX1oV0sgbufs+/0L1QaDT1Kcb2i4P6iTgsvLWGTTiFF7CRc1qdetHDMgcrLdZ0t9WBLsgl+Hf3jsgErpXB0CTwr0b9bqyHHItoMQNyrjV9KNOTi2C2fUH7QGTC0XkD7sxoNGmp/Mpu5oIe0qvYOlhAk7fQxwzeLPkN7J89Hr1GfyV5qyYbdfFyOl3ziynRpuMEtL+lS90nq2GQqcX/86WJFK4Hzn6BTvynakObv9uVIaaAA5bylHeZGNZnXED8nkiCsHhGWEcs1dhio5TQSYc0RWHavXri24gPKiNQqKWeZjXcCEGiX7CHq6A+j0GdmhwWrM2ozMndIfdTVkLnLp07ucUxPud0SDB/v0uYxGUw4yt6d9YWIQ2Wcke6elp2gQoLzzrizzGgEU/LemIjpPhsDhM9gl8FsmvMDLCKM/MG1w7OL5pIAuiwEqeYDHVvBlHL2vOq543Q+hgBd+4/13jfhXDRyGbm0HBJm30GWSK3+su7qiMrZ979971Gn+MWC7GZWe7URml7gUwy4UqnooF7jZl5I7rzwY4xKpqLAWjGPI+oziV4I6XDkqCU0MqryYCtdmyZq+8YJuJv+qmAYSXASKmL9G0hxgeIsohw6tRT309lfn/bEDgJE0ZjP2TqO+xirktkQxaN+8Bemuc3fpWr9Dyyc6W1LlWkGhDeErXhDZk6ocglBKRQXkTWZbDOpKV6PhFKEz0/E0ICKjK6Erd9LXkX2cDcsIhiM1H1whm7UajKWiSj5YBD0F2naRo8WmugYs+1EK+cPp5nCxHpKYBRSBhlp4yPNl16P3w0i5qe/zD/bGBArbxDgsjIu0RP9iwn12bu5irGM491K9ntaLkRpz2rpB2/QGiD1M6ZolwHroL67v/3ZVrdOVu6qHdLEe+i3yYbwOD9ZSpCvp1G1B520XMDDuR2rw/fQl8rto5cXaqCpjb17C2xb6oVaUwx5vG1QHhXwvgkIeNzABhwBKpUWPv0LJhUnwpN0fye50iq6ZBuseNn4U0NzNrG1N/7lLAXLdZcs/zO9EHkjPeMv4AARd9IHE1XS3eS97s3AwThnOSMzWftX6bkU5jnDxklPZJlJK8Y5W3WfLi4YESAi2iRIcLfhiZGG4dhNJnghYHjlNQlcbcTqwZDOHhyKU8Iu/16JE/YsIOBRq5WRA/7hFMGxqFsuwlrf029ks/PL1re1eEcO7d//L6YmK+UawtdYFwse7Qw6nK5yBTyBn0itlW5cvr28JBKye9qw0nugDDLwzMBSHqdlvMcN7aYpSKXuxUl01bKZPa1Hr4SebBHhIG3GcVrDg8UQ1+ySToe6cLZgdLMl1NqRL/MADia3hVX0x5nhcjUG0UsisKrpSvhQpmjYjar7yPGvRHIpuqLg4lGk74xuJEhfkiw3tKBJqQ4vX/B/W+jXWKjtMBD7rmPCDK5daACwKVhHtP2A1DbOwW8rLz6fTGat8O7Heah+uTuS+r6ef1V3WQ9SDxwO7m76U8sGjNdcwC9Wkg/Ww/hw/qFqtMscLg0P9lZjhEmCtTHlwgXSNHIoesbF/aKG3faBztlQBw5EtQPaOUfWeFpfEr9kPtCOcGfx++P8Eb33aRymf25LkvG7JIUdEotAD1ebP6/FiaikgVaOURFapO/J/Hj1PiIBblAZq6nbCfgREz5o0dndkQI1+aoxhVyDCpuSdutnLUIQDtYsEiWtqEwNROV1PZHthShS3JayZ+6P8/kHvnzFpt8MuqrGm/8GWrPUYsnntxPmm52XaNRFHV/nM7vzxOSxHJrikPvtdRdQ1DL3p14tuvTEki9ozkp94TKfZb3FzrZCESbsH3ldgAP5TA7PA25b7TUTsxdy3p8EWZQUoplI8xSvCKXM6uRmj/ckTqIDV5K/GI4Vf9n7i6Rqv02cDpo3hA4pEsv2roGfQI5EfFk/pHIWwpmE7Gsn6SVVWY89T4Qp1XD4mjG0NEpF0QQ7HD2VjimPwM+FSJ67DDkpzNv9iwLldqcbZF3ZmtjGqbb/3d3xCutDHlvecDXIncog4aeDS63j8QnihsJYdcReiyYbn7MGS9ELanwdzqg0m+/GAHRg0LEQLw3zqRNlajueRDqmR6TZ/PFqXl/3uQ0MU+g+F/IZTRM/REMPYGoGHFWaJ65SVBC7itA2/jom0FDRfcj/sBsjZtntEKX46AKlOWQAQTAEODkUU1PQtKNMnQYjWsQStc/KJatzV6/JtM3YtoLHNmD7Fk2exLH7w64LnafBmuRVDVd3qAA7cWDmg74sNXNnb7WPzG1oaWp2HTJtFhxIjChbcjevBw3dAYgfdL+WGirbHh8qIA3cVOU5Imvcw0+BL3Taa70dpAT4z7RizwBuLCisJcyHlutHsn8+ErJsxTdOdNWhXWSYVtdliOfyyOFuwcJuwSjBo0YXQGBf71mhTwIfpwoWdAtglJLXjotYB+WsDy4S6akaRJ2LtfixrHLO3yVgBW7blV50EceXWMEhbOYMjlkuK0shJA45JGZl1vekzKAoUunz3PauG9x34NXv/wLfbAvOoG2KJxdyOfIYSninTiqgGeHOeBPE/bH1lDNJZLuaotX3YWUMWr98UQRE61h+u3TB441g9NlM44Nst4IUssVB7nPD/eTajwVzY7ZnOQdoiT1a5z20qwShNSCDKjywowMePtSi2uRSzIVwxGyzyaKdQ/kN4mH4BG06oqzBYDdCP15/IN+y1V5TfOvOSbyzKyHsQxsHKiZACvr6fVVWSSQ4GscKUsnNVVmt78bMaP2N6kdUbrICo7TrH6cHG/3Hcuy7gN9CgNWZRfzaO3n8UrBt/bsqIwjNxDuxVG3kWl6i/pbWGzZHKA3upHvU3q2eL2kEbXMyZ8QqUmSsG8UUxqjnyN+mmxjTt95jhrLJarTsE4bgWKd5FF3NYx6cxbYjVK2KHuJeCnW4bsFFBi0bOP7vYYAht+wHCqpApV04Wx6GFpKjU3d+QeVOLfVRQjYQ/juMWTrB4RicxqZZFbfnl9anCDfIKwxpJqtL31wSBwloLZg954G57QyDL2OpCELU9PU0azePDEmSA8FximO76ubdboAGffQC28VnYvwepW0LvufWhvU9KpLvVdchDKJeGytiJXT3Z9ilzg1lRKE3D4/SNlhn8i47AFlaZ+sJhscLnCeN6sijguwVdC95mDSDWMR7OviTAzyH0yb85fC3T9h5NnPBXH0TwORCxLqOaW6WHk6jWAwZEd5jIr4SeTL7QmnvKln3NN8ptIMBSbP33vE7T3nuNQGjquBEP2SMWHCaoeeS9I/t8cKkMXrBvAWbkES9ZAhFTHHvQgdwwLSwVv1L/didEOvps7sgMOeMsMD2U04E73mNJLu3NFE+K/OQLHpU0XbthtmFxUT2l0K6vXRNWihKCo/tNVuZHkk1enofwzzZNXCgcH2bczkj0TCFkRFt2LvYmm/3Ck3eSoS+L5UX4nw28H51s2gHL3baHNO3pEP96v15mnQQu0ORKDKT8GN68US2DELjqHddrRXc/ydLjYWQq5HDbN7Z0MTBDkQmYf2k8W/tAXSJm6rM3hvabIPAc7gbhxTMoCi3CfTmrEsaVvhNqtYQF0Z8Pfsrd7D7w39iIO2TrSZciaNUf1G2E6hdopfzgmSxuY6Gln/ovz+/MiMxTiu+4J2Vk0xY/jT6xtmuBrXhUwMWJl2uLG4y1314W1ZyAis0ssmMV4sjv6mPc1MA6Wd45VfcbVA+Gk44YELZG3zeWI5a1ju9Bh5dFFlituDYJjeK5C4c4Rad6AmRDItgw3dvXuZJM80slvnfT7U40OwKbDVMlLs2uchCaDsKfPkbMiGT1FG0NVgjlLEvOEd+weAndypqxWyFCn298LPLgXKUKwrS14Nrn8enBr1PgCYlQ3zPmsQE32K7oJjQzJmP4yrAQM0oEqF/1atYHwoapoMKUDf6nvkVO2Z4Zhw7HF5/cFaB28o371wCJKmB3nC5dEwqHcCHG0qvrk6dzA43OMWhXi6DFa+/WMBvmeboPZ5BFEsai1fbM2HWtd2EdTWZaCbDVNE/OFDxiCMmNOvSnCUcPvR/HtEoQmeWiM1Y7l353Rf+Xu/PBd9Bnux8wew/AZuSnKD0mJVtCfr1yeRjDmwc/zGggYUzPR0yGHwduIrziUBT4AV7erCSiM5O3DpSnRSTSk2ZBVKeRIS4ko8ShOJB82hIWry+bp9JTj242a9KOyb9RO+eokjrG8YyqjzUHRIgjMnfgTCYFIFgNses+svpt8bsPrepSQs2IByHQwPh5NtJxyjXEmOeUkgnBX5E1hJIiLyIdA6Uta8w7Dcsy4UsGhYJ2gf0QLiAgTxB6J4a9c7GJl8aix0xvIz1vUa/ERhZIW4kUd2uJrVvLnkZbpHAf6q+U1rthuJiBo75TzWWr0HSTvL75DIIKhJPur5b+ntW5w3x77cnE3SfWdJXGLPItY95FhqP7UH0v3JAytrpHHbFHQ5OK1VngngHpdgccq1GkfcSL22vGjfV0R81LHMbo8i/ULy9+fGuMJMxMyCLaqgqhSje3pyokxjmkPRklqBRCJVq5ibYPm7funrFAieGcwY96Gzvz3/BdFSvdas1cV0rnXCSB2Lfk7t8q8iDBUK4rQ+gB064Jp44yjVaq1dWuhdzwY4BIU7qMntZ4BefbMRhpMxXgRNFteHZvrbw/WLsOkyM54tuRxgPVXvvBcuUVc6O48kXqc+puiD/gMlM8FTKZCQtIUvJYPEtd1JVs2ffywNxCrBkRL29zABDmt0cfzJrlhgW4l07eL0yyleb1JLAL9ATGaZhT73Vuim3f2aqqxu/5nESIBWcfX1wNAFZeIrrkk+8+sUP9hczBhYITMFLy/Ow+ipemNuSDuoqEUFjVsVqDI5q6LRNcQBxeFVe3vBFltXrCqHiQf4le1ED2l2nOnxkZyRaxSjkxcp5H6sFJd4PDvqpe/3g3eDwwL6r21vhvYQi6/Hxj99xEQy7Om3x12eMF3dnshKALwMLtGaH+kOtVuYqW3uDaBkoX/6NqiuhLvRdjzsuDPRz0UMD5hWbiPlA/N4KrhFLJFg4ZgPSmFnmcvpJ7/gjO1OuuWsAGsIYpOMImvV8gYYKYnq8GevVBjMZ1TgJ+sVFy9GZG+W7UStjTmIc8vOdjOV98qL+VrRT5dFbgSvT1vtYH3FDZ+mUfNYa50YiUHABP2uo8LYuKLq2XloCMGNs6dkaxw+0hK2svCgRCLlIINaH0sYeLvPHD8Y+8EJc2ERqFhJqXxeyEtCA8nNjvhOONXL/esnAYU522TLdGDmEoG2bXvRenRQLAFdzLWqUDrI26lkHW5Td4+Deq5PR4bw7Ba1wkiDzMGjZdTG5IY09VvW1kJ27pbh2Shwtv22neUuf/beCLK3GB3MeUNQEqIw081H3KBbF/ek3EBYKYkYnJuYOp5pVyFJYi6K/Z+NB03Iwgaec1f5HMXPnrKjIvc3AiVitRu0oxXiZbocT+x26qVHP1SHK9/OlX2goU/IA5mqsK55q88sKMkxWDPDVt7U/QnvbunqodL3jcTd1ud0KknunPfWrNvhSY89Qxp1v1/KEvLdDGn2/IH3ANxMK8U+9sU6PBHgUKOH6EofXXOB95DYFLuNbZK83AAfk5c9AbPglcUJHKXktgddplSTJaLpbRJUs3Gfqw2q24DFNliERo1Jm8ke33T09uTBzRXW+zs3xIIBDthjB01CkVJUem+aQB5iIRijJ8uutYJXM3oOt3SH2tT52C9uGJHnIjkydxuqE6obxnrgxA9FoIhWq/3HdVVYi1bGbWvuqqjdegRgGz7InVAaCMLQUlgg1uSJ/n9rW7L4SrO/v5jpqK5oTBQvzwEljaiEjX7jMbP1lL5tP2Vbqh3C5gJ2B5ymR69osGY4xZjmKw/ZyvOrELAiI1j7mFmNbHBcApt+Uf8V6an6qqEj9eFu3HGeYPa18S8uxenr/LwLItfsr846qNTa4HaVufhNxWNOjaINXyF9vcYPRy635kNduP2+DI8DXqHJ2EfjdKxQsISR8msG/xoCjjsvJTt4/ucmetTDRWFVkej0+YCCkCL1ncnIL8SARWyKEvNAmsrglzA0svFhbNz6dFu70UdmfuXaq406cb9p2jnv7Tbr7Q7wuyaNKHaFLhpoi2IPqvdbvNTUHA2+F/qqfF/ScuIMCQ0HE4HyD/27xgpE1Z/zsBLE+BgixpPYRLtcaGGwhsl2QvaZj3hU54pWsEqqudVGDc4il+iMMmgO63w1ShXoxOZgsVyuVh+2/KLTLHaHxoub6vsHtZf7bJ2YDDkSvJlwP6k9ghZYZMPZ1VR6VBFGaurybjMtuoWBxvian9gyVbimDXrxZI7xW7odzhwlJp+Bc1qNG1UcHpeLNm1svK3u44Zzm1n1/zh4zdE7vIqpm1/ifLWKAGV6/CSwVLVevZ6m3wp8QLBJocYwMQLXDglSGZPvlcgw5fqNI9B+gbV3+lGyLzmf0RDvDabtg+bLH4IcJymE6kM62TOYd+Q+C7CARZvmxuMluyo1hmfmTa68MAjxlFKT6cNR8UNYsHxbGHQEDfGetOKs0WE6Dl7gBzDEDoACqSDT5uAbP+uI/fEyU67l5NRRagCYMxFh4ihTgyc87opaayYtJ1uNC5QttcUbWCrGoQfRRxFOWPgQAtWVDHo7bwcX+EhCuFo/GIwawHFYvmcdLG6ispM0bxiglWD9hcrbk3pMEo2cTzWmlNYPmOmR7UoLbym3m+haHQ27szvBWFyDy6hSEfB9RB/ybt4YHwLN7LA/U/n7M2+NTTDGukfNR1hNZ4wYwInNYTXMHnCbe54d3VouLOy62tjMNDpEWukCWPca1pFRmdZV6lcGT24BKjs95BPP/QtZJxv4R4NjBnML39wNWuq9oMr3rLR1owL7ysIxvovVmU7fVMvCrkjpTZ/v8u9rHmUa1QZO0qVhIwZLVXgk/NNK0j6qSPuZnrgQk7zui5kA1irFk7fwvXqanKVQ5KwLnRHDm9wcajUDot3HkJ1j4YQbioAsaFuyQeY/zpE8q0/3VTdFeMRuZVs7Mm0C5OJJa5ShiSFDqdTCgICTAp5d6mZw4vbt7910npJi4Fjm0eY6D9lTrJODPjfX+KxNdxHclxPhRZZ+3LbNioQjbc9iOajtPgAuysdIQfe+hNOLsAfuhn5kd2O7QNBDp1lVVgCc0cEggAQ86/VkKzehAFw/nh25cL+vuXfV2NTcIoMO/2eEIv+MhWE6jAKUi2FelAzc0KtA63LgKlngdNj+9hlcwRjcYz4xv9FYJE9j2/gzpjiab+LpVqQu5pMoLQ6b3HFq5RPJ6UOWQSq7gOBUjZ5o6urit2occ50SRX9tQOLj4E3YWnpnjs5sMLqpD+y9pVxt7PsNt9j4+ZmVdzl99vaqCy+t5QCSgjUIVNjWmeQubLhASUz4BqwS5Bfati/jDxnEj/EXVas4VuCOonIlMUpSoaCR2LsrfcxlTZwaCHa9eA7O7/srXeziih6v3yIkVCo7C4qeUwYcKcscqpIzaHDRSgmA5rwcm7zI5qQcN5ICDFDanxNHSPyW0AQj9cZvXoa7Y5atuf0Hav87mRSR6z1s7IAaNpLyaab9a89iV8eL8pZS9jQ/aqMr3opeTaUg85P5d4JlTN4hcoYIcU8nZZf/upuflKHHbHUxQk00zCcEKw3sue+CEQIu3gHkF4I0ZHgz8ONP2IJZCrrwD8WZ3OpyqM07yZTl1o/REJySwvd1MToy+TigB0FaAXYrJQ/oYHvvJBVyK9sAdcBtAsLErLoyw9O3OJ81cW+WvU6Zbms2TImsWwGFTvk0zzuZYEGNSm0waTnbHcTYS+94jW31xttPTE6BQonvCE03LiBHLcTfD7U8LMcA8LGYd1dDTdDiyHwe2xEO6PNOFTyqDzAeOmw5F+M+5RuASbULEQJewxXrZd488ZDH7oMnrutLvPG9Y7DJT4CnGib2gC7/Hdo18YE8UK1Zowt0sWkNUhj5Sf8q9/bCQrGdbiw0B/yDhqYs/S+ag6BfEgYcfQ7/THN27hUHH6YuzpoEGZCLaXPei3GlxZQb2u7Yz+awPp6kpskPEyoa75kvjkWYQI/rUGWspECg2IAecNL2YERTond5K3ABSsOs4MZI/jY6EtU0qZYU9IUeDGYukvZ3bESRYal6m9/erY+AETU35PEXZG8HTgePd6NoxoDPbT14gBrrztsct7GI6Mq1VG/zoXG5Vrx5qa1XDuvCqoVCNuCjty3nmaaxZrLKNfVnkreKoCGmr/HDgXKsxkwhbhlRXQGdO/E4smyCLNfpjIpHD1ut8bz/VeyoASKnQ66QLUCrCJW+7PIUTVxCI+kbMX/ZxPH/X6HSCy0qmmsjJbLQqt3TnMGZdtO1vWM7HFmKQaXLNJmj4kkznTwjRY3wT/wCZP5qhJfSby9psQ+yQJx4LUdK3I5Gg3XuIR3fsubE9z7XShM/UI1fmDVKj3hK6w78vLMs22teHHOvlS6gwNClBDhUbMhavbTbxnyeb1JzHExJBTtenS7T31LtRJxBfdDFv0Zq1nR8KvxLKOvWsWLMP5vYL6aZnK7EBhgVAFs2Sen8kpkJEt8JLsIz/02kHF9qnhY3J+9dU/IbVBusbZKNgsnWfsn1UE8ZbuEncowbmgim98QkyEraDuTYXjpTlYYki6mYONXLxg2olYHPUpMleHveo4en5u+EjYF9yeJlIOWJDqxaa00ix2ixAvLZ3N35HctmLt9gVs1hII0nH+UQZ+n0k3xZOE9YblsjBI+Hx5S1Z88KY9v3z1E4ZBUMQTNMlBdcJlZM/Mh9WF97s3s9TbN8xMHURSMRN/P6gKOnCeDgux8Jfx122t+kP+hAucy9cxAUeGghrwGxmyo3cYqz3we0HrJw0LLlhjx4RwSnn7hP7lu1ur4lcY9ugR/yS1vz13+etyRggxjIJPQHXsLMj16O4xrzH/EtL3AETFlxoTGqxlYNP+Spl7fRLihAe8u0BgvgQ7xgtShL29T7B0AqXwEq0jFqLQr1LVpfLfBvEgjP1SuaUdkpqGl12Mk4KZUcOIuPJYy4Ybg89lTWJ/V1GONy8DBbWGIHE+5TO2WQW+VrYw65gZeRv3HS1K9oiM27piAGuPVVfgKhKM3D6TgFBSfPhNRQ7nEOqTrFStClTQmEECUvBh72YE3vr3V5ZZzyyZ9XhZXkyVW1gh/NOwLcevFvqe67mapeCMI7WlGsOvV+RRaEkIuPQV6LjrfxxoSYQpKKqCiyG2mEoMxTy8zdn3J7oi28GvBwB+dnEdM1A/xhVBlyrDzmApxgZOvPj5biYIlMKO9fLWSJ/DB2muHUfSEoths5Uzb8J9BLUmOs9Jo9mkL2swzSEGeSL2bzFj8NWRc2mr86nNGKYUUhPl+8iQGT/TlUIx4fHKMAw9+WasIvpBfI3N3FmCZpnhZpyQQylljOCiL/RMOW1LSwAjWhDiZygT1WYJVnzUWTkS07Gwad5WShZyyS5S4uW5XljJrnwYs2XvloU3xZsO2dDz8ngjhCPR859QmAGB++4XPZ1QLmOpOBoyxmPlQ0qV2ydQR10LR8cqFralRqNUDnTGHspPVa5v4aBuWvHw9uDIWG4V3sYcO+/k8aHx3SeGtnKqbCk+22NI5RXSzl184k8pDRCf8DNrEVJUiAO0EmeaRdroY9IdB30OU0zNGolutQTs9wt3c4r2GDsXJnNvk4GWn4mSRaSSu7DcA9OpSninOH2x/o1uLXkc3u4Jc8SLE/m4g7zausxacFOA1Au/O1vzh9lQqzksMiptg2t1hHApP48McGI4WYmtlO1i5Qp4PhIPIJ17lp3OcSG5ihF9HYELJiBpgFUOMVL+En7xHrpNf3wEbApmI9T0aihoue6wPgMlWWoI3WXg7MoA4dR2ZJAxNQpyxDbEIUAQlD4NjEx+sk/dVVTwutbNyIgqb9FglEZmA06Q95aWXk/I4QzEEqBHZadcF5O+B8ftDtvFvcRjAMw+uZTyls1Tc4S4PgxAK/1jS+Ndlx/njdNT9xPlLhJZwKFqmgIbC1jfz3keuWJ0LJaHjQcV7Lx75AwENSwPnSbZ2e5nv4lONSssbWp2spoZLknNDelPruq/Ph9RjNQ0BYmoIjFXtBTW1n2Ps25a+rYNqZ2gBpkw+CC2ujAi2U9fy9S+QEr95o3Okb4upsUKwAe0GpwRlYJme2B0mxw4kh8hL3p2on7hXNyHT2FaOYWfGA1EfpatfGNAPNcdN7W4FkNcC8xY7J5QA52HLyYZdAbcqzZAtwAl9QyCg2UiJPx8MqMYzntki9O+SjSSq1n2Bd2Bs9pPvct8xm0MWOnb9F27OSSbssuJcdHGT/Hh6Tc71FT3Urdvyx5YP+T3ZYiqZZeoWOw1oxWCJiba7tT2wW1FE1JCr12M8NMisNX7GAZnR/ljJfbP39Cp8qyqDwl6vTXFSsOBHD5oDW+m/qrC9TbQP1sy2ZsBtgdGQdwHow/K6I5d3d0G2p1hyFdlDNKYckjyf70DilfIl5Zyb43Vh2T70FG6IZOQLv5xezK5fPMLdiWsvYfDsqn3r1FRhoaQjfRMFOiAgkcQrVNvkHfF35nW2I3nxkCGXsMoAOAFlH1C7HmCvDotseK2VnUWa9gKzbZ9LLg4vPhN4YNN6Rkyx4pfGodBkattVuJbJQ6zN4YNXGH+j0+/+2WH3KqUzkv6eT8lJIJWCi5UEjvPKbfYu16fT8XMxB7beuWoKUqdOCPjQmh2GnJTKWL5S/b5U4KTmhKOAOAI2hPy7jXMSL0kcjHyFIDhKiouQOW2n0CffvOBO6vmVpT1iKK3z7a5t50Fb8+TqsNi91amKImzpLgUVKMRh2/PmCuiBxv1b6W2/+AksARCILpM9owFATLHUcj5Tuh2DPySlXQWCVDcmZZdbM4RejMyCxTrJ/0x9ouGwJlK7y5lS8Fg0GcOii+rKqA5VDe5Ii9dyFPpPb5bXg13TrbdS5iW7v8Y400sFW6Qq9g4ZupAFngoRWf7C5xwh7dopZz5zPj0S3lHwzpn+JCsGNhfs5e6NvYDjwEO2U60jlzI5ayqR/lH7S2AeMFnMIToqW+Sv5LK+pJ9PunoRHRzIy+36VjzsLVIluid8jsPu64mD2rFsuuJj35CC9ogsiHikj990O5GpO+oEgrkCXem6BVE+erFqf4coJ0pg9kJTVK9D3MxORgJYd0Me1BVeWxWWXBpDTIimdTtIOOCJnAT0KbS/SMYDjMmHGEkcMz95z1fge1ph/fNz64gOPrazAujuqxJnbklvU+VmaqlMGf12SEMveqncUcsFpcwJDUUATivMpO19bMY6XcjjaEJt9+lJ/8qYDWRDgTtK3R4r3bCYfI+hIEddnhQiHe1frqj2I+QNJjfum39XETEi0j4RWtPRrZ7BDgGhFump/3aVMagPCiNsoIDmX1HQ1ozWXmhbE0FvdNY9ZgvFA2HNxRTT1bVgWL1UP1xVLufZu2nxhjRVF4NxC4xOPB0xd5MzIM8AQGJoQjHeq2L8QK58P6Dbqe26KV9iVkMBcaJQ1nFETBA7Ry7bIwnVgxUfCkWZ1bFRf9aid11caTCR1+HwSJ6/1Ax5mQ2SuEL6fLZXBSRomh8/XLyZNXcOmROHWNIjVeioyHYIjeks+w874/kpLp8pfwu9jPgfbVZc35ZGEVrfDBLVHGOkfhBUHaIaxZUfUOpMivMZJnglcPKYGfClFrwYiVy76yMUkKEvla2iEre9lSUYZN/StcO7sPZJE1GhtEdXac0W7PvSyoeCVxTXFpFfWGqKqJaedwglYQw7MlrIqChMdhX9Ro+4y6JUaVdQLoNXET0spQ3mGAV1Ji19myvjuQ+IOutlPbDpGE+zUlK69aZHDMS7Zp6HIGi3fKKIhGBSxvzOeOR8X5bDB7M5Z5dNAuzLh6OSLLP4IyAboRGIXZOjszZ677mcYqNxstaLOKFumNpqdRZJynRu82bPmodqDs2KnUC0RR8HhjrYv1Zk40H6N7M3QkdH1JtbzZP2kVMUPsNChyemGQ3HFYO+3j9l3gyddFW21wrmbyBG4yz0wyWB+QuX49lh/PxbvZxlTr/lXJx63+CtpcdIde4EmV16P52C0MDSjYmAwMcG4gerXhosmUkkq94+ZRAdVhaFRTzOEeAFRiu2u3JTl+k6Dzbz1zxxVjrQwDKr7bNHdo5TYL2xhLnRo0dE1QeNEcITSS4Ae/FphifUHd7zAcXcZpE3GUXnm79h8Q96ji7XZEy1m9O9//0CuQijG8DF2WezqrTMqrriX/YZ6+/+YPN1eDNNNK2MkrorpwqLzwS/ENbbcgsbHQepRXdgczCJOCkFvozIX9Crdt3FmLIphcfF4bkAnd1/haSxYCQBA6YQw367T0TLTAxOn7+1YOBzm9/qRpRoec8rCcs/YpVsLLu8PGugi3fdgFOnL3+mchqrQI9HAvNZ94C3xD8tmW1Rd4hIrsjRSp/RvoPtEUuRCmjaI96aDinF7D6NjOxW4cPemsrcLX1wFvu2d7snHxwkPum7zuINHxq/kA/esBJ5kFtr4CPlKIg9yKl5fDELjr8Go+2K/i+CTIX85dErhODs14j3zJp9hN0VR1rt95HUKCYjg+BhOzXIOIB6W08/NvLjjB1NXwl+SNeagio4kLleR0PdPzMUXaVpZLm6DDT0wyLU/d+F7+Dno115UCS84L1zcYdfycCLuGbtt/vOWAUBSE4VBfFdey1H0I0tzDzBp6Vsbk82FvhaycYL+cPoAGQZ8qJkmOloCwTx5n595txDqn3HXfRHCrjiw+FPvxAgTvJ/XEa3mQtmoEcgEMwTug5Lg4Iv0lVjZwO3rcSkTZP+Jjul629avooqtosx6HI5pX4LW+7JvaikxmDpZip2TJohhz9et2PPLHIG6+S4hUoEOzVfdypGkZV2WFGaSwgxqmjbXhL2TgT9NZTGEVjLUE3lO1J9l+DR5+czu8a4wdK6/52lQemr+Pkg/ThJlWsckGzFDaHyKE7j7A8aqa5VXfQbyz01WDtNr7zpS2LhAuuiFPsK+Xo8xvlaWC9TbHgXXeikifayvqXtimNkCS8UP10DhyaeF8rFNsv+bVpV/42ZzA/GE/zX9UODOjyGyrqLlBbGpk2M03qcGT3QsB3LOy9ZyuIG0TuCChBAL9lIwmTsny7dKigikO5Vfqr1/SDGYF+/NFKPMEvrW2HFSD5Rg9vw8JkYikgZCQR/VwqIxNiKAlF5OlQOzvoO/fI9Fz1lEFjHWbGIxbTYtl2Z/vJC/g06TFiGNs66PQWObrqK8tBBH0Z/3Hx0ViyklWH1dD8EsMr2FE/yIrnnL9FzT886STQXPbXkat8tj0jYWhOuH9zxQ8JlwdJM0peIGedYF4/IDDnkRttlZiUOJIDPg2OUHsCBQB7KP5iH0CVWL8YKd1DK0P1PuJR3i0mWLLg4ky3LjYYfsVAX23lPw/ohzdYjfdEl0Z/nc4yD5VUDKBItCASLP4gqH8w6vd4YY8QltoGvkEPjFBVLatbq9xj+StxWEPzWEwe88VWddIAyZ2AU5jUKnBgywzVJI7fYV4FkwSNYxFvbZQasqvrmD1ZUoroMqXZUqs5N1kjuwBjOv3kgcvKbASyFLkRMNJNKhinoiXSLAQ3NIQuVC90lMhZigptWriJVHfLnpJ//QvTmom9gShmSDbaUGEp/dPSfJKGv3D7W+TEDvw1zKBks/We0a9l9VQt5M70FebM/unph41tyLEqNsUB8HZKBxdN9iXKlpptdTlLiBw5yJno39apbQAvQ5o6R6fyBDzkGtp8yBmppzI0LoPaTS/zoq4WbB00vZ0qBNfWgoceL6KdpzYf8Du0Z9d33HrGJXK3ANqIlaJjbxv1ZwtlerCoi7GWWGciJ4VNGDWxSu/wzgNLkqh7caV/+HHI99CgAzsjgx9ITb8SOSC4ZCOFQhiD82CYl/YlCKrBSZ7jk/w83RQ3msSHbz0oGTLnWFsRO1NlrVA4pFZJSh1Strep+uy+jmOfVOHQ5hiYPivpHIaRJ8vboTcJ4t4Yt0IjYKXREMulKpitdprI7RLxbugk3w6RdB7CPYx079hxcI4mU/L0zS6xiS0cSZZkqmXKwFgUOu+r7y6LeFGAPKTEEMt4JlCAQWeoLt4eu6h6fPuvCE3+T0OKJv9IGZ9A59vE4P3EbW3dwRBpleQJNIfDWTf2SWs3E6g2FyNp5cdsFJgPf73Pw9FCKIsshjH1vz6UgchmLRfmN/+kjbaecNgdiWx+yweY4JRyGBmanRaXLS6U1HAe0PlY0kPQhAUXfukJuaOefv9xOkjBQ8qqBcEWVMsDTn6EoTXaSaAEMt3LD1MNvIDqKiZJzHopqt77StrjqPsGTSVA+Fn7DyjbIEWwbQw7bT754pwjNXDouUH8b2e49utcvTrrF3tu1zbgLRZl+xzCG6JrL0lL/uY6BqoVhkcyFr3E1iPDH+0roO2E4dT74xssZ3fD5b4yyE6XIZpa8353vUMFt2bGtW4a2h51slP4bAgtCGwOkD9szoKDVJ8x53YY95vUjq5Jl4xclTeUB4qmIIQIHB/R5ZNRLUFubiGmB5O4U0GFLbDMtcSPq7ykjH8tXvu6nT1nUKJEo+pkgIbSsVmYUd7/0DiYUwLaOyynmJpCL3AbTV1fJs0xDIXwSF5lhSwGILpdnQNDz6I3DZ6La72l9XPSL8zC4nzhZqySTBD2YPSLYIjVY8vDoLmGUoewdhWJogD8wnKQu+zi7cx0MSciqbYRDKzAjm9bliS3qvZorg9p9AQ5y+87euXk+AxKGW+X7fRIBkYpdbR7caKnWkFvnWPD5WHabxwMKTzLVnIJJGY7xHpPfoUwjB87QQ0g+lBhELgDVyUXBQAhdqtn6d0Dv9hkpLsPqC3q4RSsDrMUaWFycach6WItiAhr8AkJa702LBo+T2zULUWmE8FOELPOSIf5evotz5iD6w0WTZ/fEeQWEfLv03hgX5Nk7rsucuPiPopCoKl5apMdynSoVxhb4WF3HiMW0yRUG2MvjUqw+9PgvvJKfMPWCxGQOf/+CLstw0HwBnnhQn4nTouQO12UBx8C38FcZJ4POueZibFpj0lFooU8nIoZUThRXayEmDwPKlXW4mq6OXp0X13Fp02wX3Sn1adS3aBsdZmnBxRxXndXofGQAuH0r8vCS4tUZBTJYeY78eBSN9YEKSbu1ADVTgkLUv92xZqjbCkGPq7S49KulW4usSkA0lCqfKiudzOXl3iTJRA240ZFbUlwQsywB7DuzyTokqLGzH+XJmpQF3XyoW3kKhqtt/96rA4UmsbLkpu/OiyCUKQeg/XP2Kx/GKm8PrU6Z1kwY05RWthdOrCAZB6zz14gmMbIP6/YmGaVCJyZtbxSbMe0ysOSf2E2CD76YjKVvB2U7Kc5UKE/60bhYIMIzwAcLjrjFp1XNMg7xfpTbiXSqC/s/JmbzQiftJHUl+eqWh4qc74EhIqpbV+hMwtJNAISaxAJOR7D42dnFVA26+UUB+O5WfDN4fN0wp3lq767+o57s7TLcKAuU9JRPvrhDJDq5XxZrr6BZ/1WnbHygPPRGP0QTs+WCEOHnAVT2XfzCgpbQ/nzjHS1XPwaHaz68t21P6xFWrIZbPu50kQqyzLC/myMiDOKqZyz/X75ATuzjg72TWSME+wbjAvOytzLULG5saLE4bkxwJt5HTFuLA0otBa+QvaBvwmo2jaBoxbMjTvBvqrF0CVNucQsXkycopNXXrVYX6CjqyxyJU/6qImjSxexDxR3kfR6P0oyHGh9KBEkcTCNvK9ByCv3Ke2QwayYuNIc3tmk2sJNsZSBOv5TACXmX8y+YLjC9QbgYKAR/VcI2asakBm8EZn3mNNowZFbnT3aq4+SQFFh3FncyGx5Ww3QkN6P+QTuvfMMItfT+eEQ+PJxDQ+N+XPU8f98twdKj/vgsvPFtoooJ/9nbafeLd0SsvQnTWHuTmDDaxoq3qPydTVo8PagYxzkjm7UBWgff3eM4O2nmhkt8iB3d+2weHkL1dtd8c8QA734yMd5MCMUMAT1rz15cXPq0F5rjLTKDNeGKqjgFBLLa/VcjLSYOp3A9LoPjY3H0qPwtf2p2+oq9tvUL+LqvXz6aKdyVUBrvSqJzogA4tKOTAfGyWh0V7U1VnsmC6a+wkUd08ZL0GvFWLSeJGnBPoIS8alow/UBrSb/jPaQrAlrmb5xbBpBf3sWBph8yFKJdsxU+R+nUzkGDVqaS84ZgwKrqzXuNHlDYuQPjwHcGW3C1n1GZD1EAYppWGJvNMO+GQlxvYxqA6SxZLeqlywT5N9VuDDj8hcRa4y6y0IBuUmPWG1kwZHIJeqt5o5GYlQndxb0OzCdX8a7AgEwkLhkncIs30KKeV0K7atSqfKeNiHsOTkaSsYE3FG804ANwidfjny20402fT9JTe+FrYaaf2hinsQuI1e5NmgfZ0FkF7rxvNZLwiUK9KWYyvNM3CH3HgsrUqm5FgIBgmCGu8eMaQoVc7RAifRETQWS4ePo40GPmqIW3262MhNm3YOPqvfvUI8AIGV1lbAsmazjryXflKsvRUizbLSVefNt+f66Wrxj69jBv8GL26Yq/hVMpDqCH2JI1A6TwsHcI6I4/doACiQNNwgRhkzxkbQ3leShUOa3Nh/k5yyHDbvfP9XVLEqead5juyTYYazkc9xTvTpiYuTLWIPNrWjsvCjAVL0MohiMPE7UIGtaLdXOpRlvKpX9iU6XryGHYUA6e6cy5GHAIUBGKEOBVsyMwWnOmLPAda8FpyP2gkBU6YneM5Li8jRqG1UKG8OEdPChoNk7coAM37RyEajt93YfEwRkiAlEjrYfnJqZwldBa5/sRy8/2zbtaWrR/usC0WgH2oaSdLzSNPLSKD5qkrmgMsoJR1o4TDcB9TIiBFdD1yOSyUOSnttDF6VJ+sD/xgWgvCXbNRNarqIfRYI21yoq4tTeE/Z4VcJpTFPy2AeZotWc2j5NG7qRFPtx6CfKS1GQwbXfhyhoS7ZDd1td1RGijia9J+Bw8thy88wGtVmxkqO1jTRRvcPO1F55xGbYg+WRvu4HS8x9b0W6p2jso0HG+tRRqFuhbw7ha2kuu1zy2sRkkoihOu/LU+BtBtwKE8/R0ZqyxLR7mzyBM1oUdTHAhYUUgfHukypxvT37/3rMLnKvDhLOWLq+QOJiVnHRq5xNAHxIr1/8K7YL4Wu8RNwT7Lf0C1vS20K1ympWCx5FsFM2lHyFBhRFlrT7giHMbM2d7Rh0tK3rI6PyxK5XjOLbBbLgbRoGRLdhrFemAEFJ2rWxRHPCNClUpiVTrm6k8N0CZPHd42m35XURFh61BfFqV0ydMBMHalYSPscWs9FXBawPI3YxG8a3iRR7tuba5k/ScMYq5WGstEfohUPHyiw9hmRypZxaPVfEfXgHpIeYB/hwmDRjdZfnEZh/T1K0YyIN/T4+J+bhtDzN6JEGJkzWGEfPxpOXSja4hZgLtievhX0idOOzCtttxc324nmp/hkCzBaecDy7WqSsImAQWN1Lllg17fMOFPPyNc1ChqkyLXg1/GcmcmMhy7n+DCq3YSKDfFzHPxYe246Ii7L6i38nQ6WaOfkCOVJ0vYCkc8qbUvY9xrOL+wnpA7nOEJFiHMPImk4Mgog2t41MZALDxpsoL6tPEIVfiOji4OR4JFChwjwT8USdpLwJClAJwD/SBJ7AyyZp5nkG2JjrX6i1A/CEx9Tj2I/nzaX2v47IPsrNgxRKk7+Io2tiDXBLK6RU/JiopceJLBAvXhsk0SVd8G4usyuH++g8Aq3PYVIv3cuhxeUYGtEjxB6BL5W8gBtlX6gSOH5eFZSjH67fBz1egL4yn9u+0loBf5GPD5VWVfrgPM0FM1JMDp6U+jGodJmgbMLhgmKJF/9jR6HCloz79mLaGjJcsnxXbTkS/Cp1fLdK086rsuc/RxBqsrwcSBt8O4X81n2o8lUkgDJElvokkPWJV2j1cRTLVOT88DLJ4Ai0mnJW0R52fFtAfBuzsvbfAIAeeuZhhd4tTvyrhwGhkK/o7hmTLxZmYmNkooT/JWM2Xz5P5IJ6JjfN3IbYah19imihnl08yTf/FNMxstwtmHuBvMDLDM7KUiSNCafuCboNz+Rcfyb/LxVo+b/DsaXbW2YhpIZl2fV6YPPb2LNnPh94LO8ARo0wEhJM5Oe5vdRNCRIJo0QmCAZZfRE532zBUAm4/mLZTqBg/aCng+nM8k4UAltcbWSxWEHYUbQfiasicjJma1STnMd/q+8qj+KtsF+DQJFZSdJ99DwzMYdESH3fV6P+tQplrdIv+Q5nRRaJRF9Oivq0QDlZ1Q+5DQYu2Ngp/KxbeCo5J0pRNmtTKYfQCN3JoyLDMkyL74doTc4+CUpr1+MLqAZz3mDCWfXXuF9WLv9/gMS+iKaZtxnFIz1tZzDsPFid9H9RI0ZEHirEFV+00NhIVeIi764G3HbZ+CrCf1F/8cHxhx4BfURjofaj9HnbT99n5v+ryRLu4GPDg2vifCw6uN0PnORlmV3EgPYQ0ttU+zLPz7BgroIzjVkXbkH05EQepdnUGw8+GAJv6wS/prnzbUXK+Hqo5wQDgRgvxdNjk5kN64KHkpJ6TPl/rkzfQZPXtGg0dwLUG45PvL0ovA80PeR+6V3W5bPB72lL7bzLi3be+91Bk4tvuEQkX8Py3q/dhUIJXceYjh4BajN+4V8sLxVSKQtTlJuN9bHNfuRfzpZGaIyXYj5SiLLdsL4vCpgALFzJx8OCHI3oH9hhD4iwnnc3ecYrqp/IcpbojG33hjr+5gPwPyI+qnc6XO/ioqkyV2IeKtGJH2hBl5/vD2lPRA+RNjIU8Cna8BpzAzhvPEUf8O2EIP3FQWP3lT7ZfjFLM8auRxPOndP70dPFcygEcWbFrfTDkwdwxbTZqVRHwKfYQjRmVhVe8pyblRYtHNiLx3PgoyPtn9zm+81PmpMrYiYGsATvt1l2rsDFe9vBAjJ4FfN8IjDkKmQHMhFtOxMiwRwR0gLenKS27h2wjGHcrw4POeRyayumq32RHj++9XKuh5T+cguHscykOAUm0fr9U2+nbst5dSFNiJvPx0C+TDMTDH8SSwexhenbk7+J4bIaFxDvo7Zgy2lZCpYGE5mYoph7xq+IikdlceBtI7ZQ9OsV17A7Yx5xsoT4Ow7DpMCV9oBNxtSE6NQt72Bt5c1xldmlg52/gdvMJfD6jpVQzvuo4A3xPsAj6aIzFSc2vb+PZ2CPbdofh9X2edmkjZ5NoZf1erIa+2Y5xJIQZ1ffC3ZlFUrQGRQX8wVS5YaLabaLay6bbjGEoEL1aicIIVu/tjG27EnhdSEFqG/sj5a53u2o9O9ejvsszPYcN+cjbZQjnUTraDz+zW4qcoR5huHXxyP/SZi7OvgXcmMX8PfeLs6TouaNfS4mdmxdqwnY+sP5RD7x7T5sWtkM5JKVWO61cPoGF+3FG0sX9sTSJEJV7wEniHJCtFC+LXjzxOeEmBWtzInHK0mTzRqtcY+GvPKKoGGt28lqjaNGeyY+5jjwBpXGGlpPKho6vUdbmcREdoROGy4aCe8Yt+XMkKth2xbSDiW0tEX2VpIy3OcnpNuWSF2zpkLGqOlI/5xdHs/3MOVerKvp+VlsMzsNMc2krR2kLgCbKoAJSvd7N/OBGbg0oaE96Cnoe8moafqezUeEAsKuwqDEjLKJpK2a5I0BDEwyR21nIOGWOLKajETVqiHuIa0QIc34TQxWmh/fB/34dxnn1VXv+lHEeluPs70BTDbcSsXIaPev7om453uLASyL3HQseySGXT9a9Q0hgDFXbrYbVoFALpJ7LizvTPuJ8quCvNQ+uMu8Ow7vXTtgQJELoiwIa2kfqFHo5YUO0jSekuRZ8BTKkN7zIf/5Q0cPWdeXAHMWIqY4dIlNr1fzHeEVYitn9NNQlQYvwAVGXRe0UYx6UaZ+DIJgs9hMUr1+X33saqB7MyGIuxzI+3qHusRsJl0/b+jDhT1nKkcoyGmPrDaFlnfm30UzCt20xsXnQV5cwoU9MS/a3xgy1qgHtWqeneSArBoC2YFb5PQYoLcvQbhXcWqNHWZo/bA4gBa/i6rFPrBpcFQTHgacQnaACX8IgnddVmXLfBUjuB8myHDZctObm9ig6rLLB3Dg38AF4FGftciP0I4TPfEeU6auKMXOQDP+uaOr4E+92e680kOh+BG0tOoJzeRY6pfiadjVRmNKvKWfxb7SRAZBD26aiDjAl3K84roJ13+VLakpWXC6EADwlKPP0GSlbPbIvemQ4u1phwjgxGDVDzyFHf8jLzk/Z1438oXUEurzg1PQRo+/z9cAgMpT6Sufu9Kvsda6icVEiYhwliiJn+CaAfwutmbM1+UKQqXyPy4HIeA1vQPYgCWeeDYwxOIhDnXgzQCLbXejgPUTH4TIlvMuH2Yr9OwndyULXjoB1Xpc16nX0lQCAtRLvby3gWVwVznsrSERT7R0zokwqrZ1l5nrVsIfwkjyv8VfJD9rUWG8z0uA5OQ5wi5DrQG6EcMG21EYseAvwzCwEX3M76SEkRKIxzQl3bCOpcNnG8rIJI4gwBuYQHCEQTzan/XaI5xB7/ncJI36r6ywbImpgU0kK5N0zFyF1xXcdk8qvmxRYbJ3V/Cz2377vkbFqoAihKISt7uiuoLq4dxwgPDQwPf2CRS1VyjztQEu1rE52swZDD/f5v7LPqzJXJcDCZMwkE5UNLU4ia8JZOevnaLD/u45ONklBkZZlarVA3yxMlMR59oztcB7syfjG4ftf4eENL+c9By/+Vb42T3PejI2qHGjSYhg4T/ieJhV+sONXuKPLmste3iASZfO49AgI0Hi+nUoOT3xAjibhNSsh1VJDdLVAuZVFGMJn+1ePXm7MLPKnuXZ69ZTpfW2x3i9dc1O6Gll8wYsZLqXYDd9rwq+VrnOQLOBu+kWyoAPh8W8sD/Xzcq/IDScUBJ/qWZBdN6kKCLAaGPfI+Yy5yaFwoMWeth8bG2h7NYmYKgnWfaB7t+zlJa4vqrZf83ZGFXEWFDnvSbctxNCbFYxTJuVCOmxbOo4koLWutujsuaCcEbYegqvBou3yW6ndRWuYPR4YUgHpO5Qpbi8BVwRDbN1BTKi1kT6+kl0UeRmQFoSSuA41iOYalakwPi9SrTlNh2LMzmv7g3QxgVhzs0iXXBYYDd7JnSaFLxPywdtqpujL1lo387Emzes/rPOFIutkeEZPcXDmSZe8unJaVkct0K05tNgGoFHTOYUXvPWs+RsIEG6uiynPFJfEhKkO8lHdm2e4P+GEfU2ZointzWUHq/Bhnc2ZmM2i/b08kvo5ykUb19vwRLD+1Gd3MZ/2i+4NsA8N2GBvacfTCaohLeSknVxmWg0XkFphupKu0BUnWe8nzkdJWiCgjuWC3hjP7pSXwYpL+r46ZZmkYySwK9XDeGOZC10Qww0JjmnPzun0tF12Aqtn42XKkggN+6HV33GXJj9eTU8b2E7hiuCaAjtB5GVRY+zLsh3QVElhSQrdpVfhDqa3823qPZZcb+qk4bUeWrtfEc5BPDQKyZBDwQ9hxWILBO452jjj6U+TPLgJOTI4AQtaYIqvmv0pEV76nCUfkVh1LvUNxXdudvCZKZktGu1uPhv35n/1sqOV22bZb40wssAABLiS4LJ0C+i3jciErBN+j0B0pg62ZtbV583YrlgPOGjkqgDvgrEJODPuHAgEgWF0qqyWFvDMEy0jRKJDB31i2Z1UbBLlYfkXNK5N1TRg4khwvkeuKGL5Pg9GBTD5xolEjclRxl9HyBalT+kTcqZexGZ5MMHA8N10LVbVU/M6+yJbZHDq0aKNJzJX1jp31O994zdK5S2fCkoDC2xKNOdyGLhGvW0q97N6otTTQBlLuVW+XahVLpEk5WtRO69sKk+aOLiFLtryXyblxeUYsHACGLxxOfLpplsPCwESDJZYHcMTDLU8qmAT9PV2IfslyqMcEiYuuBd4Mbs/HVsgs65OA8JmBN7RhBwPDYPmBTEZ1IdO59rV3fAOSw/qfiiI1H/1XiYnVrYz7FRVIU3OdTu4v4Dtrr4CojfpTuKN4I8TyV5eSGN8kE3XepxMn6pJWZPVTqWt9+w/X1XVBRKy1mhw+xscFL+YljUTsRNxtht/3yyjxM8mA2KfOrv3TQ7FoEdhu0dVmmjAJlZACpVSBVn4XCpPV5w+y4P+2/A8zsbsOEhAlcqGr/wuyl95Tf4xyHnWhLsoanwMqn8ZbyIjr//GxJ0IdEVHKJAeQnq0m8VbIHC19ELWL4sfg4WFGKYyBpsTVPH5x9BzjMzaGonrzUm0UatBZKc4UqyhAB6oC991qosIRIqGW8U4mr+/PJUIMEKLCSA0Qu1r6qCX0gVjKScPCH8DlOfSsNwXun781+imtqguAerwbx4c8lHefsk0Xgl+Z05SA88qLH8UFADR1Xzb6UHLpa5kJ3XVYiQzlsO+R7TduGebX9Lj4Ekw1L3yMDqSoelGsmgMejTM3cXtuaNDjnhsSLvhAOSBy0YyKrsqAAOojignwq5NowgHgyzcdIxIv4xSlWRRKUCY0WTKuE2HDntohltYpmfrPuF+6Vto1V8lnL5H/AglVATZDrE6qXiw1xViEbqb7X9KpV1fkR7TRcaGjc4nwKjfS5rTfPVDcvPrq9WWIqjdV12LvIjBSj9Sjq8Mpt3CQSZFNc+j1+VyajJ9tOS++TlRs3bA10zBDBPJlMqKVczkg7ZTg53S12E1Bt6SWKUGaqr2kz5AS4PxTBmzkHVw9/8LIAKqB3hqgSrLwiIrV61yvHRGS2nGWXIJZwD/nuCSYYqiPX1PiISHa4zCku8fXWWRsryX0OJ2xVMCZ9T8C2YjZxbw7O/RR9etsAjrkxZcxpFFtZoP9EJ1NhGbXDXmrdGf+yehIz9hGTlGJj1jxjIE9xXhXLN/WJEK5/ZQw/K87esA8xdarGbK034QrOWhpWLldj+Rlf9cQ/0m98aqVsaRyrYVzdGN7NsDahZarvzS2BkGr+j5ez0hUT7rsk2fKqMRpLumRt81VqIruo6T7GSbmu1ngVhgdJkCPsxRY26Ytmo7+zZniMw/FUNrvZ2ZIyMDL5exDvnaAvejw0WkXReqQi2WJS49DA53IJhM/tpy/s4UFax8uEQUHSsrUqe5SSeOvoiZMxQ/PUAqN121osyc2ByEaZjtq7DvRm8jnYiXv0kJtWvlKdqrQc2o3W2b6WYMtxCkajzFP4LafdimMk7oGNxuMhwp/hkKt4iEmOvRdvJaS/WXbCXafgetJN6ns7lcfMkRmxtudebXzRXBeNIVux37xJPTplY+e+DdV2brnHpDFyZ24BtnbdANKAmEhVTrDs2KT7+sa2PW4H3U5n3CXkoOns1seZVIH7+Ij1XaqioIBZjjYZj+tWxu0Nzvcz5fQaDSUm6MsgWmT0eUxX87ay8gVDiQoNUl+gozkQKrAZTeVvX9LwFVM0H/GxlJVmr8ZFNT4skxU9m4IR7VsUWB6oQ34yPR9ewL4UToi0231waE1i8xjN69iupGa35GErApR02KDlkMELwmOrncY/SddxFbJ22SqeAgWdOL0k/3RgsLKEpkJdEb/mm9D03xKfLJdsBc0A886u5a9eBuVhxJZTg14jg4EEEvbZff/lV4wEkI5o7gUWehAbgOUodgvEGhqatuYpNeN4Jvy3iIHqw6Utes9IOmOP0ej6PMvh3yDfImgMMEWsJkDUoa1yP9wr/VrLvC7o8VRouL9j7WJpsxWi4SbnJ7QJTEGBak5ldkc8HRbiIXIv2ShGtIpHqKvAOynCqF2SIu8/5OgsnZlNUx9GfX8Srur7mc5Sw1hQuSi1faaCe9WRcS3/2161VyMEpYFz2L+Db5GojLCrfISu9NsI6qYrweQ5F2jQsSMmkbPeGv4kjcaTF6NIa//iQG4xMnb6m1Eqq2f+1yDR687UPnvnqEmiGr6UNzdQTWSFLHq6dJUvMF5S0IrgCpkdBKLqneQOlSOM+9obrAjupxgLVi2dEgUOMDO98bP1atMY/GQXsdybPYAGzc8EDaALwU1mrqtvOr65HsJdxBMgg/tvckj6TjuAqfu3LVMDF4fAY5ARX4uKx0Y2OfsIH0q0XT67bQnlLgmRqni6wUGjFlwaqtMf54O7AhsdZ59k0tRnMrMugeNgjnOwzWmfy3Rhzvd1YkxScoBMqe5dUIcJQqyxS4jj7FEcHyEwpqKtp2bZ+XMs4p1zkWAzgvG9N2cOcOhJ5s7VTc61oTh4jyLCCKKPnZViIPud2tZx4JDN0Wor93vcY7/EezFpmMRL1GZwpYQ3XDVyKSMLCzIGzuZ6NNo7OreTxTrrTKATBYdaGRC7RevJg9yJl+XIKqV5tzjLnaN/PkiNiW+cNYyP88wINpRWHPPOCBG5/dYtphg9RsYd0ITqetrxbhzTF9fOqmxixzx0CrlRbM96NsPJx96Jq8LtRmzpxrPxgfXDXhXezI0wrjKpYaAQY0fjdDUDSR+2r/RhD0dMD/Q9SVx2+DkwVzAkzmwWCm0byxdy9fvARcU9rnd3AhQb30Tn1fbDFMyrtnXbZxSuLbyRSbLK0wv2h8v5435J+qXDOWEdRFMsW4ulaV0xgroLc2d+f7r8rkDDAjI91lBm3NATx+gMB7RRW2sGLNYJbA8KlDzS1y0bTWhiKvUO62cLLvEIER/i97jPyE7SMsGxZ8b7sghJ3eb8neDiFcO82jDwtazdfsTgPlokLLCZmUvXQAA9lXupzWbma2PWwcf+SurMMZs0WyOD3Xj5oyAn/UsNOC+NKN8W+R6C84ZFO9W3iQJTbPrunuROEyppyYejoIcPWlNuKVu/5Or/RHSG9fuHlg/G0/MbeE9Jcib/DNt/GJYK7Or9JSypKhNGOG7Gza6KjtZMLrRqizBewyv7LU//713lmjPc8jDgWwJSIZgNb1yV3cq/WkLHMRnqpWJKS/9qH5Fm1Kv1B0UMZpetwYCsoX762OYsuNZe5X+CaMcWRLhXzBggb3KeDgXILrxN9vXe/VnbODG6lrjPH8EuDDKka197d0yZUI6ho+COXP3uKqYDOqw+5+dKvyeo0bVa3+yf+o7Fem2DYo3/mFHhS92XTaS5rRKmkhlXpsJ1/Agb6+YKf8UPefBvTWbV4V3CWw1saxI2RfqnkOfUCE183oz0xeDRNvg6JQZ6Wk87dnII43BPFY7idtMPZqahkSfqAF7bDpiiq0ctecTMxu8FlK5ly8qOIZnzRQhNGKAEx4pOhXEua7w/Ji/wBE8jhSkkFgW+SBF5Zm/X2GFJrBBjDK5B8/1gbIPlwqhz5Aom/syxFs9D1jc383PRy7txDc5TIzSV0ZdIsVsvihoYwWktY4+yDJJt0fOoZaF5dHNz+7B6eINm3X+81tIXgJ4F5VblrBvf3bnJpmr4huwE6WgY0pyoq3ASRdMXz0Z3rWCVZVrLPst9eZc30w0z1NEMb7z+TOtTdXEaQcM1LwwAMUFWCn0ZNroHvQWpvwgMXMwSkUCJaqMBLTRiedoz6xQ7r1ee0QlXS8PUZD6vWLzm4Sd5kJDDpZuQo3olLFic23YKlyTCcYgYzeu2ENGKX9CVbd3yj+viLaRz0zPdQkgpuoJ3T9EqASrnACm9WZwv8yiDza6YXNqCn0XFaG4NVKiuDUQKBlb8gJZ1Uvln135dhG45QNjLmfGrOZxkouPYtl8xXo3oyQ+/+izve0hq90at6X9Dd7Bl1/a8dpcPExnk7jM5WU7ffETzcttcHoPQqgCcRDVMZzCGhKZ9yVKfZNgpwqBe9DI6zLtDFQeyhNmC8ZQm5gLntsT+UhgPzRbAifwDBSzfe1ydnlKXR0eYOzPJGPLiwcHsiGDu/jSnBF1+nN0RD7V4JDz8k6yg9ioNEnvUNZTxS7G/fmHYiI+mXBm1F9bsWUsQGnpCjYNtuI1nXa53jbauNq09ioKodtIq3wwADZWm9uMBf1AvSup9QIy+SmkNc7qlkaBtgl5SfhwOfk6tb8CLJ91eEgRpv61TLhP4ezDk8RhBIChGl9DU69o/sjEZ682c9I4nz8xv4yUgmi6I8pd6bGqvogOyhNQR5pHdf4eiCkyw3JVxRQxyzdXvvKJfQ/PP5lYLfWcE1vAipuQlEwBRc0bWstd+6jD0GU0XP43O3rsX6gh8Lo/Q1RBrTCgSb3KPCMGkclQWAueuhOcFGHtOGm8npnFASpFRva/U+ao5WcJQxHSXUPc3txTBIFly2i1rmbUZzTjBSxNosLoZJHjwXl1dlWgATTC4jax/suSqJ0w1v5a1b3j08DgmAlqG/KTW5t4YRvjdZnR0XEDvLhr0UpfasknfzwQkIMAPRCLmavkDh3oL6b6NBGA6VQixkWqlXjFnSJsCvP2Y46HqZDYAS+38UlDGSjQOU7HtA5FPds1wOG4UQFZuxcTBwc892Zmrjb4LQt6e+ul7rY3J9Z+P4Xyonrknmc3uKssoLqkPa0M282dinQmvoChhBL/1wI8zEwxbjQ/sCKyuu/QRMK19mPh3irDdRiuYzWfktaY+L5DsZiDw73fW7uKcaNZXHxUJL0QJvw9dcTPRwYqT0dzEWnZ/1xuxr7DZg1a0xyru4GmJxCkgMA/42FOL3UrHujO714CWAtXHglpKZNfY+MyGI2zRniMSPSx9ISF+iMOqpNCJgVeHmB/8M9GUI5PHd0sb0Wqzeamkpvc13qXHDIHu6Mt16IVjczVfkH4yCu0AT/iIMXgB7YasYDdy8d9we8qtO/BvJG11/+vTe9zXPkYvQUR2K1JDrb5bqJ2D6cVwD8c+e8QBDK1DfHJ99JinOdTBEehTxCKb2e94PDbbGAfjIZEvMy4ywKvFKenNitxqOPbCpQ7H+EMkTq8p9h2whpxJ0Yy+u0YjaodL6ZwJpyaNKpXgX/L53pw8Ig3LPEvuAWkoNaEEnfhd64FSRu1XADfvN5Oksz3yR0yvTaRbS/z/v4t+tZhqPb58Dx/JYKUlQD6joa6SsjaMbWTcR8JZRwoGdyTkrA90Jle2NY+Vq82O1+CgqGi3l7Hh1bIBWc79tol73PYTSr3WO9BEgHWbTvAj9I9lsBOfLnteKucwx7yUZmUqee6Ts3wt02w2DrzXTwBf266qBBXG9v3JCKaylKILUK9LNBV20iQq7RwQuKLcZSgCH/E2ldWIicHKjhW1G4/IVipvLNukeEBjEXbd/bjUL7UCu6ESK42SP2hOfb1vWjK2fWi05bGNxNiYvKBEcKJ/6cuYLa+VNeB6ibUR2m67+38LjY0WR+pO6UXW8alBErCk60a3PSqyx4uJcEretlZsHA6s4hUBbZOC2qeiKHsGPjTiISZxutPhq0F+Xgok2p41+V0+zF75TyESVuY4nKbLEFvswGHGpEFcqLpB5UY70FUjdrQjuQnI/nOMtfK2Gcw8U9XTotZBU46U8FIOVSC5AYjAsIwlXUavLAtVy6WLYi4vIKazcyyoL8/h9xDPTZ8x6R61Awn5DakZomQRzqn/xexsSdOrYdVOQ9TNlLbORVarHB74ejy7fdGqmK9VsS0OKcXy/36Nn8zkni+Td/WhgSBp/15kxDTfWP+WvzNqvnhZwAf6DikmTdQU2ZrNf+AzLTwarA6ikaXIj1PVNQH9Y+lzwwFuXReQL7L78wIO1k//6L/jIapsXlbz4tpiR8ZfWTLStGx3qtGGrTl8JElWifn6ZCyRVabZW9RIya6zJouBTg+qX+4K+EXet47KPL8SwFchAdGq0A4S13OzXKdl98Hrn7ycR1E01TlbPQw56U3bedi2bCNUQ17EoIEy+k8HGkKZukNmMl1Xs8FjAAZpR2yfCdCRUQM11WV/pnVgga7pXcxZWJtvnOPlHaA/TTj5U+UpHjTyxgeGAXQEVyWf39fcL1O5s3xLESMrPuynmXJRUDfrXuqK3gIo8kkXQORiGr9Y+nhP6HXKyUanVZIXSnT58I8bbMFy7LhAEp2bImJQwm13YqGg5EVGnA1EWZzvby0X+HrOWYjNOWr4+CP8Nb5hlISEYI8QqKOn2dAqUi6bYOrxjfm9M+nQVNfZwNPvGde5dJS/m5n7lixLjSwKfc+v6hLmcNYx4xGCrna56l6Sg00LBrv5QXBZdU1bRjHxmsSzy/rSAwq7zq9bg/zQ6IUVsntq4yN1WCf9T6o2BAXc9rqIr2ANw2pc+ZSoLtXTFUMalyMl9o3Cevh95D6gZhDckfUOa/J2h8KTgd52VgKZEHU2WI0x4oEv4dX2ARVrOh0t9VUbp2k2ywsiUUVLiEzS+frSXIMw96malsOMi3FgoZ+cuMgR6v0koovtlPVWGO4Ix0Utojht3ZQrzsgbj6NG9iUQvpZXGogtSWZcGoFNKq65LcsUbP0CQjPQT/gdS/190PJqR4foAFA7TMs1yjTESTMdW3hmyS/UxLhpQBESkHNKqBhpHqSznch/q9sD3LtILKCtdkXRaxdtPQb6LnBtUd6IPi7oOKOXRjzcZxopsNjmeJIheq4VWkx8M+qBLYqTewsKe6/DM99eBas4s3qxZ0kOp0xLpWsfj0nN6iHI0R8uhWlcMoQILteUxU5vk/oQWEbm/6NtqI9TVyOI4aRfN3RMJQwZHfBrZkGcVp6zz4OLam+35wRQiNgpZr+0eURQw6Xho4CB04SyJKD8fQy9/QfBVj4hbEmmLc6aM67p6kh4L95zVQzst+1791vFIVbEFYUOE8RQJrEIgt0RVBdnwEGBLAMlIRRz+8w7FDfsUFlr4HtkvETo91T3w71U8BuRyOcLI3NYhuLgKL3bjuv3mL/rGXIf/Zn81Sg9/30LWYRevnjxl8uaUAWEPj5V7yPYXTuAL4a5hE68TGb7b10v+12QuVeSfLJ/Rh+gC5QQnE3SbUTlCWrW6UYTu41glfhDxt1S7y0UE5tIl0pJQFq+bXznBGQ7Zp8xuP+xOnAsbTAGCvX6ko2E3hYFPHu1POrGKmJvkmq7P1ljF5EKgM1LGN+0ExGXGIa1hDacggNEBy1gh/VZLLDuzhJfG73RmP0ga4h59LQNILyy57OZ8JMwx13zZIZicXhao3f2Qjf1x24eP51s2Bmcbgo7zyTnbnr7TBZbFfAr+yVQ5dWdaKb+D3hm6HNAC5pULo7Cd/NMc834jGQdaEoXRnYESf6ZOCeZXJhLxbXlOqqSBlOkv/9FzC01KjgW+lOwlSQFO952MvrmUMp8HQTKud6v1Cg7ABqHZzvc4FCaoS/GTx3H9grCQMBJPxQhzpiy+x3SVkF41OsjbzO/zPUvuIi1RU1KtgYQ68OYajfmotLMuqGpqyHkjQ4kzlwrWC80Sp55Efcr46QHLjCFmvxdXbgAH/L/ZtapMWfIkj9oWJKKgCd4eYkqBqT5uyVEuQBoJj0/r0JDicMZGqUYaLqnmrMOocY1K6/rzdK+T+5Ulp/3Veij4tLDkYSpbd0PGeic1WXYZgcRhD+ZdQYAuGIkJYlkLzHLmDzEh9v/Y56sRo0/+z/NxflA680PGJLEdtirxdDrETHDR5B4SffQCrW7lkOdudsaIQILiOPREZFbJ2kbdiR79vFz6H2CfLc3jK9H8wL01bqQFwW5MhocXtvuO0ey/WrWtgsv/omVgioZnBiY1IEEOXBRXc3KJ4HEcVtQZWr6ZNjmrr3hf3E/PW/AeVp+VUHdZ4tiYoC5kM0h8mtxU00KMjERdUPM2pPir4v0v5AkdFHgyQjHmHtOm3NjCGbqdQKs2BevSj19oHoR1IgapEnGD2+lLlvPNubkiAgwS/jyn8o8S+4C3whODLsHcz9WqC1MK8wYDd9cFkP1y9LNQuoSa1jyAi/xfnsdHXbrZ8r9aHMP7vHh4RGhN1z8vmYLI+HLcB69fp7PPM+f6IEzDgwXKmqC08XrdFokF6o8C3+s5U0b6Qm0V3K5Ouur5Ex0YKaV8pTOnGFIgYzwXAqVBzfjXxiArJE5P4YL1offEl3c92TXzI+vhn+aO9IZqDMr2h9u1/qq24qkmSmhV5h5rfuNqS6HjQOqgxtfk4DJDGoT/5HIHV1ddJTFPJlaVz2AWtrRYEmQjDyzrE+u+P4wOUceP9NrHB6dW9lUJL9mA5VYFGSdNsi2W/53j30pD4WHXssjWYpFKJOgsvhssLC4d8o1s9gKGU9a8kd1vF1iqJoXULAK5ncTPsea2f4W1k2TWVX6rCsbO7xLKAMUt7/ZPFNNdD9OoV2UQl9ZyOIWNc6VPQWk70LPyO3pdHtiARILDyrcqIGeLQg5RscAUe7Xn9aIQ7UdcqabrF3qtziDJ4GREMbt40e6nDEdConABWNGbd1YhSw88wMufiCot1C6gdQPuJ4T+RDcf2nZsT312Txj1UQzx/F6A9fQBpG/vHfiEvLufdXYw5dr0Dy/9RwHec6pkUg0r8fI6rKKsILt06v/6osGuIo3raHthbt4RSSEpchT2mXk/zCm9sJGK6aAeGMXl68csq7nHtScHepjCr+HFCBd20kg7JORBjtL/fuyuZc00ogsIyPoWxkNBP01nmLivA6subclnuP5CXTxewLYhZfozyIGLYR+pXs4pr2kGhizslXbdAHbG9yY2gjT9jThGFVJKv9bDjs2jQRoO/GplsifDDgmRIYu9YQUO9oN3ds0IMwal6Zu96W0f6UwcQlPJ5OUPnYN02xd4ykq/oQHL1P2PjDpoyzYBTHL/pPUqsoBVK+sWXZyr75rnzeu315NkOcYFjSatq153fKVp9uWf1rG07PqGyEtukz1Mi5iFNkPHJXm25gUCWmcHG5T8glo9cqtUiabG24NkmCcrl3Wz/ukEL41eDOemkqFW6zu1M/BGEpO6ilNiFbnTR2E09RyBe++i9ETgSHnr9xyldDreR3Q5ACx6Yq8X4FpeXyd5ahvoOrK2MzMgXh2ppjoz+0xAVcmWG06gxcB1W3Pd9bc+hSz0+X+IY/D4v3w3HaRYyfr+0mRWy264Wy6u4mqgA8esQzgrqsrC0+5QOq9niDTo4nqStQF1NxvV6E4s0DZQYcJmQz/v5YQlFquFTiBEyylcnvcPGK6jusb8kBhZgSa0KF0QLkYZ7w2FVfSZN8sIqDSwJLEYyQez37Xi8jbixqZnj5JkXWAE8adfmCyX1TrORMjewZ/1z5N5el5ff4U9uyJ+eiMLTkSo785gVzE1syO9aQJed5u6WidkbJQKKHgBYQ572LMSPPl+8ncUeArYO7BMsq6PrUIB2bpXTsZgEcT0A8Fn39SSJYNp6i5TVnhjjJvG9umGYAfc3pWt/xgL69pfVFq3SqWBYiweepLwYx2L0+xCyOmbvyrkSuonZ1nwav0PRTW+tBUfMRFRVPq7xKOEbfpUMjjiVmDmflqKs9yYmz8Y38sRK/j0ky/ZkfeIvpNE5uBw+QMe+ra04DMyl/KarF1ge16nHitdEtiWn1l22zMdymnMJvHYMt5QgQi365QjjG9y/PW4b2JLuKao68a/boODU1plynn7DCAsCD4ptvpC2QODlNH0EaThp2U3MRiyXKBkutxTLhpsAvp94TwWfWffNr4+8KiG526SOmAprzqHeQLwhM6LJen9aN2QUFdH2r7grmlShc+CAZ7ZZDqytMx41GCrCxQdIwnUTk2Zxk49MW1cK+k6WtByeNHJHVcalPJk+Y7TY6N6WESfZ++U+7pfMtLIdu386GzcliW8SuY+V+/rnJyovnKbk/+YCulGip9V9NnO7kNA5wJrvU9MBswDnqpxD/ospP7VEr8/kJ4kC1wKJhuJxBvSaoN3cQAMUP8MoUnJ/3YKMnqvPtzolJaf/AnAjq74c7ddirBjMejZt9KEJYbgknx8EBk3yLgsaXoSLLZ8f6JkQ9hZ2WPN5AFsp4uL0gcAhEqbnHJQFzyVdigbUCVAM6CiXUZYld9doZPobO3M+tL+HqBud2ceGr09CkX2rGI3+ptiotvUnY5m7YPLwWmxYGBwRrsyz9CH+Uv2X66JD9jBYKaUcqPjLLu81lKZ25a21CL4HsT4KVGF8wxo8WtQ6l5FkF0yIsowYYiSzYR4CJKranlswufnbUSUdJyZij7fuYaWRYX2AsKUKcCqRExouxf98SdUYXEH/foJOmnU1nw2MluxPHO8itcAgzilPpzd1zGXLt5d1StPuzlB70RUEhHuI8W3eqWPcLMMTcxg4gdvFbwJVn/uAr5DZO9KX7nGIKmwfD4GI1Ht2AZ7v5udu6KVwlFn0UwKImMd354GL88OqL2NuDtMExmqLSXhJt71dpoeOCzm4UDFRzV3xcvwtvQGTuMToB5KHDc1/ykQJWzQYR+URs3lvObsHibMsP0Tuxg4xro/yl5UqmmmP/rs0MxmYlsaBlmCLgetUdMi7wRmI0ou60dt77Z3sS9ZHnChiWwz2YJAWPZAkuNvHPjZmnNAPS+x+4RiRSoy5OxarH+0fWt+BJq1+BdC5/OGLiPFp0YMoZdL1M9lJblBX1XNcRluH8QUv47yA7a/WehZzDgPCewT/lGUDyuzlDsF1lYm+Q3C1fUFmGXfOMjG0lsRAljYVdQEg70/TxUemn8vqot4lQzWtS+SYFk0JG4KvMaYiF2ebu8rg+DEX7AyclOeROpzGAcEriFEss7+WZG16exwVPFDBOsReEz63Um9E2eJggHzE/gFboU0rKRYiu7k0DG8xDxN2r5GIWHVupkXmZnEaTUuSBNwgU94I8TuG9/fkkg4uiOHjWMmpHpLrh+RhmzCimum8Vay1kZKeTT6/XGEBLIkOL7QJeE6AiqbVmQ8IzFFbaBRvD7WAmpBI+0YGiuMGMKZlWHyjHmA2kBVdIZXC5hUIm7msxEqI8bRGcvgn4EOf4NknxZCABn7B+REJMJi02mJ5Qudd6qckLyWIsZRtMoMibgaUP/cHFHkSc0ZCGOsI+tqnP8mY0LpUh6iijOF7jMUI1kGHoOv3ksK7mDNuhou2FKBPFkOgHHdr6iNPY3a81wDh1xfhqoymWUfVPkNwtsR5RPizHVOQit9wUciakTK6fjOZC4EF5UWeRw8iqxXJR6tU7vf5GgYKhJmHJxolvxjlxsbWr5v8r7V/g1C+HlYykoialOz+YxZjTmOR7ogq98jxflt0Cz+SHXFfr10KZFzLqwtMt06rp7QOrDR0VP5DwnxdrT46a6gH8ZXtxJsvYMC9jVd2SYEVXzjpZck8zY7e97Ujbc2GPC3PstRMu0c3J+Z5oAQ75Y8cyoMCVsY423nHzxTTnisAsrjBlsRMXh2YxBMZekMOovBPDUVINDaDBYE0LD1XOud4Voo3vI4KrIN7iWgof2JVA1Pxy9hFksTf/W7Q/QKQmwzvwCqtCVVPsFpgEZ15ymWWOYJqZ37nwsd5SnaYXLM8VaFulNIaMN5Fz+mRL/7hMLAAdmRKx1fLsyWcor7mJ/B3q5lunkhwEo/oIwdabgpHkLeLtWKMTbXc47aoVWf46BqbchXjVhYB1/ki7igpdLIKFkiXy9/XQJDYSjvjHV6lzZ7Er91gcVAfX4nuU96UoxdwQA6EG/cd3NBCVFZzV9zCFpOPmDATaCoQIRhINCQsjY2iTd5I4oRFLTnM+jrWhd570VDDJIiHglk7qAEAY5lzTLuVZiAwc/B9DYJWiLYwtvIpB6AWXz0NJeCBVAlyV4Tj2g1J5ozgOmnCy0WoYWG17Yd4UwRsxBg5QU9OHAyYkLAiHH29okCYWLzLbXz9CfJ5qScVfKSPVzQ1uyatG0FYB7+tBv6tRZw+00XEGWIvPyo2bzPIq6uLhbJLwSlGO93oBNcVIdGDEPvSSYICRaLwL1Acl85sOPGsGCX+R/NuXJM9iGz+76OyFsG/nQIkDDwg+wOmcl+lFDWSSb7nyHZUK+99Lv8OwGZ4aKsY702rMcuiou7c+dVpJ4tW9JFlIPydHGPIPEksY6XGHBbLTzQD7WMzP5Jm615E6GpvsEX6lVUwRVQvuy55FUXoxkAkPsRrDTNA6Y/PzLbDFQnp3Q60MlviPdhJjcvBeoJgFFtwtCFeUsuZ/xzUGGeg1R2i/hsKdZJcQj7XXpemT4DtCmNpclc4sPq0ib65RS22mPXQ1y1Bk+EXbiFRXoAE1f2nS6/P7Baw0+UrxHYH2KCYhapqtoS3gdsUF3sQoMZICIZ/5gXD58OMa2rFYL/LCS5ExDTw27CTo99yo62Tf0cYeMKlkAwV4+FrOzWQagGpxR2758JlyZUWntdqfMhucn6od8X46Yp6pC72FKN90WN+0crygJqEgyhtXxWeXBg8lDL2TmIRI30WoqWPclKP/sSgeSAfnRMg6sB7grEi5LnsyjoQOWxBoMN0Dri8VymmVUHj5iHXCFntEehezr1JPvJJDqHCX3hlDvkc5JxqcTUXSzgZraIZJSUI2zhsm2MdpQVPXCY1TC7lpKB0d6/kQPrQ7us9Qi1PBixIkkUUuT5Q/GuRGyljJt3/RhJ/ftUdxs2oI579jLxCi0mCc5Ii0CisvtofGsiRc+5UYe+MRyoeRsT7+VKclsC+YQIb2Lqq47ZKeHTTn7s2s4jfeGQkXBswOD0U7f0YfhWQLhPkV0HyEc9BCs4IjIZujJGFCF378l6ySdQLJ1qZA1+/Wvk+mTckS0I7A5jXXJZx7FDUimO577i7FSUhiN0ArM6DsHrkVKbnQniTdkl0rlZgrFBb8Dt07G9jlN+lNZv4dnGw01//UwTmKhV0aVJAQKHybsD6a+ztaHvQBasNNkhuiBo/yCs6MyxMesu/qbkp2MsY/JrK7ymDq6SE22vClwFMiIUiXmtgabHCeZ7JRNL7jsti4U8GU9rwOxLsr7ljyfdXjh923J5eRth0AFYWz3VGGGsHfVwF6T9f0o6bfpHErm2pJuWCCZjJKp9ZvStbHVhgvYpKg8IkaEFIP6zF4p0EHK9OJGGEGJoPN35Zs889g3DFh3On5jneunbSEIKEC672nYBw+bwTMJ1EwquZ/q+LPHCzvpzIoEIEp6E9bnej6hzOEGqovWdOrYeqlo4sey73qjHMjWsoUKuZ9RQFAEGrgxTYmhoBtNMLMjcZsjQ6v4Z2xekOiX+wVhIH3rhvjKq3ZYWOac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81097" y="1292860"/>
            <a:ext cx="8232140" cy="487934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/>
              <a:t>Tesla Revenue and Profit Growth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While Tesla’s revenue grew 10x between 2012 and 2015, its costs kept pace.  Investors were undeterred, sending Tesla’s stock price up 7x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57199" y="6248400"/>
            <a:ext cx="405607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Source: Company data</a:t>
            </a:r>
          </a:p>
        </p:txBody>
      </p:sp>
    </p:spTree>
    <p:extLst>
      <p:ext uri="{BB962C8B-B14F-4D97-AF65-F5344CB8AC3E}">
        <p14:creationId xmlns:p14="http://schemas.microsoft.com/office/powerpoint/2010/main" val="32815285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12"/>
          <p:cNvSpPr txBox="1">
            <a:spLocks/>
          </p:cNvSpPr>
          <p:nvPr/>
        </p:nvSpPr>
        <p:spPr>
          <a:xfrm>
            <a:off x="457200" y="1494660"/>
            <a:ext cx="8229600" cy="685800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spcBef>
                <a:spcPct val="20000"/>
              </a:spcBef>
              <a:buClr>
                <a:srgbClr val="2B303D"/>
              </a:buClr>
              <a:buSzPct val="85000"/>
              <a:buFont typeface="Arial" pitchFamily="34" charset="0"/>
              <a:buChar char="•"/>
              <a:defRPr sz="2400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spcBef>
                <a:spcPct val="20000"/>
              </a:spcBef>
              <a:buClr>
                <a:srgbClr val="87A634"/>
              </a:buClr>
              <a:buSzPct val="85000"/>
              <a:buFont typeface="Arial" pitchFamily="34" charset="0"/>
              <a:buChar char="•"/>
              <a:defRPr sz="2000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91540" indent="-342900" algn="l" defTabSz="914400" rtl="0" eaLnBrk="1" latinLnBrk="0" hangingPunct="1">
              <a:spcBef>
                <a:spcPct val="20000"/>
              </a:spcBef>
              <a:buClr>
                <a:srgbClr val="E88E4A"/>
              </a:buClr>
              <a:buSzPct val="90000"/>
              <a:buFont typeface="Arial" panose="020B0604020202020204" pitchFamily="34" charset="0"/>
              <a:buChar char="•"/>
              <a:defRPr sz="1800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188720" indent="-137160" algn="l" defTabSz="914400" rtl="0" eaLnBrk="1" latinLnBrk="0" hangingPunct="1">
              <a:spcBef>
                <a:spcPct val="20000"/>
              </a:spcBef>
              <a:buClr>
                <a:srgbClr val="00B0F0"/>
              </a:buClr>
              <a:buSzPct val="100000"/>
              <a:buFont typeface="Arial" pitchFamily="34" charset="0"/>
              <a:buChar char="•"/>
              <a:defRPr sz="1400" kern="1200" baseline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137160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5448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3736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2024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800" i="1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Facebook’s Geographic Mix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While Facebook’s users are distributed around the world, North America and Europe account for a disproportionately large percentage of its revenue.</a:t>
            </a:r>
          </a:p>
        </p:txBody>
      </p:sp>
      <p:sp>
        <p:nvSpPr>
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XCyrewlnn679fGM8yP3Y1PxCvej9uRDEFdaDSWLmbudO6X+lZjs0jEpy4iJ5hGtOwHaKsxmTfA4YW7/8IdXpNu35wFuLN/yQyntG95yzZJHHj7HW+3kz3fuo3sHyxdTHQnB5rKpiPonnlvig/Ef5HENJQfZjI2GEm6P9KssmvVM8zCUyTf6Fl2d6Ln5l+OOwLGvMrDjSiMxSwdJC9Xnb6H7loCx+qUAAGtNP2SCfMsfPxl8wXZh/JVNj05/GYHYqTTrLBz4osCMH9up4LT2ulk/xZd5z49mNkNq+lfnS/JadLK0Ec/YMsu+j3Z3pVTQBk2VdlTIZMIuFXCd23MYTW77jGWWFhAWTdUBH+iH3hQEMX92a/mfnDogkNrSON025y0zpobOU1gtCg+qohx04K8yTSZqVmi0mLf6LWk8Ebv/VhToYapsIEFe9T7NbNVJIq9gtnVZI59O1XkmKGlGohfTK4J2hOOQ7fhvRoyEWMLqXAk8Zuaki9vPFE3yVCFTpzVC4F794y87oYzpp3dN26p9xSZJO5F2zRSaW+8nq8pJzIv4tibMBGLWvAfjchPQn/T+fxGfs4FZeGDbSdyP7Rv9y6brNlFX1ldXvZjARZk+Gngd85C3RklaZ+u4FuKGOpMhyvU6W+vtsE7r5Rfe4Mnt13Hm8A+sNwA6dXfpHDgWqmlubbU0GSUwGn3WgOw1xaWPcxEE/oeFV9M6wxLeE5ABHuJTcROeZOdE0pUsvSE08XjNQar+GXgG1EKD4mDdaqSCECsfjWXkY5kFCbdGV+agMQWjWJu0v+JxVUOsd5x2OASyWbBQ6oIqQUSlzKJISQ4FXqFRvYVo9EIh+9dXLCUTqJEgNuSmGl0g6DAKXHwQIbQENHGpoEbYZBDRPuNv88zU7duSXlxMV4xbYcJlr81c4tsLwjOepi7io+883PooOl2TZtLU6puRcp2IDoXAgG4mrYpl59lC19CnKm5k5LGfGD6MkWdjjAGRBlDgR0jqjPt1YuBamKPJN5ah/NZB3wFpOHrofUkrwgHw/bizifz+02GOVfw4FTVkzHtUm+t4xNBSgXErb09ye+FKdc+GLXzhBQaJIoTrB0K4zd0fUY8sy1JZsgUZCE6dp6LMT3JSLpmMnY1y7lRRRApW6LOcEv7sxKPzd9EC4OC9zpArgCfyFD9qdDxH0ROXRhFrH19ss8XlNIX9JoyheCgnnJ4R6bajWD/ughCBDN5t73PCx4PYgZRj9P9hhZiuZc7zrX3Q3za3iFbJaeiD0krz7oHjVDlFktkfj/ZMMblL7HgQaSOwdy9frbyEnfzQoTO1gMiSE2JtfV9wteB/u0XMvjy8nujHQLXHWltJu8N8lXfAJr4SiXJzco4n88Cx3rcK1Pbgj4XurRM9FQRw/2NnMm5NvUhScWN9sYas4RAmbAV6qJhv6F/722ej+Gv8L0gUDj+zAgf7viBM48cPy/RcFnXrkoXqD63gGndEze2WsSWypgfTArcmCBnb8cSXSCb68ua0NxBx0cSwJqp3kTstfXQR36ahVCdrpJGSEuQIZ7+9RzNyymwAG1wtERj0Q2Yyfy6uP2TP4jiCfylwOVCzZLv9KtfmLnC2cayjYUVNelicMHnErZvyPFLbYXp4NmzPbaue/O46tV9Ac8vGFmKClxzvklUzE3MykxhFwO/635turJlq/hYZJ98joUBXlG9Gs3CvMxt+ActaEYFHTRH1dIqJL6E0P8XTcVXWyCwfdoX4cpZHxiQA5l7zALmmkWJBgQDgKbfwEydvPMwJySwmoDJgheHQLO52f3LRC4a7EKYtNMn4pd7+6QLmJLtjdjwz858Q++gBfCR5ojQrc7hnGhABjWSFfs555ka4IKSPjm2DBiE2edHktNVrfalc3HJjsxE59+qK6KO8f2dq7G/C4/TP/Yc3yUlpUmdO2/snXaNSn8PDZtipLRFokkQ2ttgghWVxI6vwvKFlVawnZe4u8eQSeq3VzypJuhLTTQ0bbFw+b+drShqTj7Qfz+0CB0iiDISe4dW7G/YevdXMS1gUhOUSR/N70st3UuZyrrO3chzOI9w9KOur7HMUmVApFDpXStE0AnMZW/3mfW/aGWPPz7U60IqtR9TMP8t+8RR7xVGuChT+3HGxdavs7psw/7C14TnexS5BoMa06KOiQD6EgZ5W2tCmMgszRBNTfQ4ss/x++/UTvbPvwSRQj3+Hi9ep7i/Yj9hWrrf9btI6NHXm02/Eod1n3/sJ2RzzK26V+HIyfuWGbxfKJb0OF4DVSukeTG8zvtyNxGR+HlzAOkXctrHVZ9xX/g33pleDLvwrgdiN4nKhAxme5V2JaRPrqvMZi68ALg03ip4ebmW1CVvh05HEUyAYFoALB/NiPKQXbt6EKOd54BYFhcGzMsFhvvfl/ceotk4bt0O23m354He37Wud1iLTBw3H1+Irwf7nBayt4SZpK+GDkXN4PScbX8QB+8Yi+640Tq1N5hXvmldTQLZJc2FxpTfJenChxlY46AerLIjCjh+IS6041H8SGcf+12M/nJEUIKatDqAtse2GxCn8Yz5Zv3uYpbDu6so1G5hagc14At0+PX5NquAJV7O/UXLVoxfOtrBKGr9jAkxermqJ09TBrhMrdsL/1LXPEON4fUVqBAE9bGOW77eDyiEUeZ0AaTj5xFFGLNSvcbnMQdCx6mvNO9QjhW5LYDonsLAeIfCZ49m6lkT97+BDe3KzG+oKaSBPQqn+V4Gzca6WvWcn8rJtrORvegP9yayvps58Zv4qUQ5VgNVGJzrbFFx/gzRCZZ0V81AXkQ7p/7O29E5EncHhLUOvxiII7u+HWhl4dwuqdYeQOMl9lpup3Qa9ntG8Ey0vgcQlAdYGDfyaHbJ1wn3RC3i5h22aS5+VRYDKk7aajOnjwZb9VHMXFSrka9pkzgyVGXlpQdrOjWOEgr3xCdbPMopoD0jYm8046aZWQVio0Aocq82bqYBabDxM23kCH82vDVi0btpzU8pHzZw1/oXIT59RgjAjpDElSaZTbhLorPsNQjzlSwWyTacnBK0YyXudbQ5y6Ktx26oAOXHIYJ7R4+lMZCydjwU7rvwx2IDM84koSdb/2M/iiZzXAoYZ27Zc2D2mj+2rPeeZajB/hg6y4+FCS/sBoW7LfkMYmkE2MyPeBau1BcaoU/6x47eiMoVlkC86BLJboAvRvdSxS280E/Oo+mnGvcuPZ5OlXw8yxYVsOj2iQeT3iZ8+mWnf8S/guTwvXrqtazeD7kt2N7rigqZwEFskfXn6y+XLxIGtnRjTBSf6IVauq1bvxhM8xndpRGY5DAUJGWGwVzF7opP2h9FIcA3X7jr9D1BnGuKOb6OjhRo23uYNKDwzUK0+IgNG1Nhr6cjAL05qxXX/AY5lcHurCfxPi1R2jlz6fSAeNT1iyTVpA9hGNgIXXRfCTKC4c7Ut5OpSR8E2MR7dMn/bMdFxdST3pIT11z4wv4sOYL2YMMeFAOJu0J77DmAjwGMp7w4RUjoWfMO/kDTjjnUD+PIbtjKFQE+nGwawT/bA9IBBDklgiQh8bgdn38+CnQErReqqymU9ZKUmGAoPb9aD/ePRCh545YLAnPiP+AprwbidNVxAPecTSnPwDSdH4mPn0M0C4ac8aI+FwNQ63jw5AeFGCdn8fvKlgXJk7JA+12JKo3ccEpg0StqALvMdq9BaKnf01DQJw3lGz7B2Lg7gUWy3bu4Z4iFC/EYjkMkJCq7tYDRrQ7/aRPNNi2t8vZqC8D1Bw4lmd51k2x6dI/W00ldchRSgbP8slasQP3B2KhseUQezLS/6n9HB2ob7bmqsBr4nCBxpQ5E8H+ehG40Dt7OVvR6rXkh5F8JFwhVagTWKu/QbPbanCRXwFr/LTG4lcyjWEul2uNqRz7hofN6IalrIHKb+0bvKvV2L6z9nw95DVJfcG71GDeHF8yAJxPJy+0Y3aG7I8EFbCDKz6NsHBqf0cN5yolyoCl3sKS9RvzfHq4R3fdNcX2iIzcRjVbEn8c/srxppxlEJd5b9CvNhYIyV2EPNdUzVPxUL34i/whPj1sN7Qt4YL5MV2xCQsbYZXd3OUsUhhSWixyVSdzhRsT5CQkeuVK/qTfhPYWIzN69K69gkg72mDHIPXDDJKRVSIa52mvE99S7InwEZyJ9+9SuwinOl/XML3WJEkv1h0COtXoizwG7EG5PI1AXIOrp6yJ0Ul+bmicTfGc71PD+8MTNcupXp4Zt9wuKjm2Bb9M6mWLne0f+29NBf1UD99owW6Pjsl93BmB3tnMmrzjDgvZLKuI60/eFPVyUqLSCkEyOb4uB76L9RmaI9sN5IdcNKsfW5mxBRxmw8UyhIhL9i88s5/VVbKUWNhBfmY7yddNreHTsRGPjKJhOM5eILdb8zkTxMVaHLxgY3Nv7Djl9fq5hcl8pMUXJttoq7v/4YYIZe+bCCrKpTv3zuZO7wEmW3DYsj0yveET6u0q7NQwjomjnnTwjmZIVVSc5BgOj4ibjNDQrRshOIcdT/emIDm4I23YXzu7jvjP4g2WB9okMlYmeMwRc1N+EEXmnMkpPnmTndwE/ZUCTCCbACuqhHUGKXFHK1dDvbOreNiKjg6pPrlCjZw/Lbd4O8rdiTt7HIPsQjrQFbvKRbuinY+IUc0+2q2ovemm4ZyVtMylU/TxQtKgJmatHkI8pp+m7JXzy2SUxEFOHaDXKW4oei83zSKrX3Kp3kFnXVIZMiDaFZGa0ggaYhYhW0ewtYCk6pf459ZvF9VcpM8mqTcTAmpme19tkrhCquqqMNcOxp1OFvZ9KOw591SIXo7R//nyxOhMpQV44fov266RaeVKQFHQfxlMZV2nCf6KUnBcY6EqjGLsJ04tn56lGIciHKzhv6wiO1hW5tP2PxL/vB5uccTZ+GYkq/fmRgG+ZnYP4kcwGOCC4v9YICT1hdKtuL1lDs+gSsz3oubLJ3pSZUS80UNxcWLJriiKnUWqB6eb7FFKDsEd8YAeyLdvSDva0Dm7A1SxpZGNTZo5CgMaCMbjPV5k7zz+KF6h6Jys24TCCtXk4lkWqdxujVg6Q+LIPa9l0pyOtjnRgflxH/mw8Fb93GEW/dTPrC1diQfHoDjxd5wkrcmDU6mDUIXfXgRh5G+tLZIIRz1UXvb+MOK+UhX8mK4quCkWoKxRppMhqnhMYKUYakFa17QsgcM7cpn1FfiIQogUiFwAhO4sisROm8G5uIjNpIxbqGv5xz8B19HeFicMjDMqdFkfoVGgH62Z1b1spplYC8UW7Rg+yh+y/svtC18tWmT2HcW6779YDADK41PksoXEpcddeYjmKK7TQie2VAmOmRIfEOllXYq7HgxRi89p2l0gTqF3HquNfOC83+D3jp47FOGNqkYbVHXUIQll9uwLK0lceQEQP2haQb7r5ZSr768VKBzPHVarKHZC/V4GPme684dLxz66npUbw4L8AsaLOUck5JRZvGkfnlrZxDlaLI4/QFxRYxJzOhz+ugThoSHUvF9Tczl+o3VOCSJ6cyN5Oq1nPOYuzAZ7Xu5/YPxTJtjVcNxod+oJP/rLscC8bE18EhzreWvTuZR1SM6z9gPYWEqex0DXO1shVohAdY5/jxLiSFdeAIKusQ0fVHMZHpGPBRietT0vm3NScQTaDDP7K3pYmwMY2iayUvTeL+Lm1dxL/AP9KVuk1oMYyACxDi/uVVQ0Ulebu9vf8opcqd1EB/rsuW9kcbxEhkKUtd+sw2TVx34TBgNNnUTceBUAzOenmyMe+OimOuwkbuKFfnust6z7cI1qn3Yn7zoZNnROGhuQD4n+Hs9/p0wuxC5ZBmnhCKEzAx6jlSWph5JgkXEI2M67O/KZiqsJQnSXeFbIxH2MKqF/EHq7Dem2jczJJeCQs3uEM0X5C0ostGLkah0iTjy9zzKuxO/lEGqAS4TDRWuS2j0l2cKhf0Nj2L982Gaulgfk82VlZLABO0HswDLFL2f/nwRR9Pq87dd3rPW/lLE4VU3bR52Jylt+qcFo5dRpGzj5hRlcuV+GnTwskVLJNPkSToVvdqI4nqXK0ywZUeIwdjeRVhX8PHUYzHhvJslEgz1HuGFgIG9TJMqeiswV/VeFqbWSotOxcyK6VERBIZJ8wqVfZn+d4QDrS+CUNTjzRUA8+yeTyWnrLbNDW6wcDdjpX/g2D/UXhRCcEG37c5uaVkf/iJAsxZYWgZHkG0Ia5DQpXpSHJG8yiZkgISOtl9W9HWIiFTfL06XvXNGtI8EL3TqPfZNKdf7/l3q5Xw/cOOFJdRUREWYLLplSHHwUOmc9poBSSOWfof5lxFRM9xe5haOAMhaUoRFjQrA0DQpfAdvM8Ftk3ybysQYt7aqoi7xJSYbxiKdnTe3HZx9V6X6Dda0Rw1vAdcdn+KgoWA3gcC6QuhQJQtItMpOJg1UcXe7kLnp2lLt0Wpp6mURHuiMU6rTNC+j+o2yZziW36bZGCpUQzmsh2UrblwKK+8FozaR32i6nSXysTphPe0prGBRVJVhZEB8tgYBzw2XzfbSKeOz/iSTbyiWcwWYtpDcS7duujEb8/s904bY7DS7VmscIQuvZ3XqSv97jpHlGqhyZuL0Ps7tGy5PCNytY2Al45jOkG4cEKZNFJeeo4Q79vHpj3zZfOOcMeq0PPwt5Vxuj6Hy9jJb2Iat1evrdE+H7XWoRbOGXhCifbqBetWGrQ9Tp1aFhHHUCjzAkOX1Ikez5+H2ZrLwSOdWvwnypvupHK44YO7EC+T26JO38b778vKCwPo8KFDcea+T1ysTlicm5Jqo39h83zsR4+g7H73adBomcrCk4OqIJcEzOHJfnZdcx2uGp6XGI7OROubdZhdPW8vQ1l7PDh6avlF2lx86+xbzqUGzO4QbnHKJSVne1tl+mkMoW9XXGQbtJqC+L8Wjpvop3Jw0SBUabNYkGppwmAOeXMaV/38TH7BbbbzdRbWHd21u8DG1+IIMUW0bkeub2KjLHZ/Jq+8NQ8zyVafBGem1kFZWNXZlzO756+ZJX5W1/0Q5C6WUDhtRIb/DzoIKdLf1/b6a8aSh1Y3c+QaXWvCfI0F818AEk0ds4TkmUX4Xza8Kt7ADrwDCQuQSsuIsXTo2VrAKx2wnlAs4TcfdI/DMhUPApQgsc4XTfEpDUXo3Kcmi11qUOqszTc/oML0JlG4l8ZJ7uGdmx2s0au727ALLhNPJp1mmqcX/ecSr5e5igSmcgl+adDZ/PnaTTOcbC3LVe/GXDkC4pxL9xDqrh5Kqo1DQLhZS6tEiCcShf4awoJU6wJwqCiSV83QucwI95kq00epI3KZQwEpTHDGexNMnC1rhf95Zf5iW+5NznoMauOcIrCUvvzB4SJC7YcdgNjtUYlO8LebfV6I7AU6NA76VeXhOFpJm4KZYDqhN4Co5DVSgFR7ztNZP5yrga+Sn/ZTUtWvxXoIREVHIOvns/a6esPaRlRA31wkSAj4unl6p56zPag/Vp0iU3HpxnAHouSE2SywX9z0gsorbxZxRQyJFwF+U8lQcoXdOkS54//N/o9zMXVf4XZuPuTRtZwiEPaqwyvfZM5D6GE35zqYrbg0N4aYLblcSi8F1Pnwv6c7BwcL9Su7cqKtq+BGfF5jSekimjsoZ3KLfoNLqQCFkTeVsdCOWKhAGrkIGDIoK73/Ot+T2YjXNqzB+Qn8RmlYZuShu2xP5oj7sXXBZPxyOIO0yL/I/rtOSKVsCZvNDXjMPSuFPAEGUIfIptBu/69cpHHqBCWHxhW2JtscE+9UzgOKKaFjeAkOY6IAsyZ4eKhqbk5Wp1/64LGClW+vdUYkcRDLVadxEWy8HpwouynmN7K2p2JyNllJwfDBojNOKR9dnQAIHpFcfbba0j5cqV45uliltCeDc/u5pjzOq37kOfanuMRuq9+62QQnKH+InUI9eKzXjXra2k8dKJ06hZnde7DMILZspojsLSn58z/DfGlTunwgdqxfXgcBTHAtkPOyRpknOa/9Sm2oG2CcIF9nhUa88YavwkwDHvYytnldPROOQi02Z2EyfD6syIpPOK4C9U2D68W/aQl1MN1elkyiWPYbGHwcUqAlkub+PhSt3/PUOfhGNRhbgJw+U1LJrhpb5Ec+wHP1ZEWsN4JA+9XdbEFXCCtqJVfcZSdVYJcUC/u41/kWnStVEP6Av3ZGNKB83X9EAyqtlBnTVHORPrbIOkkZbeV2aOZA7INUGyCFgxMNkS5hgXh6ai1yym6wCxTGUVUg8/6ugMxikrs5Cc9fP8CuE8Prkt6LUKOzYyDq2MwfMqpFkvvPntZoX5a0K8laHqIQw02ge6YKH/4CpFII8ECDadPwsP1xZSJFRql0s3W/DwBc79fCRjEih+jn/WKx87O0SfWpEk11h0XwVdULpNIFz619vRwskW3ND4pA+wV6V88UruDf/1n/Ovn5HErPt95Fnb5nZ4CrCtkcMKEq5Yt4yWDDuQJjMq/ILFhAOyLreHSt1H5NStTpxRr7BI4dIvwJq+b19+t0qZCovm36Z8hOhM9aL3B5k+hlaAiPPakZfhYsKDroqclsnyXXiEseX1YbEIMOh7PX9i8/j97ou/FizOJHYFDC68ZTqv5tbsSITcdL0earTjsECQ1PWQkNHKR9euZ/GNEdV3HdYUfUKOtO262cEqywvnl9XejYfaV7/lWt3rbXOoMtyTJ561ZvvtWmbh1k/jwmRyIvEsNfBJlxS4BXgU/Da/TtpKOJxmUYXTPknnsVcxdW35A1pzdGStW6kUQAQICZAQub1nelQXB+NrVimfhPXE26kQb/kUvBjW4fqLtVonq69E81ncSQDABWdppA+rld4rPEIC1XNAzxsa4x0z4yxieiL8/WPXC9wo32Nnpw+ri2dF1IEg5nSCgpRbul42XqoUikeGnDpndAEu4NFF/XmwF/1K3UCN8G95WdX6E9g3NusjQ50qHuy/48IK8YnuvfOWgm7tYAxe3b0px3MvOzDqVYbNW4Tz9rkixvKYjv7rlMRNW6pcSpStXFP8r5av23g5ZSOWswKIouKPHvpZpsJeyAadvW1XIQMHIwm/V2f9w/zMAKt2TmVVQyqc3J5tqhopToEgUu0fJmZ774Dl0r+KxnSV7aW1QSWsB6mTcgMsozS+urp5x9mfk7ggd7WZKQnKd7VNURf8pSOSKgjJN7ojFeoNjBLelfmY2KA3ivK9F3SnhOsPTAZ+jYen2jz3HYtz/k6Qr6t+mCTASgnOodj5mPsjwt57IVN6b2Rd/I5gguMFSLN7zb9gaV5vMZbDkUNlHWI0Ah2SAvBgtbvjyWr22tWXHfXxa2TdX+0R/Hgiaf1YTQSkdwRdFyY7eDWAo0KbY6mPU0s2KwTn1zmflpRDlQyRjIhZmIRv4LjGxoYSZVLuzpnHfjNmSwbyg3grbOC6xSDFJHArys/dzGfmRIm1d3l8qKJ2Pwsbm2o8/Sck/QGKbjG3vctLV6rqCDqBFUw8UJ15+zW3a6mf6JzXreltNq7ge/6tiqco2KZOqu4H0Yq31GpzobeRMfOEGjFYMA3pp8SspHG6IwXbkyXM0iGsH2u/NGwn1V+4Y8IngYsSy1Bk4LocDqXKtI9U0FdMN3pOCzgnteQYlZ474DIfGdBU4f53OG3wrH1kdrveviMFN1fynm/xjp2tjMiCqVlCFcVnt6yjRamqwnCdPdUlhYND+6PiHCO9+zYtDv/rYxv+6PM3yBQbmFkMiRUOniDM+AaHexRG9282DJfhqma2ohL9G4WUeRT8XrnmGkjkEUTwQi0J+v7JAlH8VRaLLIOo4L5rUZ7nYQ1+nIzdcIZfSF+kZlS/hu5pEHe3qAHkmLVmMBvXFdDdLdBrhCQ6bWlRMnE63wU3seZHhaq6s9io48zSbtAW8hHXbWksa7THJFdoESzoDgq+lzo6JMczDt/wX1upg00sTWuro7bH/hsRjdL9VTwh4D6kVgqRwNRJ8JFJeKvfLENeGO5Hxjwd74e7LxDtj30efXDL1jPX2djLbDf94kvwLj5y49yUD1tsrIqTu99IbuZ2LPYpiBjL0RDqdW7NEsJdfIQAKxKQMkVLyJYeNmk7D1Uy1Wfbe0uwFEFAFcs9KLViHQt7foDU7+7InOqRKvNb+rdngYAyguISVzq8wgKk3nx2qbPDRJ1JsY1yJ4jzCIgmM2UP6De9ARqmQH57ZrnSsxobgJpnkOr02iPyvazJSfx2ixnKvNhFa8TIAZtTwxn9ONtYIQFIWoQpoyCFf1x66mjM9YL1VCiM3RJLphxH2na4Ry+ikANeA3pXAtnyiMdxMeeYp+a9uhp6IzwDOUk7FLnj6PltSybtnhVCgdVXz9jL5ZTX7ouGKJWNE2O6hyN5ZrePVuPmw5MJgxde1vX3AoqpIBsQtRy2iO53hRtZrKPk3M/S0ZeDHOZy8hM9juyGZMs1ukUiGu2VpiDhB3QOzQ5mW4skTsD+lrWMZ7dR1IUm64ollPyfAkpaqfkFjeBPsd3DY6TVA+igRe8JhdR6aK1kkWiKYfFK0cinCWVqzz1puempynPWHlRDWjzim9fUtTVPucW9Ti/TXFTj0cq6Ud2zsxv63Fkt9/AXwWEfYwOdkgHb/s4TFtN9t7L1hRZ18SLt0DiBTxTDS+h232JmVS0hdDg7Rptfso46uTTw1Y4Ngshf9mp8sNx16tp4mKzWZ+moPVfTcXvrG42aJ8FxQH6DxEBM2bYeMr1Y25waLXvAl1DzSCcY33d1LyUv7nI1JRho2iKqutsPze5+G/xdu4VZyaT/XhH06cjrytYSk45XdNnrFBvSb95GV1tSek4ZzZyOZv9ui+NPJgp/Us9Xuj9V6Z8xvTIIyfigVYKs0QmRdpfAv9PUS8A63vIIw1VBiQsoGvxhNp3FUYR3BwpbY8jXhf4iH72PLei6s9igCKY5qY+wQucSmmJveYDpNs1RQjCznbj0Zl3AR0d7/eaE5VsscxI/W9zz0fvH49T0dy7q7A1M6Bz8CgJP7mhqNR2+wrwXzj7am2e1bjLeTPxKnHgAtL7mjlWLtSq3rQfake9PW7ZyCj1+DOG3RaZmPFaLJo9HNAfshPLc19LVl+XW45CHhfF4CixytmPm/YO3+yDEkZLJ8QglHcGkMnQ0IJdvpm/2q1kgCwpVF5JD8m4M/uJdEZhFzGYFt/ZJkT5F1Iw0ayZM5cyYhigJEup9vOL++viBYzDDvlQZC60ePhYl2rmZ17Prwd1LDH2Fl4eMq/AAOdyr/74eCSWHpdf/0KU0u2d4lGM02DxVcco4dTe4xvkgxDrtiEh/BjGA5GQEKl2otjn/WAQxT9FSBNAfaTwHCbOY7COVOZa6kQLmqJsIVPBvdoxORBy3445W6JzIvYBvdtxxXgfr1tfrJ0CBIkVA7Ey0YzjZUuJdE1q5UQeckZmzjzNPATRiW2jik1R3d7BBw1DzN5i0p2OriASb+xfsCD7nfXAxYhmFe25Q8bujjbAFzgwU3MElWKgZ4OkeBTxQwqqaH7GdabDRb16Q6ivjn3J2hD0RbShEDKHccCyBzzmX7gjDrN1dRq68gTSkOaxJUhzA52KhxmlGYua76WwaDTy9lNWrfvmKJB7bPk2ljgc+EDrPgHGWfREIUdHfkW0cQNLvKn4UfyOxB+3l2HoNbFX46bSc1s809tbsgwhqbuzyLirtUTyszeuXb3LqgYZAfw2+NXkvdRcv3eIc7FwyKl06tRn/wzpa/p2OKCbLRRlLJHjqGocu1hn3k+CRpjFZDo4q9fOQLRfuag9zCK1C9otf/fj9gnYzurDdIekQTX41ZwbIj3vdyrphjOoAIa6Sohqu+ac0kZx7z+8Od78NRV+mJ3o/am6FTa5FQVI2U5Ei9qV7PvTbLgVFy7KZoUvGCcE/p1Xo/CczZiUEUeeZigliPUQNwz7aj1g+73lbTxfB5RKZIlqVfP4bAbBwBkV4Zx20tUTk92B24gAW6WVeajjslqxIhdVilWC6QayO3PUbwsXyAPP+W1Fhz/7vivLLLrwSm4JoXeLUScWDgvrjT1Jr8tfMevW6YEr/MwfSdXkpB/hqUFixslDBWJ0WYseXgmZIMUGA65dbayWISc87muDYcgwFDPdzYuUYR3bkq5ftLT77ZsuqILdLPWfakz8G4UZ8A3CoG9PaOSAKOlFx1ahFZGjePn+OfwARwbBuX+2p5g++QNQn5DMhhFVvcyZQaIyYt4ChVEjGnr+OAGQoyLNrhEXU4FGuShUGs2j1TB9TzWiOmOlKL73G/ENwNQ3wYDX0J7YUZN2jAWIEBAcYhGf1Yd+M/YXCyWdEO6pb8gBaAGDeN4+/bS+MZ/dEqqRNbSqWng207ToavB2AxeI0eO/trn4LV5fOMdt19+le59ALs3zohK7Han0CkPD13avLHypprwe/uvznkhFk+lQHs5JihtfuYwTWHh7m6Pc0UKZLh5SE3gIEvlFqu7WBcfiUuCOOIb1Znd46Bui/ft1aldqStDHz3ZKRpVi/MHFheZrqbpyZgDhhuP2NErClIF3w895kkdaWGsjkjkmQOE2BELDAxsV8nyqcGg5CLOWYuKHMLl19H8W+9e5yQoVkjoZPwrJKAVVKzoMSlPb2WjrEbquwIirsqerFFXzlgAXDmt1eN2UQts2l8A1PetpahJ6QrCtuGDv21kF0ASW4dF/bXcyxA0yY+EX77oNK3h8phbD69aEB87lFXB4eAsDvMlcyiJ39QkrB95ghZrq5jYX01SkjZRUC/tU4duOSu9Cgu7RA3dggfKnAyELjpv/awRHPE2mj6vZnRWEv5dVOfy8l8T6HMCLZgk93tfO+ZrcBeQ1gmHGtN8ayK21PN0iIpqqI/XQImtFkfpsamIEVcW8/3jMMyMaAnczgtHajdTH0WY4/AkN5qaubQFMVTnlAJUzradAGi+YUcFZ9k9f+fG58W9Us2cKL8oRNEkKGDkEl2PcSP0aHX2g4+VkuGVpyAb1fF5cck27UAlUwqTqHOb5cE5ZBM/9/BjayXC0xiE1CER1453mTs7LxEhv2VGElUQfjHIxQMFuyUZu3e52Qpxk9FFy6ms77XC+rkxQKT93RCNaqW57+C5PLFh1YicRrlr0sCw8wNGSqdgjBegsZp7Dvz/yl9pKqSTQ62P3EqRq/PjSimKNizi74MYbnuu+8izX4XhWLYISkqL6xXRkUIBdJWI+dkw3IE7Zcp++eh7W0wyxomWL5XL4Qi4WXAbpGWagI/x/DRMpYbPDcAbU3DJVw6g7RriznCarF0IXIFaNsOQ8KtzzJStua4MWJ00rzHmJd4c2ivpLyU69zWF4NWrleqR2BjLE/AijQiiFjWa++T6oPki6nwcDxLfOzEEh/RdmarM3lTKL5qe+plxVfvTRPWMgmP7/7Ak8sskrkb25xMzowh08kSv3zypvUpLLDVEmt+zgJvzK5Nd2cixP1IMQAp6zxn7hicj9uhT4mLZP8jLK9WFQmxtwp0XyZusk/krBufViBV+SeEt5s/+wdhWGogZuey6jUWTf39ZBZ9tRE1VadvUVZEfq0Sj/s9qFr1Cj74/HXJAnchWWEDyESiyOqeKwA5zC2SUYOhuxVbfRPRbEdyRehJWY7OkswFuIU2iLao8WflBFDQvy6c1ygx0WKOUIN3XeHhU0POr1rSjBgor7ia609R8IKkOlfHZPheAw+BiQyKbxphKD2lITEyj/oLgjFe4PLvQ3GXtP1bt5pM6PCE8T2G48PQ/m9jpekBsWfOTWn6JizZHgpccA8tbrtkOqbYiIfVDmThqnutTU1ncHVPhRUNY/fh4DFaFk2eCXlLfqM6QPokPN+RQTXZb8XDa4Lv0dPJyZ1OaMYldqP+7E+kSztRt9pnauE4nmt6l9XO4I8jJfmUsr/X/c+hZZ6cq8puFOi8T32ov5wNAtOxHSEwXc2geCgIeH79ALom0BdywpdM1emjlq75gTlT2wRWTEFgVtzTnDrO+kdMtXy0fOvylxXqcD/cQZ8d/GyukgH5HRYbgzjUEqdKOrbyBaa9uBB75CC5FZtM5VxItqOe7dUVO0rzcMMyUQTBJA6FW4Ewk+C0CGewWHFQSs/FnqXpbC/CYnP8YTDqiCJa5wr8lY0efssZ2THD49ehb20W5pypcB3i+PucjriXSJYRKd50sRAnCddZ+bLJr//c0qxucRtaziTNSF3axQZRVoGiTyAbAXyoKacfFQuk6lOXwLEP9FfhFN+RHhy0MCLQ5XEA/mZ0ZLJhCxYJ5VEBfTUvFyBvgO0saWNRi88y+SATweSPXVZ46XI/8VOVAniPB4cunCYj6fSA3dQlGHpDg9RVevIoqtBFnvr0ryxpFEBHnYbb24FsHqAQvUy+XjqcIGiGPAAjMVbIwct+d6i4XJl9IwyvG7OfHcv5bf218T305ideIAvOGm/3gdxhGmh3DBdFKghM9eE7l5xqOfmjoAREWy7bNkK0HDQ5DquwlUhJF5mJamyq+xIMDnEEoC3RX4prAp8vEAlGtOwJu1ELCz2ZyghEZh8zon8OD+14QCSJPXIGn7OSEjgSivwE2omT2YLamerYSUEelnPFzsRb64GRX24JtYwi0knYnp1hcEXNBtckAKEfu8aKrCP65+PZs6EHZkSeHzirw8BvnTxgxXptryuWgNootpc+1umKxco3irPx0Bh5oRkV8n4qKeQ4+kAAC39TjmKuyFgPuSHnjaS4PY/ALlHhwxcWlTKOuuNJdsTolG3UJdO52UMIFnGIQaYURtyr52u3Uj5kuAl/QhYYDg82l1xXcDltAZUSG5n5q3UKgKMUGr6neHeuJYMoJmFuviGPGZClCzIstQg/4gXEMAgYyAgXtBeOGS2Id0qTWz6k1VDw15eYkguLLsJt8dryeqE/uAUVOoLPd6GGeVOWFJuCmLPojge7KDndOb18b2ynV+fLa6Thd89GJz2nO6Fm/QIMyOkjGGlkLYPBnK0+E/0AgF7Ddy6LN4je5jftRhNWU1XwNluWhYJ/+eFosxz9yzYpHeC21OlrSPJSIODPZusak3D+qt713SiEw96VozOn0BMrsjXHW+UVugHYztDHL1TStm2Ydx6npqooS+84EfUNGvHDd2ty1eOuNkz9+H2RzCGGkSuk++TcDGYyWejPbvBHzPTEIhIz+AdRDDtHFvnaJA90HPC506VaP3HnMEbsIAmwLmexPa7d/Ac9hSw/PnJD8N7J/A03mRZrjOfM0FcWKHMJEcXD2yIHSGsI6MMOhXCufX1ici+WW8fKA53P8sFkcyQtY/HrH+EIBWS83CNCyMR0E9sfC96cTf/2HNOCSylh+ybrt1ugmPVFX4jCgFGIFDuHqBmKQJUGn6QicR5yWPfsdguL8WATZZ/qv3rQ5fQfSHk+77O63It94koRa51NEWlMDmRvNN3/4mth3S9JC1K3sQKkzxs0kWj61z1WnzracLC+e5kAKlYsJeHC8W4T05PFUVkICz5xDBYNaYH5gCz1whf5nzjqMNfbz8yZEW4AJft+Y/d4/4Cy5MW9lQ7m+y3tMgeleKHAnWHdNWKWl0iRIqzmCp1f7yQDRjzXVbzwcHyfiwnKSG603eIoESWef6ca0d+xw3g+haW9dhSO3IY6fSu68DD0bYyMOXpbaSTf93Ob50rS7qBe3AYIi4v6brn75/WmTUu3apMJ4JE6bc89KoLeyU1ya0uKS5TFF1EPq7FGbeL1UNwgf2kVSb7vzk0osmOU9Br1CtXGPObPbpOJ/7y4DqQOwOAGN1ohmWuwhXvGJ2VfOnZsG3JFk/A3kHgO5ekv4XqLotLdwCFonP1vi9+DdGuaMr3i7viHuF5vF4afKbkfTlMV7cqSTHVFwBvhHw4CksEOsAain90sWePYqEvOXZU9UGxlTzEsNP1mFdW7d3Ju/K35ltyhYgTq0Vc4JYpJ18t8U2ph2/VhPJCBOwEEmxyAc82dtTvWRS/8ZwKZOzAPmZG0iI6RlgcasDunD2Wgmtr+2S29AnxsMN1O+QRb77i2KC3E4tlW7q8mvT/EkusQEALxsSeqVJjt/vgnel/7Mf4d5oQZ43KG9RJjZAyESc6OZrFi1ShDGG984vAt4lQAxxfeD9GOLwM2EcGiG4ZpAhKxvpx1Lx3GfdlMj+Xs8nw8DXJfhF+QB/Kvg8/0VgyY0lQ3iRe96+z9/OLeSwXnhzX7bqQQFHyHpJjhvkQfaSngskG4vsMWKnR7QoVOllrWZI7xNyJ0mobBmzV7VZpUmnc7pCOx7/ERRpHDGWaQy/d63iRJ+upakjs9o+GFrOS1B0wqDCdYUrXkF3rPTMWufdUBtP6Z+wXt5zri8Zpw6RMmahKbVr9jyYsQK/PR9DBCRf+7AcWHAi296PU2OirRqCPdyvGGoorXvlomcKbqMqAnvZz6/RexOy0BLce63t9pz5j7TXnQqE1i/Rbyf9jq+jph4/GOLMRcmaHJjZetEjyRRxl616QRNDzjbEVpTw3b0b/oIUJkVGGyMMO4jzxeGlb+3BSZrly4GhjfbyQabBoRkF+b6XPrZVyptNNytcCXdv5NtFLrHjVv1aTyPXudXp4ENRWaXu+bvoVLsdAqfrZR68VttqoDPId77+VXFYk6k277THgSjqCyW1xWRtqwociNMfOLAEtngDSeV6ZGRAxB7g55EmTONri0NOIhaISPDPOv4ob7EoEKUFu34Csg9EA/teP+0clnQka6ITdSfRI2N5iVxuqHRcMG75Ez8PxUXPoCLQrcxMIB9h1ilgrB74/fyS68YFOzpLkMJJ3vr2JvxX6YERTGEIPScGxfMQEkPWVmuD1CerGw17pM0r6xHmbQjF5F+GvWpKRGZ0g1CFcolNCqyL3iXKCkltt4wd+Q0h4w9y+UiNPWO1/Cw8xHSJDdnxxoM9LWY4UXAC5d/5S+TSMIzIVqK/BKmqUmGhXVejp3mvLE7KgUheG+CeQXv2F9uunXVqk59DZ61lYanz5zbYv3s79LyQx8LQrxmdhIX5y+7ak/vviswKuV/G+Pfyb9dzUUMY9qH7jAbRLw7br6P2LDyESYU/Efz5oxRlyICQEOwn+8amhtX4f13oAQDQ/3xg5bjwrR7brNW3hW/lACYnYVBs614kcManmOpSvtbNC3IARL8SZ8zyYagAiOwOuMPVG2OV5kWfEiwwL5jrKm10AiglroH/phIz5FsSLNZQrVYyQRQ/kZKAPLPqwXItPOEIFWotYXiiisK7jNej/jFPoe1Kfb2NA/PtpnXl3x7DFsKyAeQzeOt5AzpxSdbNxaGWJirKfa0095PEnUGtTLRxHW69glR2h27Okfi2wYk+0Wyghkub1O/Yek35e7kWLZwbLXFaYiD1MwgfFgEwYLIEDCOzuxfWyJ3W6QGVSpenIOQwItpLp/4w6j3rULmhXG2ojt66Hcu1q9Ildr4+SCnsLdAvxGFTIuESqQsv0fryRFP9czBeRdK/uMl8Qt5UnjaB4NK5Nx3TTCgJHsi6H8s5el5Hs9Nc2To8dz3wL/1qvMBtWwCOtf8tm72NYUG9HTJZxg2jNanckfT3T1BR2vBGHqwL+iCOHrZu56DSp2pncb967Eznmuji+v81y+MiCHvNiEasicP45pxDz9zk2NhjuiJ4ZWRpXIiMnVypMCVmOZZWdYxcg9gvsN0Xr2RPAkLtJLiFGmIBfqlmGFRaAKcZbJlGQQTvMs+C1nVygwGPFJpEt+gxWknZz91333TsY9lu99HGgxlKr7gtnninEv+LAuMw2q1Wltcdt3jdmh803G+NzydGXeHHD3E0ofTv1phQ8lnN7yVtvuStqJr7IDzL7dS1fhidhme0EMKM24bDhRvKsHXW7lcu3PJe4dI1KsmQRmAYBp27ijDQsvw3U7Hh/Kt2eQbW2ghX8Uk/vmJGdQxyElH38/nagwIhw8dBozONgRevrAX0xuSVxhvsCOmUiAK1ytTkBdiM5MhKZ4xH/4PONZeAn/04fw6eHpZldOe9btOL6IEyoMEXzTRtKPvTaN7VbuYbyVYoUhgKJYt8WI0IZKNAwRG9f3SPfbXaLshMtzSYpR9X/qiUUXRcObbcLk48mN0VUpynmNWDOwvCiEIIe+FhM3BzRBSiYfWIj9p7nDbgyBjGWUjOHMgYxJuGfEwBL9HBYjOV35ZDB77IE7igdSoKOKp6iKu4yayREFt0h9qlWhHF1SOnvPqyJQQUTB85cUQKIi1bqdcXTGxwTV8sVw4/yyGJF2okDsTI4etvGA8WxO4k4TDbiNCLXlKuCEyfONVwwW3VzzrQmKGjfTHyMtstQKJB0e7uQfNfKXVIQndCzgnPesv2enFeoAVgKrR02xKCMkF0oTrQfQRUh5Wtco4tk7p/UJoQufggAeO4Beks0F9pZEjW0jhSGXtrBzgk4pObXZVMokOZ2G2Wt1QhKJaDo0E9S7dOGRvDQzcgLy+OXEHVPnRTHDTkQPK94Iw2W0ZZaf2X2EHgqq+BZeIzAzjtV5O/UMrSb4zwhDngbmYrnTHDNsAS5+lZl7zp88Du462/MNKjvUgDwzZ1j6hCEQVartti0gUdyK/70NTpZEbRJ0R8WhT7jGoN2IVEiIO2h2CuHfcWZ00J90HUTPO39wWAayU5lRmHnZEpZGLQOMaFgH8PAIwelhXd1Fh++AFShU6+wSQOzldWx9QZCASt4Xtypk9im5JUHnTXupxnb11WvIrQmBWXUxHdvUyj/STZJPTsQ3GEcEd5Q7/bbuP2trTlPex5wNm/+3M+g1zD0B8CDmHoEBDP0nmxKXXyYfaNwOG8KuWYztXwVddlEt0CT7LXRQQO1Uxl51scJzN40hQXQOqwPogTRaoyBo+6h9C3qYkG8NIPCVROcw5H69+8GujTwAjhZSkNmtqE2+VZBSruy+dfuLl+v/xCviEoWZqpeGYdBUBIk+HDE180X5HoBrHt6eOYjYdY81CnmNhynoICD9spkK96xSKgPia7au/toOFV8hQoqLjsAdet9vklhkrzniMIHMWc8Sr80EvOVbthafqMwofiB7jS0U2YfwM+qzBbpbPVWFd3+RURpoEDPBmWw6jYP7Tkn6TjOSrQcvRatUmK3QuH52nlSTjy4MnzsDSPJZyQWfMOIc0Vb7kQtIsaYclp2LV/OrxgTYmnkOzyxdASJbCKbjKYpF41AvLgJM1/0p4mapK3C2cNmMyoKfpoNPnaMTVU/EdS7EjFMI/tM3+CYYtwjusVT3gSIpHbFYcUUqpcCY6tnleCF94QkAC+L+Rm6Hk1xlLPR8EfEp2ZysRTA+q6wTM7EwlKXjy/rTS6f/ABcOvU5/96G+rsno8Icdm3RBhex911RidNimC728FbJ43dFWM5enkEZqPYaZ2cIUvtajebc481oYX/jLs1qeMfcKL4Ks5rLgAtbnuyPz7a4L1LwvKY2LUnqR6nlFIMAoUMgUVHQQRiBktNU2xETC/vJEer4DWhvlnakGUy3e8PdsDuEYM1BC+9+eptzbZVpAcXZcOKaV5XpJgfLNCmNW2edUCdlkVHw7QFl9NX8n/9i1NAUb8Rvr94ClcVnSciY3qB9RQaZ0bOQBlaWObhzEZ42F+7Rua36uip0ogRaWn/mwTWn/2YAtO+UkJEgn7DOiwsS8vx/vV5yP2oF69PSXpeP+K5bttS0Vv/9HUtw8obB5rjZHDUm/LshbCOkE2qo3fAheqoqtVH0si2e66mA8UKAHYt+8NHmLZ1BF2OeqIjk9dxsWdovD5XiAxUtvXxwWcqQ7NvF1H0wkeiq5nx3XCx7xWq6mw8O+0dXHAPVpDkKGGvPAHXBAvcVIxc+DNzVvcVFY7ws0G37m19GjVHiJ2+cc1ZOlXJJOd0LsY8Z35OX4c55OtZ7BLuNpvARAbCikgje0oBeUCcMVxMAkKFzmZU5jkx2zf+dO9AMVtcojxvjiUx6goPysI3VJc1Fz3xutKYC1LbRId/gAb1tEVh+Y8fDA4xxcKYSDgWq+6sTbWrf1lKKaBgvYanJuuh9i8cKSL1CJmCFJQlSgPNijJgIrFpisaiPDBpK8WdWNySJrgqVzz47dKpcR+PSsy42JYyVRibTwT5eRZ/nDkgxTT/QcdMLMpFcc493d2Cs4jv+uAN1mGttHeBFuYeC1GGU9lmcs7gSHNI/NT+EHJloaomH2C4fGd6rtzYP7yrvZjgt14XoBg3ozNexArWStVv+xKkaoAVxdn5W5Aweufi3sQSJlgeHoemrcRpvzUJobT8bC4G+TM9YCHXtDbaWRUuec7I/3zq+dhBBLhO9kxDAPKfZojRHgaRtIbAVm+CTMbDGJsh8vCKP0WQfh1Q2PNpZk47ouySNS91tHoRoY++GinbbkZ1vPh7nXdRv31iDJPH8WwuiLvhhP/Wbol9sid77CivA0ROSFAvdgpo73rC3DcSloL5PA+pLYSrA5ymwlpyB2aw7P9m8Wwuc/pOuoun4upClo64/yqbj12VCSwEUkpmeLcKz0WezVdbNJyVqO/tyqvlq7EOE1YGA3288pLL27dKlUoUk115wKWBBpdtlULv6xk1xju9s3BWJZ3MKBPKCt/cdH1Xu07PN+G3QQitEDZttBVhzH7zhuID18e4D6ZVpGQB+kwJbmmtuxbm7CxktZRQtv7IhO7DN2dQjdGEiQZ5tPOFBI/HIIdGAASib+Sp2zH4DvdCoqx9oSdBKJSREUaOorC0Od7icH4lFPnCbKH+uW/cLJnTzo2leipIyYcfmwiYjVDKVGvCOawPohX8S7dovN6OCHS1EpMuKpQk+gnWOU+kfuuCdbE37qonC4ys7cC+w6mamNN0YtjXNjs/U0r+ZtRihurUiOFqwYtXH05WanEcPjsMYGAAVcgMTcfOZP4JT6YsUHMswphuOI9BTbmaE0glrtNrkLsDTWl1l7DC9dQMDsRagNs9z+Vs2dmWyUMj241Q1GqWQBr5d+6SbUzWZn9QeQezF6UrnrtvK3nqgSEblZJB0NfwPDufMrVjhPmRjtmBAy/5OS5rGrF3PBBzwhZr7g7kXY1Gd+khFOQ6bOgm8q3EfRy8Fkcgsi3JOU/LZLXPadc90cVvgXYlcWrsCO1d3v9dl8mu6b497mj4QbyFCycUDVX8qmcZnkML91iVxXhc45UsADCa3fw+B8H/CRymtqFtIyAz56go8945VAroJ2fu+AVr9r8lO/THKYa4NT5RD/MOVYhD3ajw4ep6kikdH6WU3jY8G6IXE4TRVuq8N9vRF1uP/4aO9rJLO7RgH0Ptan9Z6XNVlA83IEhy3oQIPwOStnzQ+X3tYCl638Er3FpEfO1oGcyWrSqrN+GYW+btncGw/dYKXnqZ6WXZTtTRtsib879Gsm02PymJNCLXeGvrmq+Dlvf7iadC6pUmm3wkxy6+BTraKU04CJF0LHTCGefEoHr8923J2cs22TDLmTiFUDk3uQTlEDlLkFCWWTgrg1Ies0DEUoC2ayS7HT6vs9TFIY9CyzHZt3vupHlFw7BzAo03y4jdapjT2T0lfZmvrOwK0RxzpFJ+wu/cu8ct+uHP/7d0D+4MGDtf8xS3gxWLS7+waBL4nEjAizBihz63mM3qRofpYwMhRQ93YYPgZa4nfI78YzSNJRwCCScKAhWscRh7CYAvEGOnpM47iWHsjvRiiNBzjx0ZQ8Skqnnhg56TtQumHdgO5wO0cfK/uY6rGEXrzkVO/LNPV5gPCGtyyFyraqMOhJD8DPiUU+FKXs/A/eapXoY4TiJ4WcxhxdmV2KYiGIcQyuYUJHIHeSmEoTvel8n6Qw7uCD2b+nYFXk1oqkQINaJDMUZ0GwqrddaR/NJqsyHiyfdsHjhuMIvHoQKuREZMw78BgPusF+XGGEdPDElhoFDXKnfUGbvaeoufY08BBxyj8H3iiiqDvtIvjBUwTKB5DzVwJuEY96gHKXGdqgfcFeRNbvEB0r9LGgOElXRhsochUUe3ZWr/n9AII6VB3MVPRxhSDX8xDAgFw6xzxSSIlHFP5fznZeJ2n1u3W9v6R2L/yGZoazGtRuti7Mwc7Nrv9zEWqkaWljuD3AGF12Og1TjQUYz8f3/HUEgeYE2V0mcKWjuVf0d7Rzkt8czY8WMptQiryhy0eS/V9D/eH80diy3uN1FZO5SUD97iY1GZ+4M840mb1bq50tlp4MbyVBqTQTbwoW8zl1fA1Zp8RISwh6JUHX7aP69eap7XYAdnTi7R5rC2cQPXXcjSfzaqoZTiZeLLuWOw7k+80Z++PfFL3Vt+tM/ni1xxoSS9Iq0akGPgbm0WvVevH88OvZczt716i6rdp87q3k2bhih+4MtyLUEbzSBxpRQgBd+uABwdKHtRbFmwGqgV5an9BVdDIIxfb6phECt9IJZuqMbic9ZBxCsUkYiErWr8bRrp3oaZL7GGLG1eL1DaH5CPQNvbmzWkBmBLe6SsVwAANs5lnKmTILquQtx/qzgBngnFUuPQiDp7P/zPCCe4dU5vRS7uLc+YflgWK1DP3v8E/aVceoM9GaVK09/1ky69GyuUExAGrSFh3G0ADRntA48YK8ArBCr+Dr6FgtOnDmBs0KsnP3cVlE8Nyx0TK5oBiFSom+7sd8RqH40LikYHnxVTLAyzsj+mTBjh8pJhzE3+FJ5nwrw/aDySDCuwgfIaAi4FzZpTOumkAfxlNyqm3HiIQivaXRqiFu29CVzqLQMa2kUnJQsOMQMjGNI1htFCMEbL5wvlpuSYs8Tv/Bhi8w/IEkl8unC3rhz4V0QuhtGanr/MmHyR3ffvpeI5MJiidsEZ85/1aG+93DVyjSMNe6JVTN/h79xf3D/He0hYOF5xOed/hTYXKYJMezZaddJtFBf6YGawgX6xdoJqgk8TXze4ewnUR0rXa05OxTY2cjDxKOvYO9mJ4u7SqngRNaU7ZdIEnZTZ0M2c6mX/0o271/ai8zoA+HALthdBxSdTnjqDjkk3Dbj9EGGVMj36tFsnoQG8FB/cNAe3LxkYNket0Vbl/nFO59d3nsHK0nW5jHFJRTV7aDOa93ytftTF9JZF4hMrWgGoXRMC4SLeVhNSFHvrkdUajGHD4cS1+119vUr6gYkjcKOUEcD0OUKUMxK7WrrbvjSjto385XKbdK6eXNtc+H7FY2wEBYfijvl+fZ9xi2BmE8bk7/ixYVY9xaMJ8+x7KeGYlHbjK8migSujLcKIWI2mRhRSE5MvdQ8JxT+p0fnZXuEFcxY9KfPuqF4vI4C2FshAuU+Ny0oq4wdmKOlRn9Scu73F1yptOCEGmueCVlPN1wmJl6gmmW+qG8/PXXFOomOmuY1HzhteZ5rU/cePKQU+F8u2HI8JQj2201A8kiKJAN2EywB3WYkO83iHZcWfDmDs+tBIJ3VsQPtGjPmhp268oEibmmBYsBiVH3/eKxfONzSbpWhojBDArIod25U6CUVHD4iKiF/M84yo50e9A9o/s+V1eB4XVUV05j4uF9pznOlwJX0goCypWFGunN4Rm9+reMLtSYZV6+JlKzvebMv9RfcP3KfU9GiQoeHY+2Wi27YuUHvQUqFwFerIekrwEEM8SR8sMNW+8uyQr+OiL4NbJGwZ2QOUydVoavUUKDWg2xoLz7TLQxEUfWS1nMghASzbLqiA+8OCmwTr6oenpgdAN7PlUnzdj1dT0JM723NRtJKCTZKWVJZJ8ofzmd/naOi7usBjUDk2+w+JddNQs1V+c9R0vYcfJ3vNI0pNNbEH8pISM7P2f0W8Sy5XAahvW4j5DAXBZvT6qEaveVIJkOkiLm6rAFqITHfpYulvjy0pp7hLxDMnsP942uzBbi/IXxvu7SpHntnlsHRahJ3Yd1eVFuC7uI3k5PVsBNNEKBW7fQiH6NQBYZhY4likYgET5g1mLmCw731kDr9wa7D7qihzLYrorL7sqn92G9I1lJYRO9V+oBozxUQ8GXTRiKow9b4bZZ/+sQW4ENG8+j3eJIjBztUa+Xrk9Q97FJtqBH6x09tJqD2Kmk7Z5hHyXwoy3gJrMVbBJnz5tIEIkLuLtYrdCRXCoav2teOWXARQBMyXZZH14jdLz09GEjETE5qY7LFzhMv/+z9Hddn0w1d3w/6AsJ0GWURDuhPJtJOQVIhDXQXULKOqdcvZ1HbzTZwS4iM4JJ3n3F+X/r53oz223AsToJ4ZntyrhQ66nakHklfQhah7jP8utMVAVI4G4C4LVTeepB1fSSChY7ZYau6XbVDmnBCmMRRMkNrjkRwg0yU4DQAIVg4nitzv4HZ2mVT59sEAzDaWxhwLmdvb4SbADCiJH+5tgocQRkW4Ui0p3gCB5RasNUXzHLkCFt9DIHbSlEGBsfyQ6/flFJF+Mf4VdFPQjGXIm3dIYlDdthxSvpxRrh9kkNNC5SOmstFkUpaM0AuulUVqfXeFZmzt0kTwiHijgjP5i2RpL5WCDYc2okiWVUjzex1p1lsRTmnBeK2aRS8mD0jTdD/ZYuayu+nR1MNzho6wASbxYw/dQe+6Lcd1eztdfNN5H77lYU3qUiU8VUbh43gkob6M3R9Acp9zBJzHUEr1WHUpuCL5kF7ejly4VlNhUESyEFVLrE+P00+5KK6jUvc7F5MSFyS/WlkBAbbwvfH26BafbQw5xQHJ1IItrvUf7grMNLOY+VAMVen9cCj9TAvvw89J457D4rsSceqvzhFTmbxoElJ5msy8rNepkIfnjy/ZM3apFxUChbYbYVWd4epKI4gYz+1gfuMTIrWnB7FEA7Vb8qqmymSkIkzB0A0McTeOkIzVpb6A8X3b4S24Hzta8bvwrBpAk7Rjs71YdlN0S7JmG78PT6qtWkShwooSoSUSayBgrHln0qLAbiHD0Re0/UvWMM5nyDfHy0xc/98uq/TlCJc0Bm8EI8uN6Yk8onVSY9yMwkl76w4dKhFM7Qohx15s2gVKgRZ6LXMsW/urfZwT9F1f6JyvaJ87dZD8VXkpEzQGCGgzlRs4WR1Vq7E+UEPYL+kBwCYr8kLeDW8i0sVMVwDcVflkFo10TGXYGjZ6dUSt7Wl4bPfrYHkcWhMOoXo50FQlBtNSFMJspFO+8qFRqkt+Kak1YWYd+DuOBvjg7Mh22EX3vpz2sHqjhMyyRFTGLdA64Hc3jkDQWlBBVzI20B5cxbHRgM5g+lUzgLaxqcODfgoY7hynDMtvIAqJ1BOu9pBlUUXTfbBbiiG8uc6WDowrkawvj6H/MDSmAW4JxTixUG6L7E4Um7TUa+dstSwBrZWDPH+kbhxsCRnfDFHASTtsO+qgcFXIAZRp8q2Yi1IjKVZSvHi28V2n2cT7kv6kIcZEdqIjlaOpHh1ZmIlhmv1wAepgy/Z3cCwtul8eSHoxCn6cr8rF7r3GDTzNvHx5t35hE2v4ao6/aD0H/qgkx1FxNwDp8AxGTzlb+VqG/escmEU7ln4Gt7fKvMGla0vVjXw+abhkjffFtyCGQxN4SWfXQHBLJ9qChTd0yXLT9GP5vDVALr/ARHFyT0G3KY5DBnfhsC+6B58IkR/CiB2Fzk5oXLMR6mzMbC+YwQeGEUpFpFTk+6f+qC7Gi3RdCuEdztIssRXRw3QUs2VMiNCpHY9qxi7baj85d32Gf0DxVsI6+uhEyWswKBaEcFW2WRXxTcCfNfY1pOU0baPwUA/hMPnmyYXuKrCoejfWi2vhEOnUKabtXDUeaKZVGlYFrgZGMf+NCSnCeuz9zjqHlKthG2Ckphiz5oqVP2k+pAdvt409WVLkFrLGJhdk4Vs5Xd87UNFpV1cr8/8PNHUAgpChieekFVoavKf/pD7yzH0+XDgSOyeQUXaXKEq+G50eWkfmzLw0hdJ9X6sQKg6bcz7IzLIkeogkqtmII8npabol4tbhzFVdYOkR/7Wp1FzwJwn7JOrRfRfzMqO/rtCIyBN+gFEx7ySly8mG6BzibIBgyQQZ1wemkgSJFlMxymVLk4uJ7yoksftQAsnEb4fYOPyLYRhuWbbyQdlsBj99OuPQCR5PdHm1B8L45fAa8XKH3K5Me7fpKOSVG2EVB2sFmCYS2Q3Lth3lmCjXom730pbHeLq1yy5JP6NF4a01yvoqcCKcKxNOAenS9OJLxG3Vh6o1ywXO07qhCo0LBcyrD0q7DQZpZthZVobd8348WyMBtnPr6hIz4EfIK5VM3C62Vo3KjdVrFfX9M2Z0lOqvUmhBglNVa48V3aMsVS4beAxUUWdnTQJS4V//zlXZVgOqaDzwUKitmlFaMOWdbSvgBQsfbNrCO2JoOq7iAkwjSrm/o8NqeepyFRTU44Jw9mAvE/AtpL2pH54Biknyl5nNZsP7w74AGIIherffVy20n65xaDcH5taOOrJiYMKSevyqot7T/DgFWd935rYIk0Ui80SkwCv1UqAeLtXZ8AApMRwiy3MZ68u83eb5OHQTmK+iYNLl7JECzhh9h4C2mqMYGIlAZuVEYYe3oHGbUG5DJrcBGvvNZTArxVC8d840JneSjc0cDJUwTAat0c9qaRDWIc/UCZ7Yk1noqzBu9e472RTfMcfevVd/HPo7xzNUznRhPLAq3sxPcIQ8FIX/yfYSTD8Os/xvJ0A+QCEcm83EwYFLMo/oDTjdb1i2HB3icAqcsMsQpnIqkvRVHDPqb3Ibi3D1BnPrHF30vYqvxxA/+wdinNZsJoPC9WHsLeruxtD8nX95BnksRVOomq3/ojJV1QKtMXn5iCiy21R8YqKr+BVCLUahcBMRFF61/wSFkl6k/OFyI3+ZhI6/HhRMX1gJv6XwjhEuznO88EUwbEmO0nO9Cyu4+U+13rb/tnj9DBK28rxS7+tXEGgQc4DklbffVj/kSCVXuoCY6bD3ctgNeY3Sx7BX6PLh8kS2Ow+FOuzh4JK+LAfrLz8qeC4AjAMsARk0PvRHyQDfJWzc7YAcpbIfg8RuPPQaobVqMccfZsPEM98938pZOlqu6rgtwmGG4Ssx6op3EgSLO0QkDHoDcQMcO/n8zk+VrGkRYa3L4NHM7VeWhgPlbEktq6YIkg3nP72173+dClv/LoUmyeXgtAFj/Vlh6Wpq/lEB8wREX3xUpyBiUMUT3tCp7gQXoZ15DyJxSt3INaVtg9rxIIi4GmBmSuf/f3a5sbLqhxlBCxWi2H/yj334fmQ4Ou/6K2Z7CX7EmmeItNzDyXYPqJSxbiizvX5WadQbV6kWJpF+Cv3shpOPf0yGcJqd5IjfwqFUA9hRUJRnNwsuaT1KF+t91APDRrgIp1QD9KkV7MJEgNhY4WSmQGD0tm9WAo4m/5JaicQPWGWO1VZ/oAcY/tOndNByr7b/FKFVzTRPQMMWvVzgIliGuZdGlqXZjNA8Mbd8yBKJTMNXr/J2mzt1BGAvZtHPXbx6n0IU6pU8X5M1Oyh+ZBy2hkOZc22QJF/lR3AbxUWPTqOJX1iATyPQyjzAEeh7jNJzi66TlHqM7K+x5GM5P9AGYGhgKdzMBpJkBfeYGZvQYLt4ObZXo7tkfnmCJqqEZ7nDhtzU5VmOSqFcPCYmw0dYHA5qUQoxSUAI/CSVMxA5HG5xfpgeNU6R8Qg2E2XbcHBnlRnuQfMO0X1Nxt9MdlwoeHnlRZkSvloHrHVa0mV2ov3BG4KaTPjAH58F+A+nxzaZE5tgCorHEPzazYA6wyF3lBonW6JiXGYq+B1cQYNBDNIFTRBMobKfsMB0qPaOIdeog99I94COpgypjNvYAl3bhrURBf109wEXfSGiwaCoaPwrwLpduZ+9wm38EiDyk6l6Oxi4r5h9iTMnBT864oEmAceAkXf+TTIcLLgzicv9ss6XuhdXVMKidqlZOh2CN4dEhEAo9HrdPhjAmcrIwlpaBM52quZQKUVjP08qSCYd51G/iv0GVFBDTL+6ZQRe8NC9jH2slGmCjxR1zSst/EGvMuZpWfFeAM6BTuUCs+i3Pl/rciE4iu3ggnU9i6lAxfNwqXoA/dbF6teTCUC6Sfb1+/RItQFQrlbGL7ypf4LgGUJMcmjippUjXrluatfYokUexVyBhgT9YFUagVB7CBpGj8Zl0c22i4wc3lVdFZ1yUnKIAyOyllttMzVVo5KzqE/HgQ3zGhz1Tx+9QBTOmRgo3tsVjk4MYaMaweFlxrvxkyV7n1A4uf/JX4TE7WlIfWDXRsUvwfr+4q+rcq3SpKv2Ug8fr0q4OidhFLXgPbxGjLGNls+8gGKgMyCNgaOEayfqyt561MQE8S8gJq6t1KeLqmkD336XozXUzoeLOY8pXDZf/R8lZdlmvHBMxVWsXafek6OeGT4gvsdxKzFCsQDCPB6a8SDoFEvdo+OG3sFlkfIQK1z7jEQBaGkyYlFT9zsyVOL5/uTLenS7QK9qQRL0JNuRXalUrpU3AZrMDNK1hdGoMwWftKd+ijrZ4DzIHwmdBJhHt4m5vcEHJKrK3ynrBSQbsG+hpdL0T5GqMK4VYA3vO+mYRaYDEJJhDmR79ziBnuHyMTRkkMLh4MldA+mqgzqq/PswdMvUIgmaiEeak9G/oIHTVhSzQLD1JNGYOM+9MO/4nocx4adstOAXzHFxteFcGbNhK0yjoPGSuwpNyufQLEklTbd5BrTGstvPmzvnrjGGqhXQhRAQPKQvnpI7yuitFbMNbMqVnNXKtOptGSoFYNA7gw1A2ubYOYCops8b8iaUdxduWjv5uLX74okCIYrtHgHbQra4bvwiKB7AwA3ZpMr4XKcpom0LpjKJekFrVpsyY0vLxfHulGAek57ECK5Xopjc/rAkCWWSyFcoKUeCxwMuE58dvely63eG0jWBL8S1kc9LUM9SbpadEi9MG/15EGL9DcXd3VGWZP+TonExUWpEvk1gEXQZCeus9uvCTBCrKOKSjUfE2xD6EDpLmKfnsAJy6me28vaR1siaz+vKLTges+QoSOWDZ7SOFqGSJCRssBBY69Vbzl9iB1UEubcSB5XfUXQoGzcY9Q+sJl42SVf6SUDjvp28q2gk/jyVywwEfHnk4hBTEYJY0cEpo/P1nJU4BuNNS7ygIaO90N7fNj/lDubvoK9WtJFcBE7I08cD8/kzktlX5cX/WZxKxEopwgf13zsx/z2WF2UlT9J8xEfu7GhpoHMMiKwh2LP1Ao47dBRHzfZfxr9pfQyc0/wRRoFL/iiyNgbUjg/LnSbH98jI+EDfqgHLP/4EVxtKmZ9yTwPBVXVbMHJLCm1+x3ubQwa931aaEJ9GlpbYcg2RPN3BJJqEat/Y77qVaJfh0K5EiQXj4PMWfb74HaCN2UcAuqJuQxu69nnB/kimWHPDeQ+vzeOWrI8fRW1wvkezJ58N3iC1XUgoKns+uGHqZ2lZs1adZ302NUiZXFawuduZKdWYcicKDhwZTktBQhEE4UHl0ZacGbJi6x87oCPY80SUZRQOPgj3nWKGMBQEQfzrzu96LVXZ4uViToEJxnUgJY3rNRuwJQk2xfnHcIEMR2LwFF0kkZWo1BBdH1tK/FClAXtPFoknainNsjhzzqKu+meM67kdQwBu+9Jtgmbid6dm/MJrnHe1U8+SI9LzJeHzDQku9UJpuU9SS848dkRUDT8HLIW3kgW0TUnDtWZBKTdsLm879eGUJ97iVuHE+15xVGMdegn2jqpJz2RDfGjOJ8sXTB7QCZ23w5LF9sbeBUcwhJKDF6JiL4v539NeQ0GhQiRO64v5nxcGegrR5JgUq0uVq400A8TRcTRYwX5etksdmIs50T2YJUYBXtAyarkZJCwLeU/5IJXYgXiJKVB2FoS66hoBN1quMG3Tz8TzKtwt6nxNgVk0kFpUcKNXCeAMxc8zYtz3Nq3HWKJzUfP0Wlb5Rjci8g+7mABFyjAKuSbqJt9DiFgDdn8NHSF91JcIGT0SH/5FsaVXsoMNjMQNsleE5yBbv5X6kBvunuzJ1kNbJEF1d47gXrN+3/AybRhzlbCpLxTpBwNf6R6Sm16r/ICxdk53OQt/gC37lb/ITrz2MZKyewLWk75HoZKgY6ggjllUbtBgmDY5vF0cL976X0g+hOIQJNavFrS4HaSSCXXNdH8gZR0E/UWYSGhKVzfHkoZPMQbbeFc8lOWtJfGySDxYk7kqPfMC1jjklW/XNAsQxTCj3fE/nIXfJcJ3gCauLMnCCkHxi2D97gRt5EFQpFrxdxEX8uk/lxqJg6fwrv6bweKEWl0pZ9C/pH50ziUS5qJosAKvJnu4fvUE8JlyaIuhcGDTSrNyMeNYVh3j5GBABneBrVkgpFHaRilqwwU2ilD6KfIACmKB9CDhRpXwrkX5PxchkeOQOx5/TXxVgBLrmzlqcUx1qgYFEGDlLZ4c8F87EhsTnx4cLN20d/lIue8zTl185k7n8LRN71jj7gAOn4fVh9BUpA2+QsfstcYepWQNOPz4BnX95Y5t0Tcn4jZ26CurtHzAYAAwuQE7i4BEsVsO4LxvLxw7XplIsSQAwBpm2p0cdpHNYbObP4Kiu5DiLAT4y4NT+DRu2zcMX2IPvu8eWuiTAydYKxbKwuXJ6k0niLVXQVvy4eGmv7Q4Ei38ihuFzLNTygWHLI9874wxYFaGxfLhu3dAntOByxS8XH+TfEJx97oCH+jHiBq/oWce1U/UPPAdlf+C42E6cxf/QG5DKs9g/V5QdNe65nRPgLEWqhKnqktQcSb8WHji+qIg1ctHQ4uhuc/JUEEuIS2zXHuc1Czsc/IQCRBHsIjH0fCEgo606fn3bddAIg5CnilGrYQxdR8kILfqlJ6oBXsXrbJDfcmkODmocVJRiGwbhvpfexGdoEvgqpQINRUu22WfXw7k78SlRhYFOFzn9Pd7MMOE8mHmvsbRL2WwYGczls2fXwf1aRZ7ENKqrBD4ZI9GJvB/dajyq1ZuoGpjU3ZHBKuU13dknWuwtToBL0vyootWhJoOq/G+JWtXHdoUisz6AaLkeLTPQJJeS7Yeehklmit1A7gJ7ce4HQSoLeI7FUvcixOPAbS6jS6KgDfShV+Ai70g2mkL721wSAInRxBZ/k8wO5U2zk0565QWYDEgjmHB/T7XQ8kz9aHCdGswbg80ThsakLY4De5QD1fyfl8y8d1F2xoqdNUf/R9JVnTjrIwLl+InFNatGoV+F/escQY8YaxLJuvEkJ0NaxGKjps7qZy3BuhlDQfZ/cmmsH8XZtNG8vu6bNrFLqvRpzn/DTeRUBWp97iNHYh2Oy9Q0NttFLZ18+K0/0V6ovsKo4gYavDvtnzLLgGOn/YzpLGX7pSJAEk8cqMu8fTLPXdDxWX5BlpdXK4K5YP1+G87RzVijdhCrVIblh6XVfJ3V9IfGiK2CW2vw8EeT2WLfjxbxhkPoXW+rqMfbECpGqlzJPW3OR8aHSTXAAFgRCDBxnhmI7VRQxSJPw1bULRwa6722oLYvw3+dOExA5vdnOwp0bBTekGv1Mwxb31rhacZISatOlJ4Gw2s4A+Ow7JhXn9Y5P8y6PPr3dPxFYjOvRgi8VCfKnsrbldVY5QAT6OxJNvFwgUbwko9j8imH5UTCsWS0KX/wCEUtmxQTkrQD+72vVgrN/r5e4g+iXIzFOFXn+uK6xRuVCvlXR349fzzNVzAi8NmMudBhLKV6/vhavEjxUU15y/u13ga4Dj2uU8HcflfLIal7mvBJJTpEF5B8INX1DZdgNnsS+DO2YJnMlnehT9SDpyod5qDSyy1tB1l1OMKsvCYgRHrVn9gl3hfeUU6SkN7W9Z6xSZ5bYAvAkpEzAEk1+h8Chxi9P6VkNDyEh1GGLTfou8KMtoIhpY+mwwUq5WutiA2vCZo4oDLwiIgizk7C5XCxJGire9PMUx5Efg7/YVAgMSAVqEZ3qIntHQmmHMnzn08McIlSDFZarHEl4sG8iwggJPf23tnGrB9JaLtSeD5l05Rm33Mcnvyvrm/64/455VSwfgyzlMi3ZhQtuYNAcKpRmfDAjQ/6NUJH0nP75B0DcFNS8oB4EDOQEIPeY9ipR0hMl6sGeBy5BCAdngP54jJfLzjUKBwQSSMhMb4+YIwM3WTGpMCtdLoSpSvD4MhBL2qbRUuWrkFcwLp+fGirvOSJR8JtwQjEyLPHmatcFFXXAH8Zg/nDDyiv8atu1H2eLoirhOw6JlsHMKycEygClr0XT5ZMsuK4hws0F+29lyVTppOwi8F5x3qhbdO2wyPuKC6+HTQB+OGaUVqmTiVYLmJ1kkneEF9DdBbnoD1pIU56TAPI04Mcstbgk5GWVm6/u+KtrcgugZj26CC/lx8SOYJdamNJbU9u3OVmPhNrlz2j+LtXtc9MkLJSfOC6QA/jsDacr8F8Fa91+4tiUa1pb5FrsHwSiRMqjS/oDtv4xguGp9lhxkg7i+c9/bFXwivit33okoEIq0gF0b7PZIj6Kkg06eJ/IBDY5zZUuatqexlbHKsSH40kF1V8wxPBSF2CKhh0+BLPdI6s/YbH/OhuZOKWi5NGbMcrzicAHfskcwhWZAw7zJ6DV+U+Wk8n0qFAj9gOPq30L6qR4UzAmzi4TZXC3yUlaOYf6OaI2QX1e33VyYY5v8iXaceZbD+P++Nz9I6anDMCPQFKXsJqNNa+KFJpJCGwQP0ecWdW5SHXa/Q3/xS6m3+HxPH4syU/dBLMWBEF9OZCjGTO7obw0LR5UqFn+HrsevVUofIzUU1pAvQ6BcMwXm/4qGqmZciXvMEZlwCmYDjpkMcEyKFziVgHSBfjQDgKBV3K3WwByFn+lk/WGdlRDqVa+rF0KBCGUnn3uvMlLCb4nz5XMVGk2b8qejxleKEYC2X+fcaOdJOvYRHV4BtdoDTtIfgbFBjyV9He63iGe9lhuRYB2YS7Zlf6DLqWrOZWu+XfwQ9Ofpx+7WtfgV2gB8z/nKNlrufs8JCEIC3iVM2ZLbM8lTcaGxW/2l49WvK42U2Ykj+tR5RQAAln8l3d6k1145hjGoGYUJj+MabIzo0Jtabob2T3b33b7xbO1rz+z6rC1fGooUURltLfHBE2qKfblKAetrdBbRi579Tw6AEFW5Fz7Gi0n0WCYDX/EvzRjYiuzxGYJhVKt5OPMbbSK5WHPoB1K+Lk4DnDVR0qL9Obkar176TF4MAH6LaRyOBDgDlqfzVPiuCujvrPacuhLViznAd7h4X5ypig3DegPbMVRaZZPicpXcj15vfggwIvFE29Vo7rEBmq0iAfC5WOBcXySc0rPx624mRjrjkzxAploBQTP40z8c1cDOTAH58B07FiTDM8PTU/lToUmb19rybQuXDLvIMO1RKrZ0JisbuJgbUJ67yJh4fxq9Ulv2ZbqYEp7Lb1ajNeywwLGdOVc6NRQdgdTlWteeUIiwJ4WIwDYBRPq90uiSKL70EY7hd1TQNCsq7UYTNyvmSqf+dqrQf7XlXmXGxUQuTFcAWlyapF9WquXsH5quz/zufT3kw+AVg4yJMMNOzeZNFeFMY1ylnQty2uGLYzZL1r0Myw+gdtsiN2EjgnReAN/35HyZENNSo7iYivP3sD8o9ano9CpWUl6QOCPfwMPVsxJtVgaVx7ipjMheb0aEpTelM1hHGYPv/Ozk2ZdfZTBLtqFRSkafDpqmXpEYpuHcESIFgukYGZzaSwirCdNi7njwU5kagq+ysbGdljryNZFS3U0dZdsjad52nw6rdke7DFQg05osXoNIEpo1n2RYVa/y72w0ezPUkw4L3KaBf3ct6Bt8gnPbMF5IOO8uTHTkvwBaHHxTSSi5ZqDAUxhU7BymDVkqxxGN6sTybGEfox3jHPWz2HSdNX4SqAL00jLsoShiNewtcV2K3MfQfuEf3rlBZjeJ4yibSLBZMxjyvTAy73WgSrQfYJTriV2JUCWhYn58EAdXkcgGHFvgUhid1pA3Gw2Ngr04OE/WlBqXiz+rzRLjnGDezhFz6d8nUicuvWQNm1RvOcoJeTpJ06xUNtfOtrO9+NJe8xRfKGqC4ZrIPIq9EQeh/P+a3kJDl8EHF3OxNLGmy8Wq50wiGOFV2pfSOVXilYbjt8cIlGLZI+fgBSfgSeVPQbV2++P9/0tOGYCkQWRps4HFop35tVztliR6vrYG0knCqWrMH8GZ7KD+0flgALmnshJFNv3vEOYrwzaIzI/f16SpIdcbRG74NVCY5hgxcWgugAUnDt6d8IUPuS7kODjxV8VsvLuKxvEomSGG58fPQUxcrz211oykh36/hBJIz7LW/7wJsfWU8qe8be+guBalGqKTQ7A8Skd3OY8O3buxowZMOm2Wtvco1tDCyxxwRRD18H58PzfO3y87+DLLXtRnk36h+mVuCbwoCCGkrtgqlakbqDyIXS6JjGNGYXfzsJQzUXA+Aarc5uL1dX404ax9iOMwv3DvXJWpcDas0H4/VzmNe++yMeZoDI3KpUmt01pcZuyC+sRze/tl1+uajk5yujJHCloy+fwbcYdc+mxOY5eKBXDZHDg0p6kTGIgnhQCT5xWggYPO8yAy793Fbs5yFMwJMQ9If+uVuAlF++XJZoJU+Wanb1g10Pc4sD8/LC/agjii50MQW9F/mxki2to8qUS/35a65YgZ8stSSOB+f+0kkfZ8uXqKS0UhMxCvwyaSw3/MTZKqkJ3l05BXdgfe2TjZT5EvZp/Y/6TEX3flUX/tT1bEx+BTdX8TcJOw2GogospSxP7CdHKQv0thnpQN5X4ksFUOfKHsxMOPvp/fnzQd92QE3pZrDFQ0YaTuIdPi82ezM2LnxzLmhGrGwblJDTxPRjfRgYrYs2IaKuvQNNmP2fwU+wAid8FR5KyXVB4q80vkLgc7yiwifbosyOTxNur1m0f2juQ3dhMcszhYUiAuZh14PVUEb75T364YRFLx9o3sjHLLNYVnjDZoM+BJ/UBKVYzk6xzyBfinTrgnrsH3mMnYt6rx4LK8AOaIcCqTqjm9Xeu1giMqwA+MYh60pVxIrqjWTtk9S0y+gnP+WNlDr2g9JJLpfzHWDQ/MpdTv/ScNUMrDQ14i9977w30qGMk2NREE0KwOEILwDEAhYn5O8AmyPeCvEnuzfaGmVgI+uwSkoXI6apnmdlnT2LqTLld87JtZeLowMhxhl4oPPiP4+ElKaszq5oFjCAVN9SxXT6kVi1UJObqGw/vYHDEQdJi9bc2p0F58o52YVnTV8ovshI9VaN+Vl0UYnneVjQnADBtwex7K5wZZtwexE/tnPL/MLkN06fhEToP4JmsBir7XY4gtg1owExayPaHshj2kxw7SOJBEP6efKuXKD61yHTw4ovQUtt6PWh6J7DLq+Jgu1Ki/+1pLhUzEvE770LemBGEb2VmzmOTV+6RUQkOqzDS1bXv3LTMgE+LA7XHE+TsXJg/JnFJse+ZakcdZ3nJtyCkRC5wnZT0Ljx/aEHljcsDgGz1bRz+ozuBs1SnAaQAJhONv7uBCUPfKQDE30hKYrOatIVbyVpZcvrU8MbWE2LIy04DL9IH5xd/QUBBHf65DL7ARwgRUxtZbdTHFiz//G9uwMI5kQLesTNCdQdrGHmaKBTgw3XMUTcGBjXoHZSR6rVRXgLoHnnBz7j+HquFZYAHwHiZwJVlkWmLZdWzRzkcmUyq9/3Jl5pwrjSFv4NU6NdyJyBLEHicsKcE0m8uXaAcgMr+emgX2wMYW4ooUsUnQpmV8SlUQ2K6vB4RMN6iY+eBWxL/UhbA3xXl/rlboPxwNhvjAQC1waln390sj1tLE+JvHD1CKOJg7smENXw3Ent38gwk7/UxzkMo9OAcLw26fVrZyOw4Fzh+PA2s3caBmmtqYExOdZT2oJqpxTTKP5xP0YVATk0RzZK2PEyE9+7a0xmnyrzk2znUxmT8EEe83FGJe+6O9npjC22ZM/N6U2+EUyfsm5wGGuayLOzKqq7DNNB03ik9T+iRV0TFSkJb/YMLofPstInJTuL7YCcRcytDA5FtQPm+4Fm55b0TOrc0zQmIqykjCuzw+BG5EWLf2DyjrHPLvGJjxHLzBhR8d7qlFUg0/sFk3m24jZip1tK3+kJX/nySCgNlQ2EVz8YtB51qBPlUB1ntoUPRPKuLDw9KWO965YR7WWzDRoxKidjn2+Xfc9s6i5ERaRjMibUQgOg3sbSW17omq3l96YhXo/v0oQLhTKc7d997CfHUuDUaYol8wbgI3/vojBmExTeQXPnMfeLM09n19Iu0SiDBuIEqyJfpDvM5aR1B3nXbaeHHbURPd1QKA4vnJs5JyD5KRyWW4j5nvF8xBZfiDcOWRICtUJFLUQ+uSi9NeyAtREWfblYoTtTrvl4TlAD+UXD3udiVg76BAlh0V+4HVENCGkJaFUzfLnc7HmWwTu5YFUpoFDcHdfmKcH3mIZI1SafAjPWKC7Fhj8Fr/MB1xVVPuw3J0tOsCf52FjlK6+KqVUUwTGg4gS+o4zdBEXfFIGiQzPz6+ajIxsE9xmo1+INCLGjtCo41PTooXwkkDyTAgEOd8XvhUYELH3r34afoMCXbsTyZ1Nahnw6gkxdhh/lkEh11bZ7kxaH8rbaS8z5LbvJErZj9DPgM541xJC4p4gy9/nEgQiU9Hp+qK81za+Tc2iJKDjoWfwV9DIHQXE+8zGzSNQqTQpG3dC2DpMObdjYo8FaJxkoNktDNwJ2bCY66dJO+Gg1PPOMJ99w3rnhHGQ4MphSLjxJgrEuthOcc7vTEZTxqKujxcUn2l6qSHjYpJlvPVALOjGcYbi6LrgXoDBMRr5/zlgIdli/QCfThWZ25llYM45QS+EKu0+aUZ6AiH8z2JOjjjjUMBhWuGu+5iP+NH/5KU/p1YENvt11uRwQtqTni/ntmP9A619NbIHLs1iTDVrYaBzSpKEYRAbttj3/uxvGcJGlqHGLsM7s6ejRNhyL1qBQGXCjFln80twJDcjQ0xSiQUUhVdLHRsMWtXpmku8vF1OlxKp3roTxsEKZyviXL8x/Hs3sbA1nvEsTuiJh7v8A7wH1Uk/ZGgfpLC8C8evRJ2IwBLub73OIA6g9SOXDcxqI7zD9UCfiyiqi28ZG+8MW5x4fWrX+AyZj/B5iWKcedr/LwJ7oSTjsnmuyAy19xhL1q8jOWdNeKg3DaWFduOM6mCljh0vEZWcqlB31KssFIqg8tgDSwyObgUxRWjOXgHaWE05/AYAwMH3YDs+xpP/THrvHPV7lSphPHNADgBoSQnC/uNJvLfc4vUauCtma5iphqWM08tNOrHoq/D4w8mRuPzBYZ6GTMbmN4e4z1Xd81nIQ1tU0N8/hFCyIkinthNeHzUV/JPM1bVukNlxE1schXbbxZhZjB7SspBD75zwed9h1CIj1Aqnjq7BH8IkKYEUkQ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242868" y="2034858"/>
            <a:ext cx="8232140" cy="487934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447800" y="6474768"/>
            <a:ext cx="2819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Source: Company data</a:t>
            </a:r>
          </a:p>
        </p:txBody>
      </p:sp>
    </p:spTree>
    <p:extLst>
      <p:ext uri="{BB962C8B-B14F-4D97-AF65-F5344CB8AC3E}">
        <p14:creationId xmlns:p14="http://schemas.microsoft.com/office/powerpoint/2010/main" val="285810639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bucks Earnings Growth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EPS has continued to grow but the growth rate has stabilized.</a:t>
            </a:r>
          </a:p>
          <a:p>
            <a:endParaRPr lang="en-US" dirty="0"/>
          </a:p>
        </p:txBody>
      </p:sp>
      <p:sp>
        <p:nvSpPr>
          <p:cNvPr id="4" name="Rectangle 3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Y5bwR3kgmVV3/xb78SUguvWSJTyZkAVhT14Kj+NMhVBG1pcdT+xSAwqS8Q4A8F867dOoFcDLiDCdsOGe5axexQ899cWI6Kk9/LQ7uapNISc3u6F5uZaxGz9B1nu0pcMwr6ie/jA8yiVvMUpfzNMLpL5TcsymchaftmLUmCPmJY9DUyXfOy2fzhH9VbwcxjuV4tORILMk8wBenOcKyXXkFvKN6bdnlMjBi5UJyFbVmWIx2HSRabAxcW1uXrbpITI46tQj1xjoD0qG8jAG7ozQlEQbyTdBxT0nfYbiRhjKpHE8bHofxdnnxpPrZ0xGLSVeqnEIfRAC8L/QOvA4louBY0vOBHJe+F9VTjU2zL/71C/V7g2qF9MgtCXZekdseNCDDtaFzMJPC+TLRTkRvBS/NhzInAne6m8I4GaSYFfJXYAl40X+9yqgIUhXsv/4tTkFCFgqXlrrpI/j9AmI9GylKC2gzJoMzDof+KuaeWHv2Xf71qOdq5Vfe1mBTWDA9DNVoVZ7OQHt/nPz12OGvMNkN6CfBFftcI2CximMn36ee2KR8LQQMGDtX7EENxM36jqiuJak2ZtkwwD+OmWSmpx5N9tPZ88VSbvujgBqAKp2mHf8pIn8L+D6z2AJC1pnq1iCO8uMOHglThueqc4F8c0ft3pND1St8tSZXc2JtD/WvGQQoKf9TmRiyAzmgnzssr8aniBGh6lv+JoyixzUcTNr7mqEca3pSw6HG0k3wbtMFNirVxLZKx2uuGZtIyaAXJcVg6lI912nskOL4ErtjpI2vQj/ERyHwb9kWvtTp9eZIgxYkXuIU8ou55ahoeTsSv+kCNlIEOGF/8tw3+Fm0iCCOoqVLJB3aMZhBcmGlfEnVVIAHJblt88LCXHSc6Ky6MNzpznNWh2uFDX0pi0ZDxtJ4KTyclPKLdD9qFaE0aqI2W6Hgxz7TnD/AJKMLzkwsWKYnDHd4Llp5bIOV+7wsOJErWxUTohio/CPpYD8f85ydAZjKkc/J7nuhfAIR3ZNvXlVY/0OozeVd5VvnNNicf3o1O1FewbJrroQQThSZAVO5InwjunT1NMWbLCtNm+hdChO39bANI0F/nvoMtw2cSJ1ftRiqEBd4cB1wTSidb7Mk8n4NlR7Kr/bRHq5e/YLmiUphdIFFfV7FyI6vjaXG7YZmhkh/WimV9MUzekFYLBtElz/IkoFZAi5jD7E3jujfcHTCc1+H2w9AYx55wqwZtGs4cKDW8YbmRRyBXbDXzcE1XWMcA988+ChMyxE1pqP0wd+hjWsgr2Qnt0NjdWAHxMyJpkL8zj9oLJ61Kp3Qjm7XTaGpZ96P8vVHfknIha4EPLdzoy3QF22F+NNzcAn0+61RWMHuvv88DfICRoRob6jSG8MFKzNiNcjNzMJszApr5SmuWsjUwVX9IN5mo52Kic3hYWhBazVWWWfN1ymZS2hwaRJ06FoBtgF8ej5GAJTjCLw3fhukL/Rzm8QIMPfM0GDN0pmQtgzv9RMYHFa4lwIX0+clZCvQvU7Pu1RE6g2pVWgdCrM9ZUyRIgolaHoWnmBsWxKxLOhy7sTulUM7QsGX5lgtriC8fsHd4S/TvMOd41rhhnLFwtPaNDuWXZF/DZCtyYaWRVG1jxsDa+EWbTJdKQSPwbX6Ys6uavfRImR7MzKMpjVZWUzgqbxiHG6eGulIb4caUbdR9vwdgBg2FMqznfByaUHWSF1jSipAMcAqCL59iz3Qeha5AFmzBr1BVDImRrYzrYlpBA/ID2ac3x9eg+XOh4QcV0EN382Ekfb4dWN7taBVjp6vl1/yGoc14xTJjph1MQLvFEp7IxborO72vykMzpJ7+VYauVoquLnMqbaxm3WfV2RQA5hIRrGTMY5vhnGLout5y4rCboMKuN9bv6ZKxJkE2Oga7jzjdfe9U6r7Gmhi583x0wcu2fgyjW2gHOFffZyS7SkvKIBpv+PC8jESEPYcmu//K3CKW3b9XrPtgq/USZe98er9tYzI8hijg/3l8CHLog7Aowfw5dMA/zzNHa4rqVh8Q225lBqsmoFfnP8KSWEhaN179Y/lznvwdXSNXOdrLbv7bviZKHtHg5uYg+jnX2HvnAKyCF94QsS3HyQtZl7L7U61KyiP7sWzTEcfiyNJWNuQwSgEE64kKUIcc7HxHy2+asfxyB7Hq+bpvoXhWLYdAOtt6MRi5zyoZbsycpud6Egp6iXUmYvkkHnU2RiPp+apLzmEat0Qttkwkxtii6/Opqv3CLJ+a4nFt9x4659MHz04pHjt8cfo7+A6yzG9tZc+Ykyu++6kA6EbOxUP76prFOo6SKuzkeGhy1xOWR+/2/lL6Zg1Ylr7TtpiMMGM6q0Je1nsIzbZTTpksv79RSTWrUC82TOJFwTN5s46PVUjC7Y7Zp+rUnXxf/CX+7DmfWZ/EpbtCUKe+e312WDRdfczqDW8dtX0bYR1n9bMhbE3TXUgxd/To+N9dwHGzbnlpagh1z5RN+5q5wWu+CiVH2lrGm+vrxpX7govwTsiVuHjMH/pnDQndqPRJdU0YuSHMZdOWhTuuBZdBKBlSrdlYttRWrKHTVZ416rONJBUvJTJNKVVDCEgoiLl7JwcF7Qsb0xwg7WdYDnm/HHEvNEQwpBfcyolC/kuTPzhhCx5Fv6DoeOgC035Q+/NgO9Isv9Snwx/LptlW2qtGAKxhuEG3TGSBnWXRfy/e5trNQ7gr7ihJEkHE9mdHrsjVEKCLJMXJPpB/bnndAbSJLci1A+DfIa4NRw5IVas1+ewAQPIRIthbxPtdllf2YwZ7lRSfXlJJeSs7/Hb5+8ddCOKzDPvZstbKOs91yF04ZLaLDLQpwBXgHnF/lgyGv1rnw3htautkJt2xh/Tgn4KY7zmFrmXTXsbQrscPVRWGba3EzxuoTIl9S343HbGrq8LNZi2XhWxqL/SEVST5dlF/5pMB9Vw+jfMUPNgKrGKmxMFNfKKc1gIaQXmBUrew8AB7sbMIBdMHqF/MXZbWcdSb9Q0ej5ZRJyidBWcpTpRhxtwX1BMrZFtv7sUM4/0vIo+A1ybf6VPSIl7PwBLc93TbXQM+AW5u0/MZgfsySxbj1u9Q4746q8eW7VrDgSeNwygjPvORT3RJtpuaAf8ZOI/FHkSrP0p8scVmGaPNBJDZ3ILqFhP1FcbMRhCF3R+7dcDhzqStEkrJfhdsVUpQwWliOurxoMIpg7/te9x3mmI9/nIMLV+Cv2ZOXjT04xN6eDowuf7QZxlD7S2u3TAjgDJ70Y5w/OEt6OxKecN2EH052et0a2vyX08itpfXrJoeeI75dSlOuX9lR8Gk2J3Wo2x1rrnG6Wu0UdbaT71KS1zv51qasp62IYhyPLBTXFb8mJg1XfkO5SeH/iPlD86o6GmsLigh1OG0BgrfMVlkK4Guxz07nTu+6NJlz+r+8u73Y5bIruD+7cHTbkJEAL/d9k9KifN8jgqpzPCyaDRvr9dXqDSnp9jODbNCM0UAFZ8hPkrSa4GkR7PhGzJPYNVkAA1xAWIjLkQwuxmXrSOR9CYygeM+SRS3VhG1I4D638/U44FDZe3AhnCfv/Ug44L9/+dZ1zHar6AB4Jtfg7Yld0Z3OIg5PaS22MOrC6job4GsvfAh2Hm2Fko84hZ1srS07hiWOlc8zp0b5ETrr1vmKFBQLT/Y51Xj7feApGeTuFKtLVOe1tNAq8xmgsXblytPchrRajZYtJIZ/Zd8VzFI/1hHTo8nIc4XPs6faLazW6Yaie29Q2WOuanr0Dj4R1ET2KO0Vh9A9A5qsA0D2m3c4kPWiHsjr3IXaRF7I+kzTtl1+nNfRjgQKRQVhbOSzKSIk6yX2cE2zlNBQSRket8fHDK9WcsGSsvVjh4x+HWpMX7H5QDepDXuakYVtwkmNXW/yWJqiqBh2tQ8mfQsbR1lqaTXtOG19MfLveRIM3XiEwLqO3IrVMo0k0HG2FM6t0Iuy50MfBCP/T9WlDSaLFUb+mdYpmsssPkfy5uA0D/b8O//ac/FU8/GaR8rAx/0uN0VwEUf+7Q2nklDmYNPzU3aGu5RnYX3ZUid4SQDJeINiZ0UvpufIbS9RGu/1uQSxWsTm/RfLLWHLnpU6bwUAr28JFd3uLxwivHwtFN8E7w95oYwzNHajObZ8QhO574Kl3Iud2NM0Wsr6aK/KmIDMfZOXbiHjI/lfwIHgwPKzcwErdZIFaBDMBEjx+mHQ5nxGMJdfTCJzZM8hxKSBqVS/E8GWeWDg/dg/qbzPQbRIonAD0tV80rnuWien7s+bujVPep8edCjB6EGnC45T3VgVi5a/LINwq4eo3v7/WOQDsvXIYZNW5GDyiFlDXI1uYsLyyelenjsb99VhaEY545xHimkmjWQy4fklkyeHUU3pr4kGY5JIsFdV3+LodZ+N+MYVBXqo1m93Zs5q+k10KIo3yMUZ7WbRxCBaXU7J47V2+f9g3JOQuByEbvSEce0e3gMmztT4o5fyN3DjM7GijyXl0BcFHlSpGEJ5Cz2TPhjYA6alTPJVKv79YLQ034/qgUytfSMmTtmYKhmnQrjD1CzC6d4KKbx9uqW18efvP2XBggfZQYaMzfT1Ghmk0ivQM5cn5NC1H1qm5Ni+L9JRtLWF9ijoyrA8wG4L+U5W3UYHEPWV3IJJwdQFyyVhRGK0ArQjSVTGdilS7aWy1XSqTSueSIIkfuf4ZonxvSFBGN3dmSPJ0lESR9iZio7HihRe/6LVNub6PFbZfTLzHPhImEZD3ZAxyAwjssmabYj+ovmS3K+/GRv/sdKUhBNoE1P4oK0adc2osjecBWvk3KX/UEMhSfp9Z8Aq6H0gTP8fLQ/vp5gnVuEtP1q7PgNjgm4xctb5rB/N22R+XvreMiQDtOJsvpp8IQY1c3bS6lGZyHhhU6z+pLswxYbF9mda3oMR4UtJG8tIjLA/NMsw/BpAX8jxWqK093a99YY/z0lzDD4BGpxOgNIE4BWZPrg5J85nErmgTR7UC/PePa9254BmwiSUL/G5ev0/TgnAoPk2vVTvLQ/gJnP5tE+yqiADoRBmIINCt790JyzuNDDo9Z0Qj115MPJdrf8jn2KdNQ1y/siTbYx5eW5RqH0uwCyDJ0yBg22qxyS8HM1BtQCk3DO6Jbb6ODOELc4vPCSvgEaqy5av8Kn2TQ2jNjUEVw2uj/uOR+egWjKAp8tOuDRS6jPeWYshUdaHDHUQ6sVM6ZOeJxRz+8y7oGWrLNFLoOwJD7NQZZBephp4BZvSMdFunsLFGH4GPD8qTY5/PfAislzbz5FrNduYAhtzuTIWfXsVcy2tgiJYwSG0a2ly/Rr6AI9B5OVfyjEtpPhEVY8lo/zHRQgynXwqUrrWu/iUTXUFpVX/WlsGGn44/dlwV8UZESOt3n0yzbgiLeD+RyYZpG7Ev1hfDRq14Zd9yiCR2RQ176dhY5DaMepv7YQCHOXbt6noTut3i+Tspc/ggAGkpksEV02O1sbBymXD0qt3W3j56JjEW9d3/1NYAR+7wlxn1hI5cjZB4yWHzDrQHkRbq5GtHUvqv3YMIktUo4ZjVaP2S/xvO0eCQMoYRz5KTfNZWIaHb7egEPNfkOZIapD7slsjSooXloa3FhaKI2Wo/1duRUpHNvfFs8ruERj4YA8aOsbQ4zeP4vkDFKWqavJ0iPlKHr/h4dbLKcCZXGPIJ+u9VfhD5lnpHjseJehqtfD3wC9iniW7FcXAYn6cwv5mY1uiZYkvZA7ZUrNHaFlFHq1X2Bf64I5nZHoCCF+b4UgexO0svVyuQn6csTLsBajZQFDNxrXnbFFO5kwsMdVZU3ZOQHXRL0xPJR6THzk16P0QPkDH5fzjDSEPhnppNrkvZf2W+Z7bsfSwqo4vd0Nrgy0Lq2D51eagyOAdtUBAgZzEx2CNxWf2PSx4i7QAg3JgAsqfNlBp4ddkL0TV2NlcUaBOetyFS3ZGVb8RWCrbhxYC1etjPzWAktSD0SxHMGHCTZ0CfPEmAoyOBLaKUvmo4xPWvqYHwK+7pSSmHXUi9Kpa5zKYzeGj/DbDHexFNUOXKFQV8dvVApCyBI3O5ts4TXL5GZV9+rrL1ErGLHwUbnkrIBQGi7UXp5olgpm9AzJXQODV7h6bpjNhbNUiiEK6Ta81Tju/2ZF+uO5imcTLJW85vjKyAJXWWo0cLyPeAW4GQX35eat4zOhc+2mzc4loPHYt3syWslt/td0M50sC++pin0b+NeKkogSsNd/JyMVrIsNCqukuQibr1vy3yV4SU1bpUqlE/oxKD/Q6u63i7Res+IEVv5P/zfovgWsmXXHYSC8EKkKZgBUx+dmJcyd67ZeyKPoipgCLhG9CymsWdOFTEdGCrza87NSXER3lEpGVYywXMjIEedLITH1/k+beUz4t+gSYtzJ/VB3U1uojzvriLSiWyQt94ThVTGhBKZrmyd9RPHhKxRMM8fZyDYZS60jQL5JG7PO0mq6RmGJccYG/4VFE9tkgemVloLbQriNwS2mu4XVZ1YmB3KuZE8DJe+k/p6/piDXcs4GX7aE7lPYa5GW6Kg4Fs8depZ4BUlsiw16BceDmNlxFhu8rTbR+Yxlb2kIMhVTHIQaHL08CGEBUIq7X0ZE9CXSvXQSSykKx3Bs/BHFJrhqz/kRvufEptiDWf/MTRrDoi1OmPPiKA0pHmYMZbK+O5PNdqYiYmP6n9veNaPUshMi5m56UsWJPEThh8zPBtkZv7kQMOP3F7H5ftNd/q1YjPtOnAcvKRGSudATsNn53MvFNJqodOHFsrb6ZD7gNsXEA/v4O2QBmDrQwm38+M/+YXfhpEbiC449hGs79aioSSVkq3wbMuZR+Jf4XVvrd8duudL+5hIdeSDeWGkti9foePvVP4E+K7sYYZGk+31AnqhDPXUStFbMFQ5K2Lu3AONIWithVobU02PqljShu8JRw6SHdz7rsXz3k88ikJykJV19+xGSvFe8Lwbe/Ljv0zxkFF9WT3eeY7UJVxuGpDWUDFI/Da5QEj1GtrPulWQ8IuZvhxCzhQqymVJIiIwTB5aNtIW+fUijAjbYENpjQ8Es/JPwK+a8jGtlDSMlzbDiStIk8m7H/mx7Nx9JVtCLgHwXFczkOAgDa3/avVQuBWRChDwtjeK0ssiiEHM5M0ZoalGqtqSRPkmwAB/F7A2FSiwg8f6O5WamAM7XKMku1uzlCQrd0FtGjPgyDyVOd4aJ697FnkUQfqIIBhqJOnqd1loB3C1ozKARVjhNiWdJZcXYgmvGHfWpT4cxReZpTeeLeDjpOyzHSyuyoqPrtWsUdfa8IYC9DUqUm3L+FzAimV1kPx46I0nP+ejwwN23iRKAo49FDyubJHfjN3hPMaeaxqyZNIfI4k6+sIuCyOIz5WPYBrh22w8IfAh9OIVRH6C59n3lKifI3FlDRuPpFlh6FJrZfknBOkMGnqJ8gDq1DZns9yjVDqxcgRGz5ilFyDYJnGvNRIOmmLlhBc+i/MOjmOnzGLCaKoR2yy6qn0yrgWOJeR0enkyH/9dDSMmu+Ng4YsmpgcKKZvdR9Q3KWThgRX85qh+9vOsmQ918nl2BMG5/QDhp4SKDH2iCXsuqDv2s6r28YyV55D3dAijOcMLCmnv9ByD8T3n31IHl9pw1wuCj28YdqYPUgWP6PMwmodP2X420LDeAyRYZWePj/fEYvNcOMxScmW9UtKVKfLhEYzREqzHkMWJVkH79xW1hpkXF6AbPDiuPjPSjaw15YmRLgrJFGMuebk2qLVwBCy/GOE1xHUxcgaC394wwvwb//5S1fB5qBfigrZZRekXQngWbFCrf9i4jns//+7ST/m9A7Tw8M2TKHJPbaH651+bfWJUR/+UPlLNmIgaYMYWCKedxuEWYd8/SgZUhX8ufPgvuaxmWuw1ff/Nu80cBbohknFdR5WisZ3J7XWHMf5kW6VXy7cKSwCO2aZLCuKp0QVaSFqJ09vU14hKm5DKqgBvKEVlfEJyN8N58T9wqjhtoTDctDGfUIGfY0OHqcK7FEYfopZfku477P1UW7RVnf/FQqVhpy34Nq6szkAmCIb5JcjMT1bG5AWZvJ68i99NhhBHOMTP/Zygtk9xVk4sjCQziJM8zozc3zwJq+IaZPRVEHLUuK+7kPexRRADcDSCDxbK0U6gi0lpmzKbBBHL5rfHhnB28fdOUy4xwCEsMW7HUWeVlLRa2BhMmMOAfMdh287E7K/r/a/D1s9O8sQk0K5ZsOZLzZaWVK6DVMIuXNknE9X5zG9m2c4AVMzOeAfyfIpejvuqDKbboOCqpK/vnfDRqYFXvDIS59XPFTXMculKyc4gZPKDH4vxu1cm72gQEMmrg5jKnzYU+NnGhjGU3/Hh+VZyXucxI5rrtyLZSpD511bM3+P+RPDn/Y39ID8BJYtL5Q2mDNKq0LnThW0gIUc7s//28niH/g8yKj2UOmxhkoXdv2ubMAnOwQf0kNbrS5f/LlBnXASVHrFTQfQ8sUjKl7zW7I0LIn7rz+qu2pKNzgg6zoQKtu8ryV7HCeeQiFwNNuN26wFVWGq8G3P4gHNlAY0338MdYOrtNSREvRQM4KRw0ea6iEaU9Z+DTfLryoFHT0J4Dzq1LYRPy8/5FWr5NzIWtF8s7ZHSI4HaQT5HdTcCG6exwV5/rdJp3pOkKoMSZl8i6JaQldrKRdFRz9yY5fheWAPHbTNdoQT+6o4dCTF7K8QrzWSoeTeoyFLLjmFwD8pjOb4AU3nb904VeKhEm+CzF1rVI6ZXm5D023qC7bOimyqiG16G1vF7agRt05WyxEtg/PEgF3SwHLgG7HT1ns5Xa8ekCk3et1p2MgLQZuRfTdyJEuC7dcpBbvLGFLK5F7NU2r9kbn4r7RhfM+tNUwv55nZMmzBnVAYUbJeMuk9krnPPZRIXU4LDmZcWRQygYkFMyge46wffUEvgfOap45uRtxXCQGv/LWJ5R2KoVelY5my419/i7jBfAo+WcdlJhJuhpwCrZEnp6Zcf72EMhqCF3r1YChuL33S4vXVCjlvjhlvTiJYKYqCauU+iyX8DsR+dCtfgmTL3stt9xIMT768mMLCjUITP997e9sgN6WDoiY1P9SbNjsgiP+l+SRBUyeZt0naTbV262v7PtkOMYg29UzL3U2DqYDLlk9dWq1BZmZ7+1+DmCotLShBO6hsYfMr6KCM1eCZ+AEWgJv+hR2nKA9pzM6GBFcSjBFsEy79IF1delNQMV0HwMEIqJDkUiWBpirf6RUNa8Wikukp4lA3E5ERCwOWd4hSGYUKd5xZk+Ss/gTGoMd8YF4NrPAmjgICOWMsvE2RtmymEHfuIg6jLgU9RII/2i85d5PyLGQxknzofOTUQaHblCZwtW83OA0zwTrnmAo7i457Y+dkpSu2InZbkpITcIJbBShRTInBvO3EcA3irh3fAMQTizty2EgFEOlpx5xH7muEtP5LIJ/jkTSPtzZkQtPOK/jW825uWJQBN+h0f8uRykzIbLnnbRQpxl4m1li4CBKJ0Si9rS/c02pO3MBdDcndBxcWQbdKR1kitRVfefvuY0cw4jSFXyhyAaPL0CnBjMZJaf6va9X8uZv0F56+WKYkc6XQWmJs1rVkOnCFP7fpwwx9f6GxjxLlFTsSG699Iu+htLJa+mWjCB9wkPQ/AcxSKPZZzWR2OJD7z5i9Nb+bV5Gyf4Ih+//yxd3LAUDAs6tGjfe9zlwXf8Hq2ltlvSOS3uyWz2IZnqcU2XJM90On8jtfSUsCWKPmHtmY68Zvq0RttRbJZSstZ8skFb6TQeLQwovRJx6x8Q+0gvYu5LiHFSZ/fHNKYyzI5aUYlBvusEif3K2LPER6Fa45JXV+bzp1GUxDSMMpazXh3x5qgEHBF0sw9eMvR7JUNNbc6uylBIYRgRpgYehLyWkuFgH0/uXzV1QbQ0kWLEJ5/SV5CoBIN6MTS7Cs04Xj9CtGhIAPsDqYaUYkKCeO8hD0InZ2+icm/W2SDDrZkaF7qso+xKwJ6zYx+IezV2IAqdzWjM4otv60MJZnmRVTesd6wOfzItV3d/qaF4W4xG6iIpVnh3c020UKzYAz13rZJUNDa3R1fT4HXNHiJgB64YywJbvnkPgxm2taH/ZqOdw6Dly2UA+XiVM/5KqI170OFj9XkJABIqU6pGv6jbDLizi+p0F0Qt0yl+KtWmVoSvXKf96bhlkxh/aNxHZuZ15yS4JhpUvoy5B6ao2AKl1veRZvssmo58jOYjN9DK8kDmgOxt549xMj4A7iGu76DObZ3Vkvuv1vHz/0a5JtKdGZtkOfATMteDZ2mvcMsqnMoCbUDwR1r/6iA6Zal14axCGWAIo9X2aC8x8MVccbxLgUSAqyApSvbVOl9gI6Bn7YwKbMOqtnR0PiXD28AkbWUnFU47o/dcNVgXkUqLrchl+pPluO+tNpsCKMh8IMLYgjUYrwdxkO8z34O9zoahZcpyAuYSoFdAhgTr5/43OVfUum48zUmgPnLVixTC4Yr7ZOXWG81jgYfwJquIUNBqAVVROceDOvm3NAgLPEQoAUhLVYo/9j7Z0fqXE9v9ubOas3tZr+tSaF3F7pQNguKEEK9PZxenEueNBNP1C5RyYqxc/9TNT1QDt4S9kYzeyv7r06k9I7G6cwvhY66wgjlRQbgUa0J0m9LjR3NyT6nhdk8hgQ3vjbHfS/vRpuvsA+j/Hh/IOuaDmgmqpcsBdzYnKq2qDgqU0PkbyL3M+VcPSvqYz4fMYGru+IBUZeO1fnQjqMWo2dNtWtCeC8rWaj/GFyspDtvZ1V6msjeD7D1a8zhvNMu0EsVN3AyyNxyO7OOj0kty8SLrIvLx1lPCOXJpkCmxNOucVV5MXoP6ZWe0eFL3tyV4EwTEXqYsil9Vzb4g/x4gtSh8mHwSUdQ8KWb+DAB+NUabSjvpfN0c2L35gS40B14Tr3hKWi7rFrOMJlQbsahMCYrW+Xw80ME+H1n4SKxsUj/bDgnBlkOelfVLfGhZjBhfkL0X+Ly6Lk47OW/qxFP1/8jAuIPOKjg3GAdQU5ctC5q+B/yFsNwhCNpkNchN0EY/1qjhQRu5uJ2TlCF2ybR8I5hcVKFOakOQzNK2sZRKrhKF8EGDDVW5EOnaxmF4sFfsGLFlllofZcIywTSPqLktbWDCXp9xrGHsG4TWfVJ8UXOYaTHUqq1hFsGxp4VkW1E434n619KtXT2jXw/u8gCTlRaLBpyh77UyrgwKKggMzCc9ublTpWH0AE2W3XnPOGY2ghY/wgP+tQtnXRJrX+t8lViQG+NZD3oyqXBlCQjsAB4lr9r7+cMzERxs5FIIa9O1v0WzrQfix2HbE7z5iqLqZymFR1FrOutWkS8sbecfUoXZCc35ItEkOZkKhcMADLUul/t9PtQBgjRvXwwoDwYIihL8lM9kzijHMMIf6M1cIM9T859mFzhmP9w/XWqdxRJhSke8ixe1D4RIPwSyTV4kZF8pp/yEzo9aN3NbJyDcxqqxV9gpH+BQnNSOIrAStKlpHg+ZhVylwNdgG2JVKIi31JVgE81Sq6SPYySGahkTANRE1DPejLb/efwlTLPNFCtYG44Ki7sSdz6OJ8qpcs4gwUGvPQtYBJYI3WwRokFwYqoR63HGzUW2Ew533+XDUp4kwDI98o8jQ9bLj3IzMzkdkqvboVeviiRCyNq8iwg+zdvlvrJZA23eSkC8x44GzPuT9d4611s+IVDAK5vwGcheyFaq3oVsJDtv3UWafRstOslW0ZzVe1v43LQSMV2jGlPyAM+gXugEk6+VurqMbP16nZDqW3KFsMtvzDUqC4fUeB6eG467755YkemFuaI9rNDIHz47R/HA5u3BZPvWOVfxiAo3dOP6fXAAH8W30n19XTxPUGRaku5XROxfTVlyhbU3EwfsNs4yz/5F5vfnywR9zUJmFzufyxpWJjHJxg3JKF7q+J1TaB5KDS6r+nxrmB2tckT2rEMRmQ6utVpxLUMDhQUf0mvRG/rLUL0UwmwqmjHJ2l6J0EC2cMdT0WrUTh0unWVmMIp7UV4/45lK6F3tRu07OWMWV/579OhNMuJ5IMmQGDZ0vNN0jEaqcyqdWdFNJ6QbyYIFdbBrSZFnWmL+RFRjYRWgJQKOYiHli1q80YMSxZfPAHet8/gCEUXpF3Yhh+mL7XkZVkuhgSU7jwwzpiY8PmWARH+V+v9M7twdcdzXZ3N3pCmio0f7JMdK/oqFxelkbHrocMtxVblDEW0jbC6g3oAdG6j0Yv9Ny5C+p4gotw9Kdx3oG62Vg4Re7PfXys2TAtCFnxAQhLhMXteOAdg55SjgXMqum2o5i4PnvS1SQUXqShlT0FLvig2KkKCvIvCUfJbKKHFb9bIRSMBPWgQ03OC04VRg2Y7QGM+w+pH3Xlkb1aw9TFWFfT4hSR28Nn71tXV05eLTCphuAeFDC+umlD+YhbDTTPRfHq4u4j19WRL//mh7HAMv1e6GohO4db3rRM7Ke7cP6w9lO74Y/6aDHv3016TYBIGYWH+jVNCfMt2AZgnfVfMzs7tB60RAF/gwubFVUZ4Bsj94mWISTZ90qJTWwPOXZm6EHfWGePuWDuHzcKZpf84tzHNdlS+u0A0eB9TJAwX1FTQy/1V81NLJ8on/cPMq4nqVHSitzaCCDnQAcq+rWMXFelUxcVIHDJ2nqzYNdlC8ESA0azTPXR6ni7SZSz6NdF22W3LloiCU9JEiqjX/SFIQQ4bm24cXao0B8dbHwGupOE0B22ZolWDqh7CxRrWSVukTNdqCQMJ8oDPIp1r6GU9+8bNAQqtbgYe04ADA2I/dBR7OnkAAueWsdb6eBP7ggIzclQ9GfPUbFvEdSzCFQEGEdLMVjkqMWQXTupOIgyObys9+8fJ3Vok6TB+RVmrz3XeDockVlL7SWmYKM/en+De6Qw0PJGRQLvfeFv3/AaVC2sNf+8kT+QmewoaXgDH4PuxbZ5sglyniupmIpPxZVZUJX2zlW2W29+imERidXV0DEoEHOF9G0Ub/JtRvbSMUKv4GPWIK5Z5fN7v6XtBAzN9JRe6GJvn3SGWAQAqhaqj9w73cz+A48FRi1s4iDvAmyPcg3xceY6K2YWPBKShxch2G/xHHLLY1JMAvk1PyILNpVp3btJBBgtchcNThAuzUvc7ofb4T2K5ihmvItLpU9LpGrEQva9Ob6EW7QL5K6jlm4MLWffMqyNQcev6kJUIEquqTVV/ZqdlY5cmqEgbisQdOMomUStOYjmRq1hQoqSLhoYgI9/8F10HZmp4POLxzZDj23MwCT7azpFiufqzsip6IZXDsocIkVcNTbOcCpz1xcKJLQ9kZewXxBWmNkWqwHVGvjchPWIRSSoHllY7vvg9KA/2nhfzB4VXO050nymUpZahOyjHSIi+PY2u2uVDmDZpvzqHBnX9/p7QL/vt6BAvAZP8z6xRxY1s8ssvvBsCrsq89PZP/ohJ9t6L+2PTD2ydbWbTiwpeFSbjBOhmWt09Fq1DQzS87EgGquQaZQyLCeIAOH1FOw7LPO48qzH4S2IympO28KBpwhSTKusOIAmLJEf0sIj+VwjYsqJQa3i/P1a8QN/6lkzaC51n3GFHUgXleYGFOUzqG40y5nKMf++DVKA5RK9WjuY6M7RTS2EmpRPnZ1EcgcCuhl0hFtGqBtmf1ZMToHhUA9v8DIqJAXnA+Pf5JnVprnEw8kya8hoj7rrGiplpRUbzxll2g/E3axXBYDL/IsAfaGSdaA2Of9orGB1w/HNke+NIRzAYNhpTHrKmdRNhKw5z8yvjO79k88y5IEgIAflMgku+sqoD9IB02uPeUbXe+yaomYRiT0BuTTb02a91uHWRdsmnxlOfgZmdKeA/DIWJlHI3AqaKYBlursNQ7IcbBSvJb3rb5EHBqzo6EOUzzvf77kfcNoRuXTzI9bFdBxJk87goYEaFLJ11/+48d4L2YDSqZCG+2/ru4k9hDe3OAhwy6917P5/dIv5sVfIzVk6qZj2Ij8q4mLZKGyuZxx6VH5ry/0fFKw5LODrOgxFXVGVaxLGHd+NZnbow8kh2HI1gKGxiVIaYF7sknXRIyVcUyt/wl3rLzGdIS7/I/W01NpjOHckmoBav/4v15YucGHGCrxXHQMYtPirSvUcLcTlgdYDu0yNDyRR2QAligZnJWR6EDl3J/sdXy1i3P+P5jDuwp2u7o2n4f7ahCMd3Fs8vyltQwV5ID4IC7ypAwfd3uZoqOlkj7Z1+YGykdLCBdLolVnI1HsYmwMDODdZ9GpVOAwWNoPEcfG4NTLiULZpnCoGsbg/2Qokd/5cOVQ+NRLP80LE2riPFF4euVba5WdlfES+zj2PKH7SfwK0bTDWIwtgqaojl0PidzODxKdcDgoCYI5ZBDpTVtW5b4P16TutI+4qAo0Af2/U0qnrHOLTeQsWIu29+S7vA9mvHC70krvO0W/GM2KDQ1LtClId95Y/Y73EqkCQ+ZmQZFhW7T2UA1OKBijyGkExmoaxb2RG/jRx0nc39wtg/kcfbMBPTdFaC0QdjlH0gz3NAdNfPa0E/CsLX+uIt8/u7ZWXCtbjDuZyJCHLvJdX5359/ZoZfjqzv3v4GbEnpyds/oP/GpfLYsT7APUNrUEmoP/VH+HorVf0EwTq9My2/IZNqFHy+oIROeLZdroyYTrWsEQZF4EH+XxkgT9VK4bU4ReRGtubQuA0vdFjV2QLS7OdKAu7tVtFNejkk1k0ATK/nZUjNbyj5hiR8P75e8v1ot93txTcngnrX76i21gkhWXu1/3iX0g6o6ULl2NfFMuZEDJsL2P6XzTZjOBaE1p+LZblJltQGqDoaYWNMMBIqghdPRt/fGOmMNlEVLTBokNgiHoHY1zm2OvgaHorM2UBLQPJdzD7qd0DFuZX7dODV+IFXj6/qhzAd/TMMKN0EaVHVompbvF+k5HfPtpQzEHX1U47WQZnkm3mehT/tTk18BI6NQHwbqxh1wYsgWfGHV4Zrg4UPIyelgbXB+wwKnEPtfx6itAxMsPgFM91SCiCp0WXHbDaQrWAeuyRA/4nwdiHrx+wnI86ezveBBhpXvyqBQUYwblqFSrit2ReKrZ8yHFjXd3WIWZx+/4cNoV4n1iixvl6kIWJNAFnRrGYmHYpsRZ5Oi2m0Tf9yZCL73AbUWnEZbjoMwf1Tz7UOu0kpcykCaDC1M00H/wF5h9df/TShTeHo92yj1ckqlBtR79UAaKV4u9hSr5nkw3VFJXC1Z/b/zwZu7AuQ5MO/Va9ilS73wXzRLoQoDfMzW0eQy+l+FXSJSOuwGOytR5WG5gDzQWPEZ6GoM2oEzXdnPDfzWXh+KLW7VXbBNd7HciEMPw/zvxznZZvpjshj0i3e5JUAGK0s5js5UdGDHyOfWC2If/Cq8qvcDohl4Uj45TthQdphsdGInqGW1O7Htwrigf4RLXXqPbc6ycGdiMHhRlSEQ8v4LXsCEAqPnAC9TeEAv6Aui1amJN4SHqtnrWsZuZZAWt0MRPwSLTrP0d+vdKMezqRHFMdeXZA0UULvlunCTbhGJZYdy257bP6HIegObNufuBGU/b8YLwH8IxglG0Ngi+0c9oGEEkPvnmTZnkKQ1xg9FI0c8VGTHAUnHuMKEOVC81rC/5LsW0ScN3rYFTZLZmqCBlxW1PztAu/EfTuTRlNU83tXzTVZar9ALLMjjMfKmNnG0Xt4qvSZRiz1EMTRTmxJ6x1GeASi3DMYR89yV+Oew9IP5ciHknirHAhvDdDpKhBAH9yQ8y2ClBfAAKlOj3SqI3lIh/a9oCc1nNmphZzaXZr3EOVZlE1kVquOqYtsziaGJuJuML/Cfj4tj2kra9PtcqXw4Kj+G4JmjMRvyXQuFPGw3mRPdo0YnO2TV3w8/lKbyqN+hff5pEgTqtkjFhMuAN1pA2i8Q+r4ioSrSJ3rimW8QeJvQgGiYubj+fBajOYoM/6+7K7NqfS9rsflMqCTyvLLIEji+5ybHb5uLZprJ6TS67wU2u4ISERZ/XHLi8kl7Ro7qKy+1h2+7yW2lk2kdfgxejElGfY5QFxaDr9/DCDGGF92WYExW9nofWB+S+AN2ZGlbEUketTu3zCab4zjdewQA5+9YttlQbaNrzxgxQK1F1z/0BAqDK9AqdFcm5ZMrNDOl9tDQC9Rz+MyjPMeELE2Q5hRiyD+17r264YUsA0Cm0NYWyt1PxjfrKEhjDCLat84iNixT7Y1bwJY7druqiqn0EEnNSF6RUsc+Qw1h1hR4rONC7XOf9gxm0OHw24HFx/WuKhvBDs/GFOP+xUJ13ZAk7CrbBRPhmxppCy+I3SGGGSv9nkSWKLRNJs4DmsMqIb4VCHeOIhr+PFPDUy/xPDlui8VBe1gTZhtMNiUkdKDu+WfXwG3iOyCPAItLCS0zZaXFndc79koI090LtSA26rGDd3lX6zqXFeTF89JeLb0cF3U+qiz35g4I+wJMSn2Fgl9KbJIk8cafhFplKn9qdLxe0vnoQ9NzZLBLsRK44BwcdyVt7jKczC5dV3iX3Pmi+vSkivtGGvPhy1+XuiZlQh31qUGUEN6H0Lo6kiDvX1PZZamhe2j4/0rBfsLFcPqrj8/UEHyvaMACWPd83i8lbhVH7EY+4Oi0yulaRbqSka64o23lLKTdaK1Wgg462k9zPXbps8Oo0PwKGp+dplvLMATh0JXIfKiezmFrYwF6/9oH9fvBN9kuH7PcQ08htLB1dmfrLWBlywuN4bgJ2hBcVFHmqCZFj9efY+XSvGraPWk3i1s3NlRO3DHWpbglBi3KS0SiGjlfscOxUU3q1nVG7vmiIk+j+eclK4Q2hpgl09rHInCUnz/4deed+Nm9df3KMO3UmAxK2hXkFlbecRdkP6yLpxTCvUq5d+YrPLFEJUXqqCU0BQDpb4FQC7z8qQqhxKwLaBHvvU8JNIuqX6iAUT0d9f1revLXJyjK809CddT6h/WvDw2KCBXJfWx1X7osnuutkL2YZ4RonQb/KUL2XGOqOWSBGnFQcdQimfgCMyoEr7Yd+UpbrtnBDid+B9NHW6VcqP4tABDquKaLE3csMYJEFLDgBhRQRGJ4NiWhdDskO3p5aWdSzgMzOOFe46wwkCOFEN4svScI9bIEYXB2XqklxUmlTvuGCI3HfMTp5Bo/KXFmZkFhtqNE8tSic7ReDePCHOz797Xc9Xx5I6QtCMgqLHX4nPz8uojQ3H4+jshtSe8Z1y2Cbf8cNLS5UuaY+AKWx8SguRjTxmdc1Yg/e3ivtOZGbxovepOq2G8FLp/9UHrPCgRzwIqC5sdrFmE90dmJnXl9nveEsvam/XGlxyp5QtEFVyIxfP9n65eHaxGV0pBTK27ybn+NWVgYu5eyQ5POSlisVPpL06ZfopLIOsduKD8V1IwKvXvHPHJxCqcQTImGFmCIhJJuyDyOOJ4fKy7E1tV76mrEIVwjCuOVqyYx56Zr42Qsah5tbyEyss8M3hCRXNwe1zitYoStts6ZtZJEW7Ctsxi8sPJRPbBeMN/Ljav3wNPy1w3Cn45u2vo+pFHTrtpIJvMVLTDNl4iaVYt3lk4+7ljDlI1bDYoTUJjUTJQwsfkIJtYLn0ghDIXJxixK3tCyUoQN26c2atVoVCIfgg1KEHau8z5zszZJ4TL1fpCjZ+lFMWgOjK09Kc/yIhZjSK1hwjB025VdC6rZ3cvcnbGLa2UDsaeFbMa3MtqWzADMZQWUhebMnzqdRULlQL7ROANZYPowwSV0JDjIiUYmPPaI+2ycJ4ZEAJhljP/+GFnuaBtG8T0xjNI9NIPlvuaFtDJNFl4KO2GXuLBxThz7Uh2ywBe8ie+c6MMDR8TFeexZSwQME9UcSI1lKzYpQ/jzmhZrczhguxn888nrElf+J8Q3uRhk/L4toHlexkT6EUcLXuNIy2p+SCnLBn3zNjoGyGGlUHds5NGq7P+XjmWDk2604jS/5mk7FRpelOXqa6PSTqs+rC8xle8y4Vlus6PjmuHAVVJ/h3xkTKjEfyZUfu0Pn1phlDAB6Hly0USDd2qQWWbqxo9aOC15S0H2uM22/V0TSxrOMmbH7VLsVlLtYzj/BeMMdK3t250bOf9HfTWtfan4Gu1xOEiKQg1SBvQqggByTowCJe8qWpxSw9R377zE444Fp0Qlk0Ry6exm3O9ie+O1v6mpy1ga5h37CuH0yH5UxbmB0kNOHzsw2jF3mBiaNH9xrVDdZOuvil3rmfRvYEZb48MobXcMiSZyudEQfZP2yCxrcQn3bhQdbJ+HGZav7riRQz/h7kogijA88OgTPFxrZFMRm2wp6XqThhwhcvqziO8llE2elGnXYw6YmGViKYp8Ldk2R8CipLfOCtK/K+zqUeXP7nnD4gUnlrQgOa9MYQ88Qh/a2P4JDU1u3helAPr7oRWcQqZQYXJgWWzGzOsaUw+4+U51uP/gXBkmAc3YiIo2QP2MZ6Wa/pQ7Y4Y3AJfQznRouiAQwnJhULfNSDJixQq4qPE9X366XxZgIFTEV7S7d5IfhB0mmQ52QUCMORP52XGTtbgQwNnQb3fdeAAYRKFgIC90QhJ9qE9xjOXyiBQLHoeqVkGIKOfHnYjI+BjYtMBlfXjk5arzHGO2/Rnq7wUjovwRUIdQkObRqF/xyUDXqItyhyTLsVNU705yBpavBw7F7z+gC+jQmUzQVb+fWvJQLuSGHjKYhXTNTH80wEyP3xC3z0Z1pS4l/dNzwnIK+F9UFABtQ0Srg3DZNFxC1rs2U7lah009e6tzt40grwb28uWzZAGmMCur0bscImwsHLyzvCKqOAByqUr3x2zH19Ssbgf4AgsqrZhIBj75qdvJk2ccYthbQRL8gPAC1wvNCMvFTv/CRiYP7VW7mTaYB5t409Y9wPy0heYMqx/cYRon6dowXOE829F92UNuQNqLaBlXAQ7UvBoMu62dhY5zmHK/WIjVSbd3Xy1fHZ+UHcAum5cABoAyrE7TpQImdmVVFFAmzXiyCcowG4S7iZKK8XjZZtw4g3ATJkmEhVLg3Hp9CZimDxzwDTFs+aUPwP0cBba96tBEOGcxQrRzMXTlXHLCOlVM45aN9hTdGdvfr2DY5WOeGeP1rbT1fXmZ44p2On/V0dY/+3hqkSWvJnFkzewIsb6OCa9oaLLDinSAnRetCKo95hDwO8ztuKwgrgndlix9X1PJNQeQei0KjQxq3B67hY9zDN6+H4uO/HwQOm+/deqL5rjrqC9bHJoNJxm7ARrsC88yLVqiwfbUkuPLbZd0r3HKp158O0D9sCSRhjrApByP3sJuiPwXH5vM7zznZdgTO4XhtZeo+yKKiOC4N5PHTGv3K34/sc5U8S6NF1bERYa+tbQBbxTwln1y/oQdJiz5FZ96yYdE3peVHIdsTutJZWJxOXgnEDBcoL2teBiCRtrBcdRtodnqjFDt2I3Uahpu8FOBvzmg4meehZed3Ew7OIVpz9YUjsIG0/i4+lBfDpC/tKAyFZzbZcoVpAX6WhRjO+7xdN8G6zTu/efzzDoV1vHWEw0O/MAxN6pD9YMzq0493PIpNs+9MAuN9xFRViWjwlc9AvXusScYZQl13Q3TaXmLLF7bwVHgefVQ4Ji3HN+UmTaBdeqnsF2FtHR1L+9FZwnuerNcqU97eghWsFf4vucs8ewx6hv8v6WKMVNemBxDENt24jCbVyFWpN5UqoF2JIfLsuhFQp8v4ISRkLZKWkqbdMH6qUSlYWKPDA6pmw/XVm5Gg4/dRYy4xSF8lixETriutDqBi0m/X9IEySFg061lkQziYOgQ4rgB3YcZYZuJo+ToTrq7DmbSaGISnMOhIUpkt/bcZkb8SA5X3+YxFj3WtGe7Q3jx5HNRsBa+YxIrI3/RnftKhT3J+rWXRjYjRDWA85qsHM0jqVgWh+81PESJ9+jmBkP1caSN/7PUhyRF2LLhk0JhicyDFgkeyR6FTeREhqZfNeynIZf5leDb6Kw7RU/RPZdDLleLofyQVQXeTjeeveg2io1RSv5nKfaJuHF8QLsd+W89usCsF3/LZO49Hbu0VBB5ZsN26YKbWDgBfVi/fehfNbR2/X4WMku3RPhgqst/bssxwOtuef+jde0AsIbWteXpBRz3HGREBkNf4fnZEHMwUTT427jZdom5TAcuTKBzJM2cLiQYaSQWe+gzfFgkTFXK/PPNh36ZoRt5cK/ETGQmMpw7F/8pYQsI/LcRvdZwW4AYy9ESe0yLNjKIunFMEG98sRgpSQCYWlf18mjFwd/45KQ2v4KSnC0QtAkEMUjK3pOtaw+FiyinDsr7YhyGQ1L7+KrQhMJZOxYgL28OBRTmoD+3Oh6tInWm8y8wexXdYMyl/3vLn6auW27bEgRQ7tvYlfeBVjaMvqm1qcnPqLO7fMo1ZzQ4E+/8p3c+WXqfaizHCoC9zwM9pXOwWcNaA2UyrcxrWvw9dojh/hwSbRcRNR2YsIjKRIWHR8OU4rxji4M2UiTgM5V2XSIvq1+a7L4MwnQzVyiDS2eSoVHdGC6ws+hUIm1kAfGbzUSolkKSFTcggR/kEA0k03PajL1peB9+mIAAE17KTctYFLwMejjXMxo0snjcmTVLdR26zfH94tQjV2N22nVYrrptgD4bHjw+agR7yb72hsJyIl7/qLnepur9Dmg6hv78UDmlePDHxeLOOiK00KdUxN4cqtdjuylkIZ5Bbir47jgteAizIWr/gSqYlTyRsgP84c/7kknddUWVaBnHKMTTfq52sCN1tD8wp4hN3ZUTE+AUe06opj0WozjD/9x9QjuZkDSdfjgiBvXX4RE4+MAEhq5jP0wIw8WDSNekUHtFbWsG8M4x8t5Mq9QachVTtKPMjX/Rju1IabMivKW0MuV6qyaA1jWXe2gIhleZnRzCAd7w0/BqKlYu7mzkYeu3uNC42YeQBEKlXnQT9WKDTqj/yoiby0wI+157Tlbt6X/3xZQ/J4bjdiSaIfPp9dLnROnef1hATp062EpDEL6B8gHx3ohOEPWbLpQ1OATSIxMkurk5NO90+mY2TQNrD80Qcj80aUaP7jBBhgPunzEL3d/6aIUOy7JPPAreqEVkjUg0Le87KRTh+FNxvpXARc/Iiped6CVA93dgyEzh4vV4udp/JKFLTE/opyej9W2rUfDc9CdY2dWod/CtDUzXWrqghZO8CwvEGV+XkeTbDMrlXJnWgV42J1sK4cAEhUieuk4xsDjOBjxwdA4Y7IDVE/fR76o5xVwJOjRvTK++BwQcoYyMDdDdZN9E6+bVD1dfYYmPeilGmL7EmK3+Ye/40ZlU1M06U2oRvMQxlwaP7s8sRND7hoQ36BuX83s4hCEBHDknQKeIyX7xOECA1cLcj96ftyfmfI+ariaLRYOBKujM7GS1bXMo0e+YiVDGFBSapdCHcJXOia1HYMvm+gBZB+Bm5KWILJT5MeUnADlhAAPGyeM8TIbN5HihghkxexsFEXOX+HJUx+oDZA31/E91iePK3B9dKW0Gz8c2z4u6xYY26uUGr8J/iRptePFXnMai1AtRM2lbMmZhoPvAP9G6mhhCVtMOECcBFO2/q3IZuQUZRKnNiMvjFgy5qv4NYMEojJFt0hEd7zzPvSWsG/dq5tc33h3ZDgWfKB8D1/cp9mGHnlucqSLzqulybwpArAcYsE0HTlv2AoHAuMy0sGpUHqIvegKrEFjiJF21w5qBxg+ef98v2kR/qLDVT2gU4btWR7UWpEqmyJNOtM1RTginWFHIswcn1N+DFa774KA/Di7QP0DxUUE7PEOSRDdSPl0I/X8s8NT6C+OMV9mI0olG5NwwJevW3mwt7Xe0CfOHuxmO+/LcibVBdtYaFQszBPgLLB5fluX1FfVYhliZH6fqsj8JhyQyeSnydeNlqznyueypwSEKATCmhUkwviM+V4bYcR7a8Yz+Sy+EK6U4z5Y8FssjxFcU7oF7Z/uiLac0PGW7uJZBr2tyyB2ue47nN5gbe5/Uc/uFg2rWDHB1whZuHbrUOZnj0xrQHZdHmzsG1j2IOLT8StZjJUbQfA8aRwUB3FbVPbL9+yp7ctPNxEWonqmpovvuOd5HMyONkeiX9OjKGrd2H/Rn3gM+cBRhgCNQJDhQ4yd+sai1OyCRT7uKNrEBgQYfz0R0HVn6h1b8HefQzjj65nXdX5/Z+josbjVTMVXO7bMZoZecAyZ/Bcr0k2xpweonJAH1o/HY4LWVLTh5O5l1gwrFZYxZu6ZPrHxppOnWWtpwK4Pe2REd1iprWuaprlHtUOmu+oThxcKpQko6rpI1bynLbK63qCIdZ7vlQXqOzQjfNLY7w6Q6foYnLeM/PNCvhFr7d635u+ZAUILEgf3pw25BoBgWwwOqEN0zhiIMMwt06X4RiAF+hEb8yMOw35s0PHqUgWQx+B5/gwbChPIOgpv6GOa6gFCUdV6KVZOemvV8noy3OX+oRNg+xoaUY8QQ+JWh0CffquCv0PPHc/ZGPDrlaqsSG6orIUWmXHn19up3pdfP4rz0GGPmhUE0fQiIwixHo97uxm4n0cXh2Pm8+MByVH56HbJG6LcJ7UtYzS2aXQc49+u420tF/XMAveu5bn5uffbg8aZrh5n7Fn+mXdW2K1HFaGhsdg3sfOwoRYbvcMbx2cLXeziIXHjLtlJtCmJNj1pFJnotUBJ+NnYHPUANDC+lycpTAtNWgVd5w82/Bys+71ed/MXqPFcZlzvv+2hGygDzFtS04cv/7ZiqLehlhj3IMoVXY436F3zDhtFNcTKvKn0XCrkQS7uVHKw9G6uHqyo0kuyf5nHyAvQCVl1TGJOvXu0wIMNWhByx1bYfFoh4O4aUp1bjrCNFGgkUKd7j1JN+hLx1lBDn1/He2fc9pUfg8+yBc2Sw/yxKe4/GWGAnNqRNoh64o+fc5kyyNiNBP88CNN3V1PMm5w5NwoaaGBoaKu/FPulSubcV4TmGk5y5Srn+th0ekm2SbJoWJWvw5XAJT2Mnpsbu56BTLf4i1NT8mftFitvh0Pe8QSPF8lm/kdPrThbFcrsNjsgkjONscQ2kRL0bxiX6CHiCbUg7ErvqD9Vb1400gz5FNNTg8uz0bHfUxZkX46r+rhSRVpABQiub7WntIy1sZfwWXvwM9YdF9BQyvTKb8ZomRK6bzjWkQCAVstkyh8HgehiL6XDQGBcb32ph0f+RSEFoWO677hA9MvHwtQ8a01d633UIzeB1w9eBC7899pwUwTErSiBzWOhl2qKT7ljUy/Svidq3KRkF9JV8qlcb+5uOpPpk+Zi6Ejx4Tm21TK5KWQJSb2ZgV4fQEjBeM6fpQXMjCvFG7L/s4ujq1eNNtPxgFfjNY/OGqZMSm9Mir1YSWbSocI+klmPl+9yAHQgOg5aA1zpCOty/zmFEIpPz7IMbj3T9UoV1JWEStoJnJ8IPsB1/cnDFWVxQf7/nTaHNGJr4/2EpR2ESGczOJXSoilcO6sMs15QKNE2NLOpcqPqEmoD4gP5PtyE+njoPX8pTbEDHP5bMMAHzrq4LKCuE/iqKcE7ghgKSBoZT05cqSaC9fvv7AeWHafFiB0R4pZh26fI4F/M+I+HnwhIjgOdYNlgFHXvVyaojxj0J61vfJwPXLoy6X7FuiPrRoUPd8WiWde/PyJgUW5O5mdOL3gS5WQb87175bAOZlp+t8xXKkutek5e9dfINai/3ZDN1MZ5bKYr1FX8sPsciIvO6BHuc+7qt7kBmMSUvZ9bkOHwsNbg7XYYqDYxZ0mwlJgB99E58x4ibbStutoSXgWRaEIVzSKtvkXATnJjRUTfZ0czpBZzkGhzrObp3xSLtm/Zz10Tq2zcDoa0AKqcHeBWBcOImdRRinGCwG0kg9Reo3i8CR7c1H4KjpeuAqu932HBltoWzcfLGykUoMMSp0D02C+Nx2dHM65VvWUPh+ovcr5TGZpWFTdMjzI1vBYp9iIu3amjE0QTPiDvByLSmrIOyrajhwI9lxdDRbCZDkdCsgoYex06HjHteMmRWk4Lrz4Uc4JACpGXP044U3zQaraLoMzIVr3nnrAKi60QykP7tglISxg/pj6M/F+CdamYMYlKx+pFCEj2PzhxFVOnD5VBUoPHStmR9uRPlT6VoIAdywmortkTK8QHxosYNqVO3vpz2b+0yCWr3U0byY/8ax7rPV0p3oi3WSFCg5n3/8nqQp36v/Jel+swpnW5i/9IQbsbTC3RKTPSUblIvMtYOS7O29uv49Zh5VhYknexuu9dkUOkwQQRF7BXtA3iHBX8GK215kRmwXR2nebjqp+b0dU7dF91uz2v7DvDA+2K5zsg8YfWJMqawr/3e0wf+8FigjWWq9Gkc3pvt5Dk7Q4jgPSrtycp4rCNKvEZnHbAzoH1YE4sT30dWhInI3/brgInpcvrcf2CdQ2bRHcvcTDjeqoypOQ4W/HK/XmmE1lnGzNeirCdiB/UcxOKnUKx8PBUQVJKo89rgdabR1xQW5DuBAeOo84xaj3FdszvFEwmLMZEbtLgrVJ3NLpaAMyEukbl8Xhp950JzwKTz5ODmYNWUkkBlgAMm0zuv9QFE88wEjsHlOTx2IfJf2mcK5+t3o+TwgyZOAbK5ZDdqGxsjsO/+8T8oYsh5CZJyM5HwbFSQ4ECYyk0tqMKsQz3COfAscpkyDaBeTNjuSY1V9sZaokeqilFaBkChOV/hM1/fswUFhvDK4SMHmEAcJq54NLPQfHXsG3zZwA0J2fhtGX03g0y7B64fvHih3JKSUifdHPlNbsbCUXHCrAoiofQUO6iMR61bcdDqIFaM2GhOsdq3s9YhqPungLfkZgbOH+9zsw7Fl6dA2M5CqKnH4TsiLVTJ1g9dMFzAhFMOfd5mIJTYGai2dO0XxEABcVdcPClU6Jk44q26DFQ1P8x29JCI5FCm8qVZK4vFRN8tIa7kcFJ1i8UatlvoBkSbkGqaDFB5SFAB+AxftDNKm/6cdccNrDTkNXOJ+9c0ct3YtK4TlXh11N+yLceyY4GCyGu1FBLdPjZqa4eoruBPBeM45UpzAwERDRXM5Xa7mRPJsEg4qHmlg9HIEjn5QhI4Nb1/IbLNUQrWecRDO7AMPkWbYMYhe2tJ5Emlb2LqLrssYTAKKWpvgLyz+cQoeXOmusoTXR7XQ/ctCG1rATTdaDVTEJYsr1wmUZKlqY/gp8Z6HatKF8/+3dTJuJr9UK+ixoSNE1bEY37DKezQzzqtb2U069+U73eW4fgvKuwelknmCXvfAQfomcB5a02p86NDojAcvItuv5p3l2Zck7mnI8rSPP2P6DwUalzxeCoKHekUZEiLE/rWwjp4tqh22kToopTPhAzHcOCySrG+8ytY3qiD7tjtGMkM6UhMy4qpOA2/zdzW8Nyn4kxGFx5PDKNBkbfq2Cq+p+1qkAZ1uXj7KlvoiNmax7Vw5FGV1Nps2AiK/ti75aAmW5aeDy5Asf4rvxpBWqPF1bZUPxcHWX9z81DjMN8XEDS4XqcQ2fOuOX44W9FymNE6x3UKajNIiWbmxSAucGXmFC6G0NbHOEHZXsGM5LqvkXpSLFBCke1k1Lh8cuZhyBHoVw6E+6vWG2uap5YtUXxhm+vSK/ie3WbrNH7MPdLWDDrZv2tk+IpuBP5N6Nwg1NAZ5v+vVYK2YeZiLiihvvpBJy9xmIK4T9hOgqzhArusvy8j3k0EfRK3b/PSWjsNAmUrfPa7/0Cvopfh2FKNScY7q8fbvCRNmw7KHU5b+/TtBVwKpO3xbo6yTCV3a1Ifq4NgCa3vhkY2F8ABhcIasIywsTzpZbwGSauj46bhuEyMshEKKUpQMcuWb8DnFAIY9Fi8u+7Ryb95wLWFT5rwqz+qtxKTX8ZMkgxed+dNavMBw6r7JG+1SlCo5HWxD2rFJcEbi51//XThNKiB9K4nw5vBgWU+onxBfYnkinMKEn7Nl84VxjF+Ja+ibI7qUYJb3nvnf1sEtPodrjhKQJmGNVi/t/Z/VQemVAbX8PhmezDf34lwazfibFDyozsnfH6NIau8zu4wYtzAy/GrkdKtJq9Apg2AzjlonZrIha7w9RdXLOrL14zGK1Er+ke68+ZrtiTU68254JTPS08VFdO1hwk2EYgavahS9G76F+0lwXD4ORs160bDV0XYnsTuzuXVHiDDHdjHytZqPHs9Jak+TXUqMboL9MHQTi/z1obXLKnDr9F2ZLF9jk6LufKZ20KpPiULiHHe/vtZ5qYJTTVMXq/qu52GJRb/LXLKxIvzs345l9UPUz3w0NYDkKUPK67B6Dz2V+GTyUbhdjibido7ZXIdsYwX9TL4wkkQB7y/CIk01e+Xz+FE84sppsv243vM2jHNTT1SwVT+5PxDfeeOkFcCneBaxYp0x6JAf88vx13RQ23EWkJrKR0Hv0xksIybMcHo8dUZU0eWPesyTZcqjfRMyJbWR+BsxLq2s6CMrbVQbn8CdJ4Y5aycD8yJnvkz97ottXd9gcZduX0Dui9IyWTmUUCOFuAmEM7IBdINx71JGynHPYmJRPo49NH+TPvFaQ/DbzxJqSpm4osq4O3QLQcN1nZTMhQzagY65lZ7rjJlc3F68PPBWbj8ClBH3MGluBB0j+Kz1xkq6USZq94TTcFQppyPTtPT5HRxl7Rls1BzzCT+FS5ZkMSNzzMq9MXByHEFSZkERIhlblvc5Qvys/iBWIbbwcMEXqagGdm270xETZWqxY9IfWMniOG76iTpnIhDIOERjxza0p24XxbbIN8FlajeeIRupmWCCtcf4acb8SgvyzU1WFwq0tgdS2t5yxjyT/IJQhX8ezDEXsGXGqLNQ/QREicYM/0UL/qWwDqJn2jgvo/ObTO3eF72qINXexsWfWXo5NOVEpj9yzNdD/LeKqdWB+stw76iqzQExAfHxrxxPA5Tm6JJ1cVHHANccO95OVTgo3a2w0vWjKLmA4WA6TbZJUftMvQmKphCFm92j2KoKpN67/pT7WNFAAVUNjT499fgqBB762cZ4P73se+74p6h6cBeL7tCPIOKdnrcSoEK3OPAVc3Zxlh8XvfBrMm+t5DGeX/KCDtOX+kLvz8yA0FKrWWlLOdYDRLCAXNEJHFyFRQF0M4L8ckRAoZVAUbMUqOHb+1HXFtXp8ktnK8QW+ZZug7yQfQryaelGhwqpnC+WMJHXfSWu5lIfPyuyT+GfIZIq8TKn4DHlhCiyh1zR+EtOZ0XPYoAY3gThJdhbdv8422uPpkHSGd2FWcHF58Qop2gaDRSInFMO3UDFmvc530a8f08f/Y2g9Y9uwFrsh6gAjmDDHx/tJIsoTb9jhvoAIIr/jY4OIfvF6uHe780o2gb7cS9DP/ot7BgCb0KRZGcCSeGDZp7dDEX0l+atQPL/E9wLD0/60uC/B4z2q6/dkTsoUTnfq3EY3TImpXJ55Vax0Re7Zqp5pGS+5XSsRHTc0IvTZ4o+dXCU/4dWRbH7KMa/XiWrNo/cBtEoCVlTcrJH6WV8VWTIiQcr6pX1U96RG570nP1y8U7Ca1gm2zgcdRYj3D9lQyorJb90H68WyXO7TvDByIWXoHU/8AT7iUsZxDdvryhLEvj8WIk1Sx6leULJK3aoBylBNaO9wxrMmTgDKs9Kq/VpMMkHoOjE1mXeCXz2Nj/TDxHPd64+jel0dZV9C8oh1uJ+CkMrKPCki66UO4ywDc+yhD4sHYJYzZ/CEERuEceYtdazpiA0ntRt08r+EWaaV+RDHyVtWLSRRDLeqzALHCcl0GI2Bdx1Y+OL24F3MNFHEc8mFyldd20s14rRzCJcgpaZfbfEuGZ4bi4mnM93py2D4hAQuxzf2ketucl5ooQbD/YxnhdRBrftxlZUAnODSiQpaPL0jWkjI6m5OS1x8l4OdhlgfNnEBI5Y0VjZ9HEazrxMlnaOYxEhxuRZATjYFeeVEuF0GUdKa/+PMHUQ1/oFhY+q5NQuaeuje0J+CH0RFQWU0igq4xDqHTcOV0iHo5xDUgRwdlYrzzAPYjwAnuKqRrfaG0t81vGx8zxmANikdxC3tzqCmmwLZUWLBnLBbaxgKGjNnu99MkLxu/zO+dZRvLngFaIYNAkwRaX9eWtSzwgLLIwyC2GmaT7EJVVL0W/UU62UXG8nGBDIHtSz8SE7fkLbRVouqgoMUZnNKVgGkXGYrCCoNDw5Huk9y88ViLaQCliQrtRdjVnbGhdYMzz4ReIrAi7j4dM0LTG2vv4D3LMbhuYoJ2bMtd+r6oEqg9J1R+cGAI6D8nOHp2hKSiblwyMYIe1oEsttFKXNQNSPWoStHnR9L3eXPf3Bd2mF8iEkV3IqDHIcYq8FqHcDHZSi7Qfe6JMqQYuz1xA0q36OjRecK9IedEuZyLsQRAXdGw1zj0jpAx2HFe/ntkSUVcfKAG/Kw4OhjLyJuJtQAT0uv9Y8ShFKYDsrdCDF2vMmXIF5lT8rzD3esh1AlPoBfSXw4wLVQ69j1j9Q9V9rd3rpjIA8D7eULbPplAktX9CWZOB4NNk2dp4hGKiEnxN69Gm7YQnTqGEbl9bebcqdXOjZwsRQdHJZnt5L0xzc+vCkRcHLK6sfysnzQDzv5rHPBx/cMUPQox/var926bHkkDDHAuJq2/ScV4oT0i7+IOnV9QE7j8M82ht9g7U8SsOfsOm+jhPb1TkQO5VCWRyULQxz4ZxEW4iz28mxtZUL5BHNuvkbtw1Lojwope1jL2kcvJH3LLsYnIeDReb6yjz6jqs2/uwyeOii783MvQejeiSa+bu7OVYnyVSfFuwhXhlu9AyuyeNiq5d2sR4m7aW2xJB2QQKfkMxKt1LPlSimypU4LED8s5d46C9GGLJswO/guMoYN67qO2OgfXVnvkNXbE43g1sfym/x9qZ0LGTphI2f11bYGV35B8SjsvI04UhTk+dBL8AeatsijjUSa0XtmEQWehRnE55kihMxc/xbpGyay+9HKpBNhGrpU9eqlJG6dQV5njYQgt9Ko9yaDwa+PBKYObF1yUgsFiJKAHCGcopTL7fUMDH684T/XXTBFJY95NLO00rsUxYOu/e7XantFHPy/c6d3W5svSGunxHOQA5eMgVS/xGBZzfOo8HEMoTeA6AN5d6O1AsMC/J2UJ7I5y2BO+Ydc4wyX5wLFa4SeDwOCUcsNDnAlsupV+TVqK+7DrwImHYFF2AlQsrlgw6p7NpOF7s1T5cmqUybqkCxNRL7koQoBRYyu+7tZRrLdbGqr9TBh+yz3F/ed55EU58YY4bhiTiBd8Gr7TlU7BC8/4gHLClqPd6SMlQDXvLG8uSv9EPhGp1RzVxcmM/x/HuQVDzPhW1wdh98dcXtqF686W3PKOhG6EkbR7pqNLK7RsHxi3JWpZEX6LTaJyApbWuXjhFamLZslCM+C9mtEZGamVhSRjWKhGR7yz0DsOszv7pJXEGEaFP3OE1gxKuIw3HvcznpCNrJMUy9PXMS9/VvyOdUuEGijg5VFYrHvYAKnFg7upma1PCxt2laNzGV/+ifUTQp6x1W4UUaUQvXca9ZrYbh9OXwEckiKiL2rCxy5pn3Rzwzto/Z2dTxN8DYPs9PLB85KofIVmK1N8EjrqSRCaoho6Ugb0tMhgKjPRxJVHcQLy3GNqoF0bpyJTB74tVvE60ujcy7/e0Z8TmFnrsKgI3SaeONn7eajv5AlzPS6/iFERnkIM0rsa3K6ChbgUekx3cqavm2vm0QMRVZBmsx/ewgccHs4TASR6ea6lR0OjezZvvXJKRz4larHhu4RjdPtvf3Zi/THZuSeOzRpo34OT17/mRGjAegOxbJuGfJbULLxXqprdtdekBs7QQxvv6iNGNLClJuht1CMnTK7pfKXxCx7bs5COjrUuYTH5nDNq77odURcASA23BiiX/yhMV+PeSSmoGxKdQfYJ/+Svv3mb8hA/2ADK7WS3AA9dFEJweL96zm2WmxPUQv06fYdwxI60Adk9m+Og7glgETpvJdhjF8vSdXpOfRXwFVv0WHI4JvBKpDCtwGJnYZ8wTYcCjaq3i4Ifx/Hz4v70sIdoh90s4QOMUWQVH3UvgJEhYDKaxizsjj9e6ISiet8t45sioKrqZKTVJnirzOfb0gT8llaIlcVZMyj25pUdNB/1mk8rXA++dyOih4pvybl5MZElHLR3VApUW/fMWb+/nbPzU3AGNaqd9CGNaSwgs/Ad01XvYD1lW7eM6HmK4M9R9X8kSrk0uPdTD0/4S6/ZDPVPT0wAsCTExnwAkCKtR7E0LVnSWpZQjW1xXXeoJsDUXGIpWG4/WYcT0UCLeY4qbHqodZdUePlA0d8NVqiOqj+1syuTXuZV7hZeXgQBqvWQMJgYmzSiVUieTQ32FN1f0fOTjPFNlHvVMLHy2SVzf9ZyIfy30MWZIBJCE2MgD70/v9RVsbEecR4BnoVKn66P88HqiO7i19DYx+3Bfu1HrbEe6+fB4o5YaMdPHcY4wpldK2xZNpIj06FRGB01F40XDODBE+Fkuo087Rge3/zgpMjx1d64YTUtGSBP6Yc2m0gNgtxRUmBGyI5PytM5EPLZeKtVv/al1O7TRi8+J/AQt6ip8b3Jced+3iGypF5BQWtDGK5FK0zq8Uk02bjS6ePmtu73RibPypzHCH/Obt7pDQQHVJKOkiiBWzH5UMo4curqv5WiBKCsvJmhaHvDyqmvn+Lzi+x2bf1RJrnQuwqSd7DbZiQcbov///UR5ypNdA69NCff1nTF7eQ7KGvFGpwyWCYTbulaaSsHTWLt1XWTVCakMKGQWVOHUL+dh973M3Oi8hBwryA0ncONt+niJIXk+QiDoK880bdgmBPlOWYYFnD6H70oyMBM5PuE5zWv+OBGm4+qtftlqdHOUMsr7T+bjKCYG8vr2OPwSgxATAKZzQ49zIM8TQUTB/vXVyqfg58OmzBxjg0j2OgYZMu9kn3anLyVRhHwnD2b9wsppgfy5zkxpPjFXE9sscp1RaI31+gYRIFkjoHr+SiU4Y0I1bGbqHR0jVJKTLZdPsFWk3XKU6C0Ifo7GVrb91BNFjm61lng2kP2Vjct2PAQwydpOG6VlKTg/pgtjdzNki+CO0160atmZPETUtAI/wax2EKHUWMZS4/Hn/bKw7C5pZOSvZltQX/lVgPEpqs/I/fpSNO3f7g1jzW5RX2tbfLuJUJZSfVF9RU4knjb4dXVOLgyXrHYKQB+9V52A/nE8a16qajaldoLxxU65KbsjK6sqqIJLXzQLeNvKydnDcoDrbTH+bwT26HBDmL8PH7oNyM/ysgWR2ADX9d7zpItJjCwjndjJdwtrTnqbUnso7A2KT0g9h3agjMgKi9DEEYoHNWO2r+VGmwSYoNwHG+pmZ4D79Dv8tkDDbx5SlFEKj4ktBQ8zA6PDuT5HKwzkZuN5Hc0T+QZFtdjAVbtSyb+UXpx63HIpwpitjI8RtdYasPVRtHk2/STC7LykheYUgAavsdhXKBn3PL5LWsc+ahYciTupeVCwX6OCiDpPbJ4kUBNNBvzr35+cFaI4ZcPL4K+WL+3Dt0uZZAb6GnGnqaN3tuC4ET8qUHkr3bTHCLy1v7ccY4fRogKkKJE9n9PFumZrKbCJnEp8otiziKZm5w+mtUwD5/BHQERjadPGPYChKrB/zZDMImtpg3lK0KvN/B3E8fm1rNc0GzKUMeHWa0JtPmbf8v7kFcXp1MIjV36SIK1BqOut1PkG9GQ1UAAbg2r6wrECHXuH4H/JLE/x3n0RuER7l+GLBmhhTA7asERp20UZTRqfT8uAFtf53ODaL5pZufW8px5IE5CtCAqoZIZKunJWoz//qEM+Y4cFrnmvthGEmEsU6+PbPVPV6dCewOTh9dU5GoenvZJ9LPOughMINKt4lJT9ZU6lJG+j9z0uJ0bDOE21PIXMFMB9mGqhjPiKHoxYUxI8FJRCNQ9GGEyXrfYOHL4m1HbbZ6SQjOtVYdj5kMZdNPaLmLhlaMXEO0H28nNVOqO+rui//pqtgB5zoGjIfiEOUloAubpAJF1yd1cRQafP0cLW1tJskgC/pR0igKKjaFLglhUNWN+7GtTQ10fa1B1AIKfgPguk7GHYIXNfmqUAR/A8QrdDD3E3vPhJj0OVUymGWifI2zhI+fFEWrPnc2rtoJ0odhtu1sdpwbw4Eg7Q1X/R73HITaDjXwA2kgjvOnLgIbY3TO2C4hpnl2YpvEKfZwaZjEuu+8VytIsiT8hkX/RsfoyBw9zjEGBzjpJUA3wfc8cvGmrj31xKT2xYY2P8x1S+rTCSnOleP47OfwTFW8jbguDNAlg+z8iFgFw8vCk8kw19DiGDO2wrEqVfia72GDdWL7RUlnb58rJBoUCRscdpx+mr9eV7G6LRzPZwH8XSFWk36l/Uqhd0/blJRZvKBXOxD9f7+5XyLi6G65LkJzviaBXMSDTKQNEJHP21qVKk/p8oMlZC6GA+FJV1T0OCSlZw0ACS4rot7dDZqEbpdmPG8trOOPu9ZxLiZBBYEnOd1ytJYmjy7RRRYzpNkwyA9ktsDdUHN577wlu7ujRaL4ludzyJJgs/1LUm9za82uDxr5eTny6mD2juiSsjMpZKFZ6RTW4gvWWqVUGqZVPOD1eJYUVKUHjf47ZU0w3urKm/LLPDO7A/pE/rvDrBjkcthcSw/Y5bfsQaJoX5cPU/LxvZr280+WinhA/nCREWGGStZob1prZV/XPrqY/EanTtH2dFIPum5jDS6xmuW1WFN3SyQFOjLB1ZnX4LyEjwFRanIKUA7eO6h8GH45hEV17r+Pl5MWUxHOE+bP2EF+5oOs8Dl92TXvwkfnrWkUutzwU7E0mHH1YC2+Id8BGZFNgfvQEAQuQBKrSr1nFvCA2hq5leCArYritz9zX4B9V4PHI5Dy7kWPTAOVfpRM5hAuRUzAh3eNR83IzWG1V1aiXY/WWY4nkKrnf7mY2Lx3kj8p9KvxHuLpLbOSSSSeqzOwddHowBCI2SgxJZvsXXgn6xCkBkX5x8VziS4F12lQILSWGzF37qKkcXEIKzPsIz7w5zfli5iqKHcf15TnLfTPtR27+3Jon/33BXSQyR8lkJ0LE+0o6JcUzcWUTp9IhRYWuwyCLjY/VuH0souBPFNMkbRBeWlYVFJyGH3sD8IbTYpRI7/R5HCLGDd0FtAYZDlUZiS88ZkWa1AOPB+3k45oUB6YnVe0ib5NKw1XLhaL5jF1FOQuG0AZJALi+Erz+eY3jPXsCzl5WmN89zHPumHwB69dHqwUxa7GUszjZ/e7skKXVHfJ71pGhQjMm7DAKJU7VYW3vTWrolp3KJlSWaEUWmbWAkcKU5VLnJD4cNTlEiGBCnNPQsiOg9sXgi3U00MJegl3zogyamXKUM7wEM8I8N1Dcs4AJIsq0NCDHfNWYBKm2JvIdVhlMS1TSt5I5YHiJXCRJ+oFiOFljT4xUWYLSmiJv6UU9yeeIZSGPV+w2dWmxX8296TQWIpTXaFxrEyR8XhYNCgTfwh5cLCIyys5jdIKifMHI7AFMYh2VrPqU0o8Hpx0B7Rlb3vKUmRI65Qs9CfhJHZR4xt5mCIDHZyGuk+lU6rPgK4XmsirCgm4Llo73WdIC4U7AY7BcKblqYo9tasouPVG6IkthlnZZTdpt4C+VXDvhrX+0NmOKPSe/8OAehRax77uO8xA/f3KBEpz1YWYCaX3ki+3vLz/oYbxC0VzS75X9Ka9rbUPARbqjmp44nlkpCP1UFztl7FNZol7EoZ/lk2+X62V+RUAG/0OKt0UPWAFXRfE0Tln6dbqfEDsxJ7It2g+U9Z1LK1h278fOsDFQPFVFEjP3IwWXgMRVMozQswzIx+f4kdUijkGRFjz1q5XrvZc4VpeXLq8nVFEU+DMyaDI/OxhwOyzBu6IL6p+WB1x5AJLBz8BQyTQYAqKqrgUI03s3QPQo/W+6xtmOqBrNwFjTVVJc2MCUp9+5yqZsuq03as5e5ddBKnpnN5CoGqGyFxYuOmS7hc+EZFsrsaQhUDBBN21vZYRFn46kwTKNegjkcBhnCxJcc+CrtiSoGJspc8BGl6Xrx9bfu/ke6pdl6Gt6iXDyBHw0eqMuTSCmp6uCZCV2lSXL7ICETQXu7Qq2b921UQGlraZE1VB6a3ILqpEWoZgTm9acii3RE+tMxJ8v8PRkbYv1SAB4t4IVvxothz0wqTX8RnWLo4j6SLvPNnxnpMF4Pt7V08Kl4wAoT80qdu+6Cv3cEFh80u7E/5aLdAz+DRDFdIHKz5gzc1DwsCcmIhmdj4gsBDloN615JEXuqAMf6StQBJFe6RDx4f7rAuRuMl0xL10PQ4TU1dBZ78H2HrjngcyXT13Kjld3Kx5JB/b7TXCBBav/k9AF1eFPdgHZy+4tbxhgwxxfaM2js5tWXHHJR2hCUjT2EQb5tCzgKBJr7HG8s9kmigY7U7yZE8uvForFutF+zC3kgiNwObRpRCC1w3MjJr4YWz0fu+UD2qZ/G2UZiteFxJA9KerdVXTXO4kxvzrsDpPSX+4mwq8VeK++wpugBmevpULl+oxX6M5bcIe+GxjpzFBnU3uUX14CQ+8Jqf6tkIf8R1L6VL8IUODiqJLby1Wvx1u2Vy2sI95hoJVdG1L9qvsQgD9rGdb+nO/AH2AJ5lOlPAqkCQO6RgtlGOy+S9Fbiacm60L8lqkCWe2us/oiop4Mh+dY0IcTfcbnVL4DL+4oFqlVIyi58hdNcf+Q3DpySB7PJ5eHkAZtxf2+VqGJVV84m9cObhcgzCiZnvtU2n+y4PsPs4RR3Qz1+cmHusgBaDSdyXppG70TUXI3ArBhL8eDoQ2biwoaw+jYStEVDTUjrs8S6PFn77PQkAMeyuTcTMwAhLgtNymlJjX0hnDIFwOTmNqcp2o4RNHAKaRi0vAQBQBaADuUI/afPHP2Jk97TBiyLUXcki2g8eHmtTcKuing4WYS7/BKqsP2tC7QjDQZSziqKjb8p10O/7GXW4UmICIRlPWY16teQK6ym8syk1e9caQml3Qk6d/82BVKwXP+DfnGqkthjVcsYhF/4r/tgirIthD/NI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81000" y="1826260"/>
            <a:ext cx="8232140" cy="4879340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1371600" y="6400800"/>
            <a:ext cx="136768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latin typeface="Century Gothic" panose="020B0502020202020204" pitchFamily="34" charset="0"/>
              </a:rPr>
              <a:t>Source: Company data</a:t>
            </a:r>
          </a:p>
        </p:txBody>
      </p:sp>
    </p:spTree>
    <p:extLst>
      <p:ext uri="{BB962C8B-B14F-4D97-AF65-F5344CB8AC3E}">
        <p14:creationId xmlns:p14="http://schemas.microsoft.com/office/powerpoint/2010/main" val="10317400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sic Industry Profitability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here is upside in both revenue and margin for record labels as the industry migrates to subscription services.</a:t>
            </a:r>
          </a:p>
          <a:p>
            <a:endParaRPr lang="en-US" dirty="0"/>
          </a:p>
        </p:txBody>
      </p:sp>
      <p:sp>
        <p:nvSpPr>
          <p:cNvPr id="3" name="Rectangle 2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Y5bwR3kgmVV3/xb78SUguvWSJTyZkAVhT14Kj+NMhVBG1pcdT+xSAwqS8Q4A8F867dOoFcDLiDCdsOGe5axexdjr7uO+KQFz9iwC27HHLPFoCBI8vHn3lHq+T2gC37dZIrVerypknrged/wDT3Vn2jReF6sxivYlKZ+kE1N9/kjdASmJuNy8Ps7OG7kZId5lN4taBvQiMIZ8AbjXUjk4BSX+BERZcAufM2xUDe14q0MFkpzWqqg2uCBiVNkDwHcnINms+fdkwfj884M97VDHExTyeIVmqEV7L+vzgX7ZCCvUvTwBXUOPNr1tAtRmmKtfnvVVRwElTb4mnpJcARMBHEFteRmCn0xasz5fWSR91vkMzz+9UMeMgin8rtsaEEgNfAZotmTEVZTWAVO08hrYZvcRrF6LFUvJNcERdZdMm1seeJ7GXhWhsgcaeMgb8vBgwulosxB7D3eeNFeKwoE3TqS4DIe1SHQm5r3sBntYFRdqmUUuAMS1BsCBobZm9ZVMS+/yESPjkE7vk7WU4WdThGnh1ZhNJJ9IN3Rm8kMW0BO6KgryG3EkJWRm7dUe17YCizl2I4Y6U/2PbLA8CW/dMsdJndaw1GsV4KS5LzY5UMc8QrfoPzz8qYqKuXJ5dbLnaEjvHtAgCFN+yh7AWsy5PbrNiKEfHUVBhvX+nRRAeQika+wm42sVSp+v/w8ZOeiU8w5KvKSQUBDf9wR7I1qxuOmZlf16SwZvMU6OqvVADIVUziqFnkKV1B2ER2dAPsUhG69jyXl1JGFQ93ktbHhlcKRZqHWO1praz5RhhvmSb4v34oj17jz2qoQ54VKEV5FJgdhiO9O7yd06BirSh9viv1NuspFM6qr6uw66W0K9U4mYcigb8mXmOCQlxgAwH3HeXABpmszd8BOayEGEcataYbUEPv19AI0bk9a2fiTL1++4iBfZ2u1B/NTE0IlUHX6rzkPRsGnhACr8/nJn9BkBiqXAOO0XS8naZizn/x+UFW1ooVmhyquTF2OCtlzeYuTO1daGC5tVwhkulAMDmGE9SNa+QENyrCH63QtHFnCeVCYk1KnfIg82UsJH69/DgUckLMskb+Et2jJpURPD1LWthT26Ijlbj+OWGWpms6znCqX8wpPtME+gp9MR81jjGo2qxA7i+0bp0nuXAR438tn/htDva91A7dVR3JkYNd8BTS829DPPu/s8s44L8OLAgM9OEmDU+DztroyyKAUtEhuWMvNnJ9k1P5+g73JDwZfPzwJAEINzuseflBrkdW76iQOCtLN6bePt7YD6GHUejy2nA33Qmt31TD4/+A76B5WPVOatpdgeHaDqf163JhIwSkAogxHpntaqBFUhU88Dq4tXg0XYgQ5EDTh0vuRTtPxuu7dt5SLIQjFUgmI7/ulN7H69UezyfP4OVNx41G0gdT+yLGchlI8/59JFsib/yTHz9eDfE7TABkEuIzsN9oigY4/0QXkuX1MW1cnkUdT9xG+3EK+ggjFv0ovovAyurJLQhjar28ML2tvfxFVUSx+YU5Oz/iGcOas5JUTEgP/9SfrT/zZOvL39covDYO/PJvUnwcIpyhhkIsHoX/ozSTYkoRsIb2r1KSNDM3fmRWxdRLP9oi3JM+h15eRQVfkaTetv+G8XSB8iEKODkVeQFyRYf8GrljEC4Ypc7Q4yyUA/qhdojiEVASzj1DRW3ikSbmIvxUTaSH02uUhjtAzbTq5H7/Aqd03+aRLdvJzniqTx56m5mAYAnKky2xjzm7UH1M8XSLyZEVJeDE7bh5BIlmpj3USDgDrstxqMxlVxZmMfb4sfDVoKxoCcCpFOP7hDkDCJdDqUClFymbOWTftgRFdxMdQwGRtnfYiy6Ywo+2OYTRolx0d5Q13UvcAILZkMSElBWyxAdN1v7h4vdy0J1Wwy/564nwU6ObFW/DToRg4v3mR97qixbUA0k+AMI7J/h99UAS1k1mGhZpsq+KTLsTO96nS2n1Y/UsDqBtaUEAt13xuDzLs59ixyyuXmnTKo3Sg6+TuyDV7+09zXi2yQqbupBIovvamEc0qwjjRm5zNJKH1ffuksY2LNxlNU7khguYH3GgvUv1y21qJxpaHeEDCA7ob+I8zz/ddrOupNmovGAkqR0hLlNT04ti17olUvE3wuVhWrh/t2O2b2LNi+UY4BibMycNYOWLN/HGCGhDXGpqFloK/602IafZyOLhtitBULcE+ws39kVkT6XZ3rcqjQa+7cGOUdg53UU+W1aX8sPGjjX/89LY16P/OkeOX4aj1LusaaESz8JP0+k5p8bN50fkS1Tbm1uJr1djSVCjnlz/IC8jtYeAOCHXysxVbcTWwNjfMhYSecF5YZhaZrFRHWOYS2WhY9+faPweOJwksuoWKhOQlY6fdccZ1aVwCSe2fazEYOk+XlhuiUrRoL8qlhC7EOVDSbmKALSvGF4fAEwwwiap1esOgLdi15VhEIu1N4Wu9/EG/s1yqmmlfrK9uJbRaqkVvqyyE0lud640VJj43FRos2YLAr1jsKAGBUHXcsscv81AIw8EKZGZGMoswx0XqHXVeRK5KIQ/eDwsrCgpZNzJwCOe2iDVPBGzCFhSKUNCm4G+tvDlyeyMMh+gT6p4n49xjvLPPNGZ+6r/QmkSACZhQIxCOR0mQYVsq1l7QMWGYoWmNVJox073PCs59ajMqGdQTHCjJgTgqELbLg9KUNKm/hcT2h6G3AOvRyOKUDz2T2FTs/XECA4WHzNLjDSnkDxodtYJW4k9CEbbYBMibaiCthYUi8a6k9iQc3cShXm9/BNMzmGbTAyBkgkpVGTZWnoUi0mSfN/knO37tQMCuRbTVHrhaI1YrS4aN/Io9nsjntw6WdQ5MrHPtZNZQJrgjHnoFlDmakxwWADErs55ZApTUj/uMOw73HmBRc40XuAm0jSKqrsyilQVNPOjNYS4BW82otPXFhi9jsGN/zCgL+s7LTWJtsJTgC/EJsLJ7ph0nMG+6HE5BUguRv1AB5BxNtocGjck6fvGwJGU6cZFt5FUFiXMF52t2V7tZuT0xL3vmdmwpsYV1rdoeTEQPy+psNJhQun2wXPA9d0A5ie/2rRMlj4dAftmCEJiTyq06ylPmz+rJt8RJOZ1pMKIFBhkQGeQER3mchn+JWCneJVp6fcrB/Ue7UQIuiEyMtCNqYmTrF4hhPGQ318dyd9LepIVdgSrk13eD11JW8soVi/eVO7A+AOdu4emEqflvvP4Q896H1o+sL9GbaJYbZJg2TKrKrWw0h2vWtlst3g2PY7bKgTiDDUjCyRef0pp6wBnXgEqqthzdOQQSEYlq/SoX5yNA7t7034W38OFAuUI1SE4kNvAJVOyavgmaP1QWSkn9Yy6o3oAcJEK7Q8jFiMdAIVs9m9ZmuS5ZukoFiBqqV1kA/99TNlWz3JbxBu1EWU6vUFsXBQ15XswfoovgIT2bYSlscRqt26NtXOK3kwBcgUBxmzc3unSW+k8N6wF01lW1Mhm8uHptv0bjuuCfBMtpYzuHtrj4hdsefVpegAKsfkU0bWcP46tL+Gq0MprwJ5/BXOEcFistirX/WrZO+sH9HO51SRL0bMYCnloLSvYmpCvc045sasXsGfZXG8G4GdRhxYmiWPcPUD9MYkJSAB7/PWDVlKkO7q4uNsQIKWz1Vojj+elZJFL5J917TtTjDJHghnz9manVtEXTiGOw94Go/qajcd/j5yfzs3yWSpZmYyvdUAs4DbNW4SjajA64Ox7L/EF1at/RXDq2QmAB3dEjWMM2/tfzfF/FVkm79DzCSglLaeemhbQeFyco6y4/eYuLDUGC5TRUNC+dIQ8jk+b50bOVHEhPIALB3wF4CeTNhKyweALq6ThDc1QogpnMMKvWnBl900AhMoxYof+qIP1Y/9ZV/o7ZNQZU6sbwEusUXq007aNNy9QxugH2wjA7wYEpCeJiTdib2j+4mv2ztGEC2Cve+dmWLDOMBZ7m1PZIWNS/YZi8qqO6DzCWntDIsHYJtV8+GP5Ehb187eC8yeW5kSsfT65n0OGiDN42+/UksWXpkYe6l9tM1dd4XSPP84VtiaZV/pgTW2kgXRH7CTacL7NyTS4YVtpwFj+iAmlBE9pIHbIuHoM1weECXQpwNAgu2KDim3mbiTWT2gXagE3tN39LxxAdxVIDohvqpiyFZubCNxlVpk3WYHA8TcF0r4xhjby4YJgzUTUeWSpJ8Zdf/uTjg1UXVNlP8kNWNdZFIBNSGujMBndZpCi57wEDCIQKhrVqPMoGRrZadnGNPbnEwfwt890gsd90g865gkklBt5XxG1eKe1AE0sBjJLGYMVk6PcSaPpPOPPe+Bc2b9bRyAX3WFsdkmBkwkQVM7EjUSMFWvPPXGPTZn4ZZrGAxa0M4mVURT4iENebV7/yoajwuXjSSCwx5oBzTpe2U6G12frM9+zK/jyC24hCLnMPofjACR+Aa4XXTBr5Msl40ry3ui0yKoW8TVAOerPt+QOFvlYbo7a6gyN2rRRIWUjieFAXOxa9WRLRJ8HtymTPMaf4m2rMzgIwGDlPKrBs6Po/FKtrAkfOWKIBYFMXqDenoeiElf5POqLdP/YiO5voDOFzYnVE5tko/FDeugiwYBXKjlxgFX5Vjw+1UyCHi/ZpVHtXgPD2gYw93GAp6eSZHaLyHdOZLU7zCkqPO6XKuS3LFtDMgumDE7MyCtC/aj5Bm1iFoFtdu4D6DGS3W68uKzrvusILAYOfA3x9eDnlAuHDfsY9NJ/sMF/IU9PwlQ8huYRtGTvi3sRgQUFd1maxxmrOvmpyzbF/YAeO2CqklzxxGcmJC0xkiS+CjGVJmQlfs3Zx3Lziz7ektz4ETvEwK5XT7+zi4WCI/U7lcsVrtLG/heLpijO24uEErKlxGkVdl6zquqYz7rMzyiVZPW9Eaf6oxc4Zvq/NAV2Jea7V2+LCqRw/Hm7lKfvjjH7ojBI71Ck6WZ9DD5K8U2PE7q1HbNBNzq3TT0BFTP/wCIR+M0scXqso+xNVNZ8gnix4bxcw3J+nJn2aerurReWM6MwX6yiz/StAS45Cch0o3+SpQUQ/aCLLcZmbhGDKMRVnbD/n8hoU9rdKbsZOO8JwtkQQV7hU7lrcwIgSD2HEl5Er7WFp2ukuFdmvQy+rsrSn8MMogASwWA+uEQVvg25yLDv0hkJdVxOP/Bo5tQP4bNEleubRKVGR1L0ofx51C0PfHZL9YIzAkp1DNxDQZyrKZo+06nKi5nyHKGN28Q7MxwG/2ecSSvUeZ5svmIo5bnJ4X0R2QXB5t/seOCjgXMJh3vxuMCrqwRHJUTtNkFqAjMle+IjvaNryrfejyPfe/zje4h8CLtXz2WLKs/aD5hmwwX61q5uc1PJm+y018a5ERWIw7Ky/Dm4UF9M5r6gxdnxFc/HC1ob4AKnmsb7eBTMtgvMjMaayzvF8StPkk5ZR/SoU6p85Lht9WMVLpR+iSuhSoDdulwzXbsy5VKOdv3ERaPr705OfyCrBA8NwSeLpGrNMvzQWsvToxx+MmhzXr0gAuPevj7ZlWu4SQcU6WY8V2VztlLZIK73LSQacYI3MqW3eanbXQx1vJWhdkT23g1qfWx6Kr2/fWgNLpinjoX+niVGxeUlZ+Crv0Y17VFxh/jSZpLZGvFudmqVthTx8ZLbN/7ATgcpx/LTvKcH9lX6oOhhxPLJWp0MGApV5wt8CxVbcsalLYhRm4dA0G4s+YBKHxrplp3Ps9rXPkO5mkPG2fMVce0GEGsqmFQd38OHO1PFRBTd7RGgz13/K6v+ty3sndp2makZJS/HKkhTz90s00TLy1Sf6bxZ6KO6mMLOuIIx0Ubrz30QSQmKabIp2MYkR4I5PEKqHfbP+b/Mugz8prNcVmcCEYc1TU1mN9uYAk39dhjY9R40N/JoL4basGQBmx9nIqsJ4e/4Y0rmhD5cM9GMyT/lJM9uK4UjJRBvIFYPGmOMejSu8J/0G9da5rJGEEFjJVGYZxRuMVppKTphwMOYmXSexZNfI3ECD/nnl/7Hs3IZ9NhxPzsFKj4VPZg8/WpIC8JodoskDJRdDIhi9Uj9WqEGYrIZeygukO9pOFa6h0YFWzjhqa1k5HbIk9SXLq7ef/enCQ0rpyjFH3WIR1qq5oFrCX0AAoagQVrXq2qknIFzzuFrqdlo6ViisCJLq9k28pcotcaAh6wXvogu2ndCR8FbOzPuAWIbNbJI+KFpOciHEnI1n2JXAOPKERh4EBTfBCH2gpDBTFJBuL0caDGmaA8xMt0vRozDLttqM2/jHSNJt7sqX18wKbeMj1WaMJ8jc8fNZuSScC/twYfgXjRUxX+UMHfctq5ScVwvFKgBpyFy+VXdKsHRFYNhCCJgZ63sNYjQwed17BD33ZAQDgjrFICgpEQKmjLTT3VTP0/Ale4/xni9X3PPs8Ws1zQ7xyY8flVX7TOcfGdcx5UhxrQCkK68GK+IQVytX1ozWYyBWawil4vBXZJz9Sl+EuowsVO1a+ilK63evi+CDa7vFyjpu48TmNpwWCsHErooxMqEA5HOJ5hKRFcPiEa4+EiODlbzbSx0901jW2QgEpWr5PPf58WsoC4q3Mh0QYedZQiyalHdJuON+vuqaZBPWujiHjrWAlEPZOTFb3gYmE+jET15KoEnXEZwutdYOR5PsCsrInWOxGLGUWjgCb6fSyqIVkQZ8FH09qv3b7JYX7dLGSF36xgPc2vTbH1kz1L406CKdmzxlkeX8ai5My50U3T36TFNJEDYYjFogwXjxWdDkGAjiXog4lFVi7VyQC6kGN2Jg776w4q7wBoFrJ+NPBU/jrGYqV1vezWAzE6dxVCVANOSLlepHdzIkRdR9u5CWUv2VL+39PjOxBgZ8AsXX2zjKpzqA/dlXlvrWX3MqkM9Fd7hblaG4wLEy7cH0i+fMkbanxpMpmiQuz0oJE6KL2P0wINeNlAQNz34wZP1jv67GfhVFh6mKc+clzpvstQLfhEnqYqm4o217FcioWGhjza9+y8kuR+BTrGDHymmU9uZQD+6TdXWh3rjizYi4cs1lV5xw2hO5Yt9wn06iVpEZT1inMXwn5oysN/JuvOvvfDX6HATgahx/Z6uKR+Eg2K7s9sTZI4BNlkyWNiB80MxWrflvazOkhPA5Cpy2hDfzLR8hylGo3hkLPZfeLwEydkhwFzi8vtWctWvaVgOVflmmIVkMT5DChcDvgglIwG0piEPbLnhX4cztumUdvmJQ4kcdNCtIEhEnAWe2/KLyHm3HhQcBNwidr7yz+5O4xJyTjxC3OzKmrZIEX/6Hzm1n6HF9BtBbCctxZNb3pEsDZAfIpJXOxrn60BZ1ibjHjSY6JAxkPUMKOHoo5nw3jp1eEMMeg7lWE2uMENatqFhlAt15v1iWwyDf+DlEWEJEF9yntyxGuEav+7cWo1o87OpLucvFkOmDYAP9YxCMnR+O3fcv31l39BTjNQezQBiLX9IUAJ0JiEjES5YfbTHE99CgByKBxNzkfgTY2UflYLt0LG2BDu7cClpKXAwYErJheX+rvR0YTpm4QeMHqxv8DyfNTq9OP9qfcSHVNRxBZQwNO4iSeGLPt364Gi39uq6maPYFUAQis5EG9cnkLHvs5vHl27PfTziHUs6N7UWudgVyrdSB3uKxGsI2mZMSLQ+lrCZ2YNKj+j1OcJoIbLiQMgteWRlcjx09lM1IfMUttzNj6W4AxbDI8knUq+wQCNRdpeEAHDCysBeJnj4610ogsNgkj9s0p/W2D/RZedotEONA0LVcXEXOsct0K0Yllu7I55Vo35FJRZlHAJvQBrQ6KWhYRupvf9Vry64W2mZly92lF7y+QWjgg1WcvWr911QzLvAsk18hgEJ1VvIsFigzyQtVB0Uzk78E+y67Go+/Si69Gk/lcgSQsQ1Wz3s59IUsZCKQbYQ0vyIZ+9pdyzXv9isovcujGYVcI9vw/Y5CYAVvKl3aJv9veYHS0xaLBqCR/kqivWhKhqJrZFX3sxx6XVpwhCM8YBs3WRZtNo2wluVl6lH/fSBs0pWjsnO/c0JR5ywc4/DqG6a8EdlAviJfkdWVoKU9Ym5AdWC63vbFW5MN4mWIjlMCVDrDwiLgFu64yq6Ow5EkOLOrqki38lYbf7c+J8wKAlqr2L8HAhMu888lWOBVXfLI0g9veKSZv3bA4WQNxFGu/hg8RaE71b5TZn3a3xVSZnxd4w/PG0cKQcvQQgwErmNSZfrENjakvp181f4kT7HOTzmj/LVx5DESN6UdtInK8qpiTyfXxSD0k3g3k0rQoExvxybs5wUWUmOuBCAMZbUJSRemU9bVZ457c9vPXtiZW9AiTsfY2RMvUeNkGYNiBkNsrL28nSe/hyUzBGVilRPBeU4QlvVAxFU6Dh1aoV+/LuBbM3Yj84Bx1uXuG/S2gNvRa5uVDoZdBM7s+lGpy4M9Pl0xXkKy7C9b6/mmQivh3wd46lDYYezrF+DvlLoZpDIDXDf5MRV/3qKrOWMaganqTHEuFyCSIqyLY3tPi7LsqD29TCHPclyjjfu8CKOsEgWljK95J8AuCO2IGts/R9aHBbZwwFmp2JpMe3H4YhptjHy53WDi3I34ElrysPJTUrgZyccNVv65qEv/suQa2IRW4q4VyZlW89ftNw/JNCySPOsYOZC1k0lic6SMJxvjswURUbaCaLhCnpzSRwtBFX0+MSGtfXmMtxAb5i8qYLczm8ZrNbbP5kHQg+BWmg8xuFMghAtLAyNdXctxS2CLh6kIWYJABstOpmySAIa+UW1sDf7DnI8e2uuak/ascN0pct5UfaVlm54LcMFi57QRM7UPwAwioC0X+gIGV97ehTR1JVmsGWD3eGIS1Pw9V6NA87eWB1NQggkRM90he96CJ95t/0fVG9RUj3KmQs0hfLuO0BcDRgdHDuhityH/Cx/ytZP409eXcIpm4UxpMJanfJqVkP8DKubQwFwMsCh8ZFIwh219Fr91UeRk2rqVLhDEjOioUQwFN1CAAhfqr9yHM6Es3azMY66ajEBCzgL5yg1wnwZDnRJK0FmXE7urWnw8uLZRe+LZQul4kTDxuCgYHZdvRsp4x7PT1yisatVV7d7gSH66NDJKVCoUS7pF+P91Dg9FeHCfVR9p8gy3GlfB44iyF35mwX/R/Pz7immJDVcdb5JKbMw01W6JO/RahRkAibWP39HH9F9FgNE/AOb8B532SS6sUmxeRyzPgqN5CBPRPpXXCblUdUzPJW4xVKU8Zl6CasyQ804uWG/5s3HG94XV7w4ae0t/nTlBOOQzdaGtNnfykq7e1JOaDfF2pHXCSxQGEwJccaXamJcie1Qt622awrQNlnqsuwmAuLJ/HVAPs8E1ez9MwKWZjcxBlf/XN3wJIzegNerRizZCsrQXgzpswLfGa80ZKd1W7c5xrtn5ht3Es2WOK/AfsxJ7b7r2GmMQU9/XgB6ySSwC+POZfisIgc3Sn4WygQ3xXcBNkK3Q3wUllYff1YiCnTs855OsiVWjnhn/i1f4s5Crd0AcH3VoHuWZzdqszq+faa9WYGhnOM3mFOnuzaBg8tAwfIOGIiDBtlLdATcjF12Au0ft+GoyULD17nz05rwirVIBWiz0bC/GDRr9SPKPJqUYEFOm2TjaqT6nQK3tB7DU1+I3rWTYgjlCIxjFvu0AsrJfZPpzfJGnGBRPs2SmMpNww3ihamg80gOxnIELAYKKBe+w34VfNmMjFEdGwn7/5WyaGLidKTguJfmZCvOjisU1NhkBtc6t9sBM1PdAZrTKEZO7++Sil90DZy+fMNfLNTXNTUqhExRELjZKZOe3M1ZOKtLpY2/MW2Ob65j8uY3Ur/AvuOrKfV8F5VTrX0poeGeA/nY1SL0UnK+gJol7vYqeeGO6/1eruxhoRLp7QJ4aXoYd8mRkuSa5HvvBpzPHDhhk3VGDlNbCGuOSzOQJ5R30LgOmN8OTnh5sicS+vWHDQF9JoRItiOzBL9FXSQESsGFziTlDQQjJzWCmIlOHI4aLL3iAMc+h5HxJL1o+pkojkdS18KgGg0hhf821c6pBCO5cSGA5znSxRjXEHsTC8AJ52qSe+T8jt6GX18KRi0tsUa8t5oZro8YYwl/9TyEEnXrajfqOotJ9vQi6u3ObXXowiuaEmb3KSeDO9sOvaM7trEHC/HaOYdGacufu3DvfBZdgP1B+EzC+eB4QRXZYxeF2t2rB8QkWO8dA6zHR6f91NO9CCsdlXlA/L3lnmqZyaGJSUqu5UAwrGk/JtDg0VFs4kjF4urw19+dU2VK+TAj81HAGbMFaGZFhvjaZVRyhyeSG/psc9H4zNOFMLKIJK07Ukl3BtS+ynkzKuyFHbjcFwh/U394OmhaZIvPm2KPapGM0Bi2ozGRkB29QdpcUfhI2H88rp8O+yBNfyktCQHxZ9gIJG/vv8IBH1K+uB4ZShMPYYsW+r3BBObAfwX6nnZ2ny0oEq57JckghKYc0pkIlgaor0SMUdqeHO5uLalSHye71uCGNurT6zkeh0rgKxtOCg8sps+2ykFCFcm4RCBVPMa2XzsTvORMYkWvsyIu87HEIconwVbLIgWI56J2rGMGkSzFJqNsXSre6QymbF4gf9Vy9nQY3NlE7Jc/oi8romn9ke5c7L3O6wXclieJ2MdUOsSsEMXuMoSzYx1scYC25EVr2RE2VUb0qPqHx28Cegis0g/fiJMcnHAns/bj0h94m61dEKxyRN9CpYbYGoXZ5zitjNBLaNNUsr4PbXFeq4H3GBheDvhfY80sJ4XhQ1ynXbbj7AUmNV/5GroEvXAClGR0tnUsU1oOmsj3TvqkOBVA3GIUC3nDGOY3CLIiWQ5snMWc5UORif5IaApantual8branhBMTsKTF8guZmm8QakPjRqIPDuj17e57ChJ6VaBr3o9F9y0ESCV8DwSXeug9YT+B44/8JZP5SvIJQHoDr69zgw+C92643IMY1yUoqEb997IWmBzfC/r3bAOt4J0J9LbzJD7EBgqAHxijfvZJg1UmsTnSYqyXCMs8VGrbw59tuH1e0vbu/uQyzHf3JK42wXHIi1paZTFsNfT4DAXGgl0UExHnyq1Gd3zz7nLGrybN+pLMwpPnIetXGAcgdgF6HFqAxyh+f9B489z9XcddG0p3GlXDd/1Q6xj9H97a9EDNCruqSAUsisERmN6shOEAPEVj8Vz6mDfZ8k12/iJuAfmGW9oob2P74Aom51WQEq22wrzBJAhpjXQaujY451bPOrjWju5DsVU6NJIPIrMoniN4JwOFaeCGSsC3ccnwzrq5+o4PQQBtP4xpnJhxsgYN7TOuNCqLdE5SpkHODv2XOCYP06Mti0TfpHRQmhb4UJM51U2yAv8d3tanc3+Mvj6+P9LFa29ZYLo9+L619yPQTvijEzMP5fiJSrlYg0q/bR6FvHJgQti4qmsHjgEINjGU61YBolqPJddTobRKs9j3XQsiiOpXtFWOWsd1fezzF5TCAuhD7fepG2YosKamv6mbaueNbz0z5IKgrbNDNEjUT6+K9TJMhdTEuu4sIDG+vQ8jusQIPoXEEW/lBn/2YsO9+AXhVcildUet/iOzQ25/eBLG1pAShgYHqQhldeke2Z2vBFeAsGyrBwKI2CLGe4gSp/aehqzf1b+2dBKiIPA1qHJ9GqhceW9QH9lBnWByXM0Y4P7W/oFq2102LZBviYd2MyDkghu46VHGXNGpArPjUV+6A27YMScjHKzb20cdpVGuJNHVV7UY5TMUMiXEwZeRoC6unQb269Ad71cQmDPA8MCTmJuJOHfc07frZ0o5BnUASDtPZolDNa9nbbyjjKXANaEv870Tnrc02tb7mIvI9hs5b8Ugzdl7fHlH58eE4IAiorhfUpBWJd5S9iVwY3cFFeVizk5Sd7QL9Yy7ZLlJR3InK6SgmSvOqqsp64Ww0upjM8hNwvaFR8/YM4qLoADgNITGc1G1E3AfeKOov7Ox9vTiTsrjDjvq8+Tw+jUtsRZqqJ+Z4jPpT8FwAcIqnVHTZa70J05A5wJ0I6dCkLw3o2WM2bk/ICketmIj+HCAWpu9bESHCsCLt8KgdYJiV66soxwcXah1AfkqR8l5TGgRrfpc7esKKgJXDLWr4KGhOQPUYPj/zdWkAETlnrb0L994YoimrDsdfZ5CKMWB9lOQb6YkyMhbx6mUW89p7WEm+D7WPT8Dc01H8hPqP1gwtWlXxLexmry7n28DScFGlwYxWcEYefwPGJRvHgHVcazcOAdP1pdFyOPdaOxnHRD/6wloxlRdr7/ctJFnSIiEyzuIHrr/o5+vnKI0S0Qiz78MKC5ujDO+03/jfOruw8eKVEDpsxQvbWdBECRvlUnQ7P0+rEjasrRFRyYB/cttxmmFP0CEm60OsiRV3fGM68HWznGUT7GTPMQ3JHZzQLQI/YyL1n1xDLBtlWtjTIQewOSkKwcl3CyfhyFCmRwqswbJ1T6iLQ8kYdo21PgUM3ALWcrQ+J7h07nTqMrKq+Cval4wIZJP2tPWPmeWmAp98ZSnCraWgyVn1PxOHppcXCgrhZcHryOVdCTa5XYvlrizEg4ntY6sJ9IxD8JF3K3fzTZPdlfXvTmEQts1pU1Gzao/WDmCeVnMr493qs3MRgbNr+MLzMk8tzwvvZO0WZHO52fbTn7x+2IO2+7TYBmTuo5JourbH1RXvyuRy5rlvPIxpArm5yymQwnj0QEpwc6uuHxTUVwQFDIe3SXYVcCyXgdrBZCxbRdJYtn92aLXwAlc9DLGigajKcmCJw+nuwnfFLufnp7HPLaqxuNyOnDGMFKLvyKBOkj2Gxdm3LVsXvDIlKg6pWR+w0LxPLjxP6HrKVISp4d6g7Dsw8GI1f20JWKvVsr15brFx0Izmo5gHUCJDDOJjW7aWItce/uWzVr69FqKJOgT1z9q2DiQxOpB/EwLp0w/dednGR2NKbOEiyraM/7p36reqIWDGipkNUBaSOaGruPUUJ/9u9qMi4m72HSSBFZGhaA/OsrHyRHzRWLAWbOv1VE73hAbw/m4MM2Zt1WcqZF7RZtkeo0o9s6Q3SfyLMWmm1nKR9l9fse1QZ9vpeQGYqeJgqC/0kNkQJBxNqLraV/s3SyGLuNueiaF9c/Mia9zYRmCuEQT8ZthlmlrQ+Mz02NeN5+bXwX06qjbAdhIxLM+m3nMxbC9ERdLiYdFhUUA+d2FmQTtyH8eX1+lS/n/0Lk+Vbd04MVhJtoil+f1muSz8aP/RgbaMU7mfJ0bKe+9s7NTvccUfCG09wkT/Dmki71CW3m5JtSuLjR+aY5URx7ayPa2EP1DINNyO7DzfddPkvxjlL03nGUURmPOqTOryONlBdEVNCWcz/XZ3y+M5ENFyD4PXyIooY4X2LyZxwNb7hOSnlwKq7Gz8Xak7WSenvZgAnkuT3fUu9R8Trz+HZfhG0EeIgg2GBBKyMTGdm8pW8lglwoPi+DQek5t8Tinzju4FL1Xw0rey0JWFGG9cXp3JRpYEtbuPr6HfWrl5S5jF9evUvNbCtjl97QpJgPabrxL7Mqboa6+KiRMPScDYexiPRYWgs1Rohzuf7GqeOniHlpQ4CKdjxkiIULOwCORpTFxTQCuj1kOASRwaOQ6USc7J8bNlXdJtlvMU8yjVKKPBEp1k3BoUKUhTZx074HcOwbgY1Ccyo8IYHI9Xop28mpBftoWdtjcytBGjXXhLf+Z+LZWCFt9OuqCi40+Frm4VSl73UB0D0/Ziy2BBJMPS9ytrTuEhSKdTe6aANFMjevovnOkav4tGJfwTbIwGhlK2J8S3hypaNMm3IP4DLiGCSZmdV9a7wszNeZp8Xw36f2ABBLyw01w7y1bMi6KGMB98BkPadPfyujqnQoDMqwQBdRvBCw4o2RovZGjngiTbBeqjCUTQif/tKMyvw8z9H0ZO/KFETm0DgT2uO+itlsvSBzyaDtd7VdAWG7EoUBPyROcVoHxEV6oSKMerIenqhCqUN3J2Z4Hm2WngqSq0bt/oUkZogtNdeSB2+rk69i7nzXYE60hg6lwOu32EmU8mv/jpfO3kisZxiLdZ+k76Tg/iZjHcRiFRn2icSVbliVhBSJzGgQGCAxXV8z4gmumTior0Pwd8cR4aQabCmdd4R1ce1JPYIyjDGzvJu4b2UK9HcGX/qn+szuPtVveBPtRp99YT32LoZ9VLsvea5hEXxpbvxUr0NsNJngiapMEXjismoOdeIga4BwtTur4wmG08sVq1OFp/MnV6rnk38apBeIzWcJjyQ1KMRNf4Sp+Q1D+fgynqRrlrxoH4dVArWnsp100PkjYQP6LXZA3hh9hKY2uNR10N7ragJrN8TvqHunvYuJDrnF5rAWTquHypMrRw+IX6OUlQgiaYaP0b1E2A00aKtw+N0S7RQr1JEhCABqXad+FUIdnmR4XAKTPJZW8Ze0VDVZ7o51sIY/AOndEBGdBOzTHge4tw8zK7dalF0s3dhBNk4vOP9IJ5Ui+6HRM+wJJcdyCqeyoO0rhf9FlXvSD0qW2QvUh5zZf3VmDS9jzyIFrSq2VVYkKQz9juFjds6nGNDodpQdcYXWq1Tm+t2nnWdoCzvyHE7+XEyWqsiJFk7S0AXA9kYmD5L5JfE9Cxo/f2N2+sT8zVh2xPr1p4MYtOF6cUGCFKrzs4e4Q2CS3Hs0UKsLmY49CDCN/p3Z2xsPBEzzBX9BNwArcJyZwETcRByHbQqsF0z8YlKxtaaBj4kfQjvkfp3i7vOrpHzQclAXoYkJvAQTgrGlYcVJVJztxF2tgte31Xt/H0WAE51gyPLc081nHDVhKq/hNwYEKA4npkZFZo9P0Da4XxzcKMxyNwy/eKCsp82SIy1DpQwQkCCXgRz+u3pcRxpXuq4KVnGdOWlPqufPYA6cD2T1wgbAsypApD1M+fYHc75JYNQICRkMJWCccnbjNC5jYLblKv47NxC7qUiWpROOi4TC2KM/6/kF41Ag6BVkbdhKQ4QBtYlp63UkkscOwtGkVWq4exVpzXPYiu6l7i+013kTF/wZOCmilWGsd9mZixYeXU0pBAitvb6k36hQzN1iRewpnEvk01vp9wBpAvcgy0shV6xCIe0XD+XU4qHfR91hZzVjUivOZgjJXIW0GOPJZBU3CXpgdE7klakNJKiD/ZGNDjH4mZgMgVKFduiQz+abZar2R75T4B+1foUYn4bPXTdMGpJcISUgQb4bbJu34K13jS8n4tFzvnmdkdZ0WLXLocnaZ/f0oJ5YK4oK1Tp8fNQAT1mf4kQGDmAL7RAEQNEfFDlDDfPY2WQABikpFCfkEVUEeDbvkJsUItlSW2OWJ4whZnA+0QzNwUE6Qcfrwuwr72gxk2kYpz5tRjuAxKJR5cKxS+2i2UR45peglrlCQWZzxi+EEYEAe/LHcHuIR+iSls90g/McRm0kjAbzuN6LiDXEzwnsKpnRFdVuKcpwX13ksP6yHuI4rtWZEtBA/fCxbkW1cuWxU1jIJsgEPdTZwGJhhXe0JKmFLkQwmgU+CV7jvNSBnE9jZi+UJwxEEd6LgYZFOfPd5FNBxgvh24+t4qwprHxxb7b6vougcBho1z8zQx25X1vAL9dM1DSwlZZ3NXrIa1a+Q+aVsMPc8ehvGdYM/hzmNE+8m65nS/J9ltykwTueydAlNdK1buQv5nxzDis/PUkrmZKwwPvUfSC92+4iZzVCP+RU7U1ob26laA5ZzpWIg9FkeLJeCu1bTPi0REWS1TyXjcmTdn8AsGf+pleQK7Prh9aqboksgMIFKNGaqCMU2cO7cDEUuXViG86cwpYRZMb0W9t2xwEfdL08wHrP7N0uKqxe6lJwXdwKHAFjy+jwYKBPFRNvoaMwe/O/prgims3aD6t1dlWDS/1i/voWgpd6InlF88G6v22BrUq+nHmP3A6QLBCVX2fA1lT9gcTeGvXmcIiavunkb7Rrs61zSeD0scO9PNuOhdt7Gg4AXXfOQDLMckhwnjLEqd+5v35Mz4E0hUo0HXynOc3WJ6dyX5WUGDv9qGP/31rnk2FN4R4sUC76ONJ6AdeS64k0NEWh8OM2a8EUBVq+dylmZHUwZ4/X43yYTfoYbR51nNMrzm3z8F87eLT6vPN3kX9GXlj15PPduPquwzKG28HeXBF7+G21/7PbH1AwAnznIbES++IiMU7QLt2NofwhTg1pixj//+OvsssniDqnuaq7i68m2HbDaxThnut3OGEgGIjbkpBt6ea6EZz4jbS6+UB0bB9hxY6PO7P/8eIcUcsGf/IPJ5S2GIrzNOZwJa9q7gxU8ps5A8CewC8pI4wN09wuCEepf5+mm5MKmAFjOcCaLOzmCUg2FcbQ+DjRLa8+MxdVhnJ0E0Q/v7Kfngz8Uo2XeYCCXkVcMXnFj9jan5pjPjr7qGn3BgzdmBjclVy+6syGG7Xv6+inl8uDkSJBYYA/RwjHeJmiGa9rRDoB3hl3vGwhMzIGfXXz4wCld84BdYbIA5OTB7xkuxweHPYjYDskZk1PjJwN20Z9EDMC8dNO24897w6+nOaNoPxqJ932014IqiifWVSdIC5gTdsgkrqq9msampYULov3maaJ9dePILQN/0Y1ln5Y8mUC411mkIns7bSVC1FGXGgS8tn9mzS1PxRX6HLmCJUlsNCd422CKw4M0XJo511W92bzDGAqDHmK/4IIYWxecOjxNYgKbxnwgJyaCDEfs114YcOe8Ae4m+74Muw+RDGgiZ0e+B2ExkbnaoaAvOqzmKPoYtRv3tvBvAmYA7B3RFGHPp+8rre9LCYiPoRJauM+TxzNCOsi1ea1e5ZUlVm8G8d/OMctRfwQYaZv4uUhNEtAW2TqCUcRMaoBzGZdEgSuCa1rDVgeZKDarsCrECA3VhiaOHYm+bmzYWI9GELDUtj6CLpJHvpL4CkDTHi+XqtTh2evkyiGC2HnQkLYHeahb9HOi6NXhPqSe+pLeWKu7hcmGhsB5EuhF4iXO9vkhGoVXUvx+uhxjE89gmnbgRa3PXBKWwBIvqM29Eaf852PiSIPBtAsWvslCChZiQcJy220KeJF0fsfczUZ0exKyltgYcS1O9ylybCNJVi3pV5o6fIZcWZhd2e9JXWXacaZ7tGtKkAcEgYmkT2xHm773FrX38lMI+FFnASRUfHCjs2BBBLuGJ18ZlGlXSKvFd9D662o1TOoQ264F49gNu1N14Edybl/2ZGF6FT5XBDxUTOH4zTjD1HSaIJwvWmWkKuNre3bdSShLMxlrlTDUNqAFILZh2t6ls+XW3449GwVRE0szwv5pMthu2sP45rluD2RjYHUfFCzx+JqWls8sA/kNjcqEQXxRxQTesCm6VdfhJ0bJHEA/L0stGQzXowDXlxroLB8nDDHofNeLed+7GwAgeRepy5DLpEQy+GGcGgvA2efo23LLvGw+azFLQpJXS2r3JFAD/IesmJqiIQnKJ/hRLd3jNqB0wf5JIWVV16fZC7QKt7Q0ElmMTOXAtPeTGYLyl2kH0Qu++S3aHsbZRXzQSg9M7pkXwV5aLzQL5lOKlxMEyQKgEMMPo04WYgB9uc5TEYfuyUH4loEq1ei9BPX7pUtdiUd15HYdm8GwBk5sKOFfM55fOVSt2xxYn/QQddV2pzWa4C8YK+GSw49Zb8SDoWeBX+ZXxXmxxj90vVgaxEoYnX/AjYbNSGEw1Aj8licgzDL/ao2d7LOEdTQBQKUTcRaiK3hGpEw2ofGQeIhtL498Mq8WNL5HZrZ6KO3uAjc6mFp6XkMdhL4a52QRpUHQ4IHWfYmrY35AnVJpBycp6BsW6WG0n9HmReYaKpdoCsGXpStAVdCVwStyO+KHuM9CbbgxbZeLi9KnOHAO/J1qrEN+qFJ8DMWF3ajukTaBm1gRS+BlEkrycHBIt/vHAiSSZYPk8pIeXbQznB0DVVYdqlS2bNo9FW/jkt5mpyYOLqA6cUTOnPBi5pYZd8labACWdrA/HC0csmbxZ1nbaKo1+J6hgrGvmzaRKVicEs/zr56OYelLvWmKXuc0uH4NBQ46ubHC/N6p2Swt8ce4xdPf/fuRWkcx1I8P6nD9M87GEuWAGerk5QMOeIvCYk1EchEsHvs74ScuFfpHloYOxPIqLfZWDI3D8s99YN6hKKSwrvC7LkNWXnCnFZYI/PWbnJVkaATOWR+j5H2q1NNWw293O0mN66Y+KqGKZf5N/Xzj2Ozbk9gbXYxP/HqlS6xim1EpzCtocRVEPIpdiw2YE/NQIvjS/NboVMgfV2sIpvtWu3ErOopi0TFA1uY84COhrqKunuRTUHh6Ie7+BKYehUfAIxQSYMWWo77UXQt1irrwHftsyPdfaHl/qMgabiIebVwcvKTFSYJFyykQOwYk89mAhpoBl/kMU5aVzO9RyMDaGW2lchOk7/i8wYHw0AblfKprzOcmseJWTnqDRPi0NtzU8z5dZfdYhVQAUrWdcVBka/bMMIZwXa7jubgbUyLVzPnQrkMuwKTvfXO9Ub47cI190MhovfK2yjUu1aJerQjKmM2F+OykAh44Kf6Orm68meIVIOvrh1hXe04jgucE/oDi9uVh0F8/UZTUKAOUbNQV+l/0n9xZ/cts8eGD93W3MCxeSABogB/0qFvAXzMMrdFylAjxMtzVMKtpAKyEjWMGbb/hT/bhAkOtKEqFNmMIOnXZi+2/vo0chJ3QtWPionaJ68UkxXl63Do8aV2jiGbbEYPKr++6VQDkjxqN61G2EnCpd+AYc3zYhlYNMGOmhHFVKE2s/ar3OzyLVZV+BAu02sAtKSbp8WRJNosD9e7iuTJ47whA1EtwT9FINz7E6oJgCpDJJxrXydJgeg2GJ1blBltnz3Qh3Gk3GV3OSu4HBoe3drKY8v0onrkQ+RY+mhYwqi0N4YkC4drb+dUBL60pVfjT2PrNWP0Zl0stY5ddcWbDo6CUnLeQ7p2HgmClKK9hy/OVsPO1BYnoFaLqwxkzaTklvhPJo6wXcU/plC3arqtUU9+uLbDQj1MLwhsVZQfyuXFftTbqV+uG20OurUPzAWqpymzV8iEUIsMk2NEyewnssk8+zDCFku5ud+Owv+2c7jsE5YIKlz7JM/MmXJ2KERJ+MDUxsOPUzXCCKINdq6LhKSM04kX8yZmRJ1Vh9TQLfxiQ72Lmmnz9mAp45/uFz2FQK8gQkrcWFEs3G8/4/t5SRP7fE8qHVaormMiPQXH/cKdvPAtIWByd4UOLItVGbtvOJ8fFePj+fhfqUOGdAtk+c0zZM3iZ2HIJubvq6Mx3V5Xc/380Ik0xhZmvdHbSLPlJq/X622VU2cHlOtTKJ/bTmOAI6fgyYMzTdT5p6MR78mu881Yb2VvNVGP0DhTGcpMv8b4gQQj37Rg+wdTQiyhJzfYFOlsUoxeapY8QIWukaCZXqdwLcYPwUCVNnlVvPYzzSHnShXTbAitdPWc1qnv0wucr3NGqjx4W1/MEq3P8cktDvqNuyB7KjnvSYHSGMbZ+1xrS9KjBWBFrkITV2HwSwXp8kMoOfvIWugt9lfoElyRsj31S0EgHc1A1h2zNF4bPYFSlXHfdSbRTm5mPyyvhaMH0bsteyZ7PBYP1h3NbY3tV+ARrri20S8eWSG7cv3xuQkf5cJNXKW2UIXofqlmUs51ZdkV+AzQcHrYyms/qHofyQmGlP2roKKMTCSuEB8p9rP9V58qX+Ogo02SKgffH04KTG0vP3vMv+WqW93Tto3R+yaE9Rc7ZmR0Zz+XUUqTmiqtydcSpjz5VeroWaD9JeUhfiS7FfzBe3QVaHbSj6x4dQntVYhRDkIAHTNPxzlrF85KjmdHrSwxpUc8eX1Fop0Hoh7AWVgnjSasoEGeW2aoEDeQT2BYp88IiieVCE999LW+uD1aaJIo9z2ph1+6nqBJv1CLLM4QRYdhHGGGJ7MhheQNuj67cUK4VJ6HJ28ttkEVHFG0XMEf4oDImwBj76ka+wZ63NU+iONKklUO8J29OWg1CdEdr6hSMKL3KZ4bCdKKyACMBkd6/2f6beXxT7+abB4MnGFncH37Fjplyw9RdwiSMxmhuOvqVYpgfXIDLapSh/yTrJrEg6zR3B+XkHK8p8jtrFMGuMRZObqSysccFGCbqD5dKvd/KzaYsO4/peS4UsChd/4yuWH88gi9o3lJMQwwb0tU2QPCANJG4LHGlQbXu6QxBskHnA5FU8v+EzmDbR3CdwCw/PyRkAimeXfm42x+AVTExoCyAf+6Ab3asRIQEgoYRFJQ42321Y09rmK6ZbcMRmzUidJh8ENSO2SIMsA7bZrQtWBfXkIK7UjJ7YATs4hxIsXI+niWDdq/vEAPu9/+7Nm3LveMY9TO/zJJZ3LxauWtR4fPfcl6lT4SsY40YJWsjZM0bGAUU7n2ddqisVf5QwQYKCmtjBbPBHlgJypSlPFJBQPO3c9bm1DN9lYbwqKZOdJPFIzuKodaJZdjOk0tdscy1yO0KZlzBbnpAuB0hsvWR31uVGVrndPmsg4I4ySWtPqQ3uWbL9zAzlV7/ZhsMOu2VHfnqvK+KOVN7Sbc7d5Xu9iwd9eGfLaNQCJbrmDjfB9kftPI7Jqec/XcMy2pyDot10DJy86KwIFUPkvVMV82RvnhaGjahSHPhlnte1OpOC6gOGS7v/lk1SU+JPcS9J+y+m5KkjLJYQi4qSd6dmqPeuWz7PfkwoyWqpvwldzf2EB80bMA1JDyQG9ijuNt9zWeXhc59X+XXEzLuIwF3aWnkwWFFpiJ52klQQWRiEJVoTRnNwliUVl98lE5KBK3syifNxCMNZJNcawaPTMpU+ErIFaE4cXGHrMbZ51g6twnljdG4kGC54j27eI1n4CO4jCTffCkjQQmHo/QbOEBtHP8Xwqec6sXdp4q8mu311p/yFe588GtncVR6ppKC3VkG5Ylhfe06v1afHdc8TCQcMqH/qrbYHhpLZDEDnhmKEW43T8+StDJvwl+VAv2PdEQKPQ41Dhh520yS5UWx6Vw29iHoYeXnVWHesychcJHjQw6rPS9/awO7N/BuYjaVK3+EwI4QlHu4Ts0U1TnQMrTJ3rKrBiMrS77yeGXWYLeBUviwbPTWMGn8GXu4vgmAObHe+DDHQcFA+rBsH/PlsaRwVJzyc9Mai/u77ttcumBTuzSQQ5HX/hQMQpbGidnE36ntgXu6NSwnEqRtkUjDWkLl6NvdKGduk1IVkj2Jex6ma7oSqyg9qFkL4RLfdcfNlmaDGlbKGPyCPEQmSOd1nBF4XGgPTIo6kenWayChbLFaEsxiR5p5CD70sXI5r1LPsvZwITazcN5lGOZNcU5IeSFT81HYcvQUWcwWuHvkEuZEAx/IBf47TOxIAy2L4f/3z+839adPmohRI4rt6lJ2k2ijK0hGj2rzUkqTaVldAb5zAC90IW6RkXewTNGrsyBo7SlKs9y/KRcdg32pHcPY31uMoX+MO09ts36KgoVLFgum7MlbrUmIMA9Xs7wOALliEBhftgnsFjKPQQkHfNxKCJwm7oI5yWKOzE91RY84sOxhKx/S0R+25OnV0jUs9S/XCRQEokn/RW1LYVJOAqm+Oa+4Pr6TxgCazamBxacCBXCMihsyx75zeCkgOkfpaTY8kR2RNP7KUJ6Ed9sQFv904c0MmQ7/YeaNjAAGbKTSPJkiuKccO9bBFFkdGNpOhA6N1VWgfk95RfnePQF6SKs8ozAhAbvhVsLq271pSkxMQCkuXaAjgobLxJd+A3QZCqLW7g+f906REULFm38nr/SZ6HkD+ZRnJhpojK0dPFqrYe366YGrBsXG+GVdH+VFmdXZ34kp0vy48gTE7oH6f9mB3jwGUC24Qs3gPc0X7PImrZhyNeHesO/1XMZ4VAPP2jeloI4p8Jddfw4JGvqnDPUbbxR4R011xEwCMpmCBdMN7sT0HB3+OsCCGaO465aMBfE2dD4Tad3z9wbu7UTBkeEMx+xMkQ7zXslrf3nSzrMRBzw7f4g8vc9RcbxpwGcLVmqhaU9mp5Tlr9IujrC7XU3GhJBkjBxYDrDZcY5T5sGBsWlM4P+Srz0D3sd2DzOPEIAPlrxeFtscA0XEW0DLoR9r/hJLyBlG5FCkFVyqGIDpUW8YNc2gda9hvcgvESP4DUqGI14ApsR/rWB/5Cp2rIETOu8F9YtY/6bqcRRJQJfv+N6+fGaSWsNV3TMujnNFxgzYUW65J5qCY0TvihpmWsV3hBPPXdMtJiyVTmZav7oyXm50dFTDhIU+Esr3K/blvRCnWNY2+FaTohc7nMxJ8SR+b0F3U9t8yxzswNRJUTUqEWXHUVfgy7geLQM4F8W9LvHyzG7o7wx9ALfy31nUQ1uct550XML2TwMmexC22Pg9Bnf50sp5hc+D6oNksfSlDb5cOXqTytLjtPnRxRQwer+Cj+w9AJ1FfoHua+ADglhfQ73lG0q9eR8WvWPzrmbBl83Ncj+VQ537vPzu1BxFP9xU6+C2XemflZKt31NysjEKpYi09Tp7rp9z4NTjTXYxi3kqrw4yGsyB1313s5o7L6jvZPxi+f4ntsOoiiIDQvwnww4JM8AaSeGi9S6nZk0DHXdB83nEnecDw2cffVmUY2C60Y79G6tRu0pZS0lrr1TnGjjKFVPXiqAKt2V4XndwMPJTk+ZJc2kBEmvArgIBG84X2Yq3B0/+yfuDF4yw9n/JUsrMcpUG1nC3nK01aFIHCgBVhgYr9emWr9PVCTgWJdjA4RR3ZVCBKd8h/QuFZxyyoOGL/mGRii5duQ9ToXVMrhPK3pZ6oGj5qvH6URYXmc0J6PJ/uR/X/BF9whwhja6iQD9ftkUlyM9WoHJz9A8lojSRmgrqzEo5hTseccG8mZQp7JOc8EsQm+/BT/S3NugRI2HzBDKfYnzxXTkTywC+Xq7PRKvSTk45Xbgy+IXq8qVzEu6OGDVe7Yf3hnhWum621woY1iW8I5XSJu05CwikAaT2wW8G/SdpnvYjuaXm52KcWiLDLQN90jNVP2tfmCiMLZ+fwC6vNZiNNohJP9xa6cgKOHpcPScm4K9Sj3zNz+9NrcyGFp1LMWegzLN7B7UyoN7hjVVpTopyri6A3mOmlid5gcmkE76oIrE+UwW1cgTc2MmNDoeY1KaFBhMUPQ7Az3W7pC0uPWWXbQxxa9fdRlq+xzfGGM3FWelj3PqVUZZwklNn+SvbV6PqI+xtNpozVnEqHi+2rQahDSqeFQ5Ev8zDBRp+T9dCp3IInkGd6fX3fm6HFZhVr7KIM4SV/a8a74nSdjC5CTBgi+ulE0Es8FTIh8lF3FrkaabETmooL8h2bExNjXB7ld+MojrBftEq9OsbEf2WDvq56UB70N4p4rZ4whJM6lTwtJ+EeVXOfC06udrE4e3aDCNWBtl1LvzGImVmKMXuQdJ9wV4grEyElLUDU2DFI2NaKoBB5cXPqOHTQhOL2e9z4E5x4/ZAc/r09Gbjn8KTb6HnxVtqWGk0hJ8C2VK54LUMMV6SIrdS3dME86S06qB/cLU8vX2lfIxT7ak15bBbmnzEOHHGbhuhwbvAzoSYg6vOav2A+qCue4XS7Z8iHGAEBnlouqILaOhxg9TmrLFMlWqNfS8ld8npCqgrSCh+WWFDhC28hMAtiCxJgzKo5ZBO3IKUdOExro8fIaTdNlIagMOJSAJyDHAPW1gF/avXn5VwLey4YOp1hNYNpw8ziL17u9qwAIr1o4uoTl6j56dxqw9ramCRExU3dI2jmq07nKDyV8sn6Qyzw8xgDKqxbK/+aRx94m1EK1/Vz91XPQJZMNqueASI10tc1wLC8hPTnsnYYca79+X6YYWOM4aBLcTPAXu6NqdSxfJyD3biY6BNg3m9qS9/OujJmpYKXRcObSfYhxjnBA+nNKwzzMF7OyHZjyv4hQR+7U88/Mh/5gEgEEc4Pri0NjtD+cjNbKkZqYD5b6w5yAx7a/Fii+hBA+oGhwirD0z3cv/g/CwIn9rY1jiuT5r4aqMSkYSwkx8Hm0ZkW64pbaHtwcrIfkQ7cLigTIey7L9kwI3kxfmzPlntNxTIxg2hsr8xOTtV7jS2ZRkQTLpj6BnAQqcGVMxb4e3LJ58TVibguMxFTorVVgO1p82UeEKegprbzWsaS/i0Ak/AQjNuPJrM1/QciTL0Ke3azE2IikXinsexJgCh735BK1NzIgnX1eJ6MbaTsVD3nEnztw1MyEE2SmnBWKirI8Qr+JevMaASed5rmrVgIQUEwqIE7/5vcp34S2sp4NCtpFv4Sa+R1acz7Y9mcaWOVTqSmTYyQVsbwh0F3zeklU/TdPWGVJa6e7WkWY4aFdQUJfyAAqUymCX14NhjfntUo45Y1mZjGXKJcz49eM63C475YjVIpssPEK5/dmhgwPB48Yg+Mt7A4jOqsHQ6gY9ftzKTkLJonl2T+OgiVN12cydCYVFe8BDKN4ZjEjX3BrH+j5UaceGS2KmSlP1Tkhis6WT+Do2lF+O92Qd5KVx/XlOdtQHqJpOkaVhmXJYVqnKyiTfrhBnZohs0u2AXtDjK0b9EOCeIlA5trgvSJX9oQ8YcBZVBTzSew+gLD8N2MMdYVXp8TUarhUPYePbaeFREVQzeGSHLDkJqpk29XkUnkQW3/Icmcd93lEHcUbdmPM2eVvBHQNDnG8NC+k1oFErNGMI8QDKb/xhQ9Z+Dxzcb4ZoFzOsBjLRwcX0uQv6LmKUkm8uBfmBQpaRdGYeFso9Ii1l27PumMFBQ8aTLUVqhaNEOElXbI3DpfEkgFtsDQDwFxdXnqtIlx+Y2JSe/CcuevH7sHSPmuUeX0NrzNIoxKV+J2RHb6OZHKhj1NOIFX6Itl8L91kCdjxHEVD1UkKOwXEV2AI0J7K3ff4AtPhRndcRBjEY2fWzXoIhe97m/FHnBDJmF4Kkm7mKCLDrB7G7VwZa3THJADitXDzMOfn9m0HUPPbbcynDTp04h+r2C30cYi17eqy7z63UWcbcKgPmT0qK8aS4vqzE7flaFyfoIsujGLy8+83gM7xl5xUPXLnwbcC1W6VOvcghAsRGYvmvmVGu/RLfbI7DgeUc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30860" y="2204486"/>
            <a:ext cx="7851140" cy="4653514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1371600" y="6477000"/>
            <a:ext cx="124104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latin typeface="Century Gothic" panose="020B0502020202020204" pitchFamily="34" charset="0"/>
              </a:rPr>
              <a:t>Source: Industry data</a:t>
            </a:r>
          </a:p>
        </p:txBody>
      </p:sp>
    </p:spTree>
    <p:extLst>
      <p:ext uri="{BB962C8B-B14F-4D97-AF65-F5344CB8AC3E}">
        <p14:creationId xmlns:p14="http://schemas.microsoft.com/office/powerpoint/2010/main" val="11513576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Phone Cannibalization of iPod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he introduction of the iPhone ended the growth of the iPod.</a:t>
            </a:r>
          </a:p>
          <a:p>
            <a:endParaRPr lang="en-US" dirty="0"/>
          </a:p>
        </p:txBody>
      </p:sp>
      <p:sp>
        <p:nvSpPr>
          <p:cNvPr id="3" name="Rectangle 2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AwAYA8MRaLH40tBZAqQMTkSzlSsOPU3pYW2G/iWk8zJi4A8bywC0gRQZ+YB+WIu6tCCcSah2nck24TtxHxO3pkwViJIByr030cSfi5KZay5SJQqK/d4I+pHBVvF8aP2Ri+9uaDphfeE8tBtBVqaf58W0jUlMenCuncRRkyvD3EIG04rEZdfnIKkc99v4V0fKy7224YuiBMwkv6gw5SdpKLJa1oZ+M3+4dmo1v7tl1Y4fxDiJjn4f8qwGuE3iEJ6cK0Rp1Sk1GE23ZyOIewnzHnKP1EwPXXC0xfaGrH0ErxaknHxOSrvGjPCkiB5ODnIk/9qtOM8lDbRL7aDIiDuDnQzlZBmMdHANAlevNYbq9as7Nw8wbCF9HCYfYdkq8hpkqIOOXm1R2Z1ztAaEVhAb/mHtv/ZDF9xiQMxvadx+UuNZJhSvjn4YZoY9rNEs7B9mFhrsm6AUSD5mThZ7w5D4dJBeNWZIIPDfkBg8tWsWpIr7C7FhAthOEk+t1zPsf57ZRuHGvxBydDoqd4rJnNucgluKJT2wp30c9Z0SSufFmDR0ch+RhpQ8juSGHAUqgwZVns4StDM0d7ww4oqqvSRCYHhDreC2x1L3SIVbYfv8Fo3qW1qHpEvya9FTVHCYyw+QLMfoXp/Zkj+UPf4vwy+kUxPPb9RdhGwBPKdAUC/fojkPT8z9jYrwqXARft9kitpSbYmXQP+2Xn0EEVAKZi5ruDf4dQKffK6T/QNEHEN4Ynov3isRcvgOaKsMVfVbBK2I9iB2UPvQuoJCMnzOnRCHNcwJF4OyozKYsb5llDpEi0Tpr9smVQrxLVU1fKqKWgs3ysggoSlMbb3PVPNDGuHS7FWaVsHkdQ23HZLhpCkyd+yuGzsT7siNGh2afyGRW/dZ/cTRMRy/fXX/q6Db3rS6NxEdPbprD7Syeh3xCkacfpU8BrgBtsR6lOuftfYcZRRRBA2+YqOPbfsdIqggTzee/GbE4sA7x5bnFLa0J28wHML2cQZu1Kb150x01NKsMVhoyznzPyZEneuD9g5LcO24MOq6w5wC80a5W9OznwR27i48stURennl7OEchcadFVon3iHhLgqq7SxSWQ5kRWZ58fvTPctsS6yvf9XlkdB+Ezdxx7hAXggJ92ceUwRHspT3Xfow040B6vMbC/iyO7mdrh6EM7fOdn/n50jpJFYq+9mnbwox2TEf9qyFmCqm+au+qAJg/zeqj7cEpoSFU5Eqf/FfJLeDgEtnGRPp6V+oTxBQp9DOXhMzhffUffY15TVKA1rhCDnZbMIEsi4CBeyBSKQtV0fDg8GkksZmEm6JIXXktlpBjEGY4WjkeO+B+vZ0nQtKtomLDDwMrycHeeXAgKqR6P/ZZ1XSz8uK0L362h24TqScsanB+fKoKyGli0YoMcpSXHmMcfbiW7f82L3al7EeJFiuryCYaFpgktDMeqHOE23H+/YTmTOTAe91WowYSy8bEv/U/XEIFxeNs9zLdA//DG/j8YbahPnZHBzD4Pe4oYH3PwUvbSIdZJ/sdnnCs5F2+aEFsnd/AZajoQX0TTqiaAoKJq1Kn8/EzOUp+MfXZB3xAwEH3USejX8ajlxiVI6liuNPgpiocVGSeNLPXdNvx9OaHsxrf6LWANNVP8G7d+G4Dl+6MwPxV2hURbNQeyUaUmSnXOdnCCobg5Bquqqp4RdBlMKdJK8D1143RAsIIveEGgMbsUVzhtq1AOb7D079OKCneYrMmzDq0NjIaD83FdUlKS33imPGZuQoRLIUaUIjeh6YoTXXYUOR46T+67JusYZlrUIWdfVMckFmmYjevHv+F3ASjrOcrPOQSGIPnknBldoeQRQc3FtaYBDzPrhvslSJLhDr4MsdYYbl7fCfM7tlrXUnSjlAOl7qJis2mPMoSSNvIgMKXArDbtEpBYxH4PRKrbZRguhAKDcCQPoICe1YBeS8Ca34NonldjMZZDQ+BTg+R6jHZoLkTDMgiDL3MwsRQm5HIZrq2WxEUZops6npRLg7+b/SqtnXt1CcOuaGmsjfHGoi2Qx0Pjn3e7tbVoriBpxwsAcSSQhSxOJyOqoHQjPPxJ8tSfr+k1DC1BVy1SZDGcK472w7CRDAQpuIyJksHPHIoCMLZpo0Ev4lTfOv/+DMIksUsBrs8Kbx7JvOV8gbyFQjWzuJmaKnVuUi62rC3ma4MxBvnhJ7OH0fcBY4NeGD5XvWFIeanPA5JVCBpemzlzOAN+tHvXwZQjR1DW4DfrniXbLSRrurAM++Mg0j9HdA8wnOWLl01Mo5zeC+hU+ZQq+bEYtOFk1UOHbuJvFA9Xh6MRWGH+YTASgk/WU8DmvhMOUvf/TlJQfS8abJTwrUXvIpty0BRTrqtoTA6nL65tz4akje6jsyusY2anLt/ntFF2SdOa6SnZ3deq1cemNFpwr1OP/vIWsagxm6OH1M6WNsdPn4gZMmfOrjUBFmSE1E3L6mgZ02CmM0z3LOE5PSqvPnl4XJrHKx12R0JEfY+Pi/Oyr+lO5WRpb1mWb/eBmzFfj1aDbggnQ5z8VVfnKl+sC5s18lra4xW6gDMrqTbJjmPSAO73rwf479hK7HqzvGSmgrnEhPJr3VQkqsTD8K4n48dmX+4EeR0LbhPUbkUahOql4hukFFyKZF5ihGyzhhLdshi9aU9uhVn83RWvwiboj+eZfpnZNqMJGHWNjgaADKI3FzV4QUjvHWR9D8B4hI194nfrozt6/r/XtK05Uld7ZD0/UMpJhzAqMNmbRMXkPTrS5vZ7REbVyFIvZBPXvAkWw9+RNcKSjqYovuYPmqqvFzbcSEvQO9df2nolG/DALFjbiuWxmrhLiUZ9uo6ND0UsZaSpQi8Z05qVNy4O1DaenGy0a1dxdTraAT126TnrNcNP3+Ss0lVeSZ7m5GwH+YrLokqRPgamzIWvsTVEHb0/Y4LQHpatZNM6KJipGQ3xu5uST5f3FjOO3QnjnqmKvzgNfxBFZ7zud5XMrS9aJtYlrMaZypgO3583rh61nmS3cfgjYmGpR3BBuvxF9R+pPQOsgPYr3xIXrhv9vz11GcCnilpu+oAx2WLEV8iGU0TaU0BJqQkyxcmwCfYUtRIi1p8QhNXSW8N37CE8TjVwcblVRw3L1Mm+JhPeW1nUTPUiamixDKprfBha8vc7qwM6PUkbtdwK7XB2yooqP2nhnGOZRsdyljB59sqMsDEHI4KF1yYOidf2fJyQu6bB5OSvW2K3He7VPsjsUZe3tlui7oCBdLenFBzxuikPgmgLBo/cYihU0r/QmrD4AX/XsiYqsr/pdE9zRqG9GZL6wI4qG/u1aLiFBD7Z7L7AHc4xbS4gTGh7u/8fnWjE+nhwoThznjzLpqDlfMMxxgsWjEKh7HdusKeAFmFhfK5bY+SvwEWjFn52o86ZqAZoODJYA2j8/KFtiITAfQlaQi9rP0cHzWPybcnvqn4+nCEnbjMENA2Nmhb+NCy7RAUv/kE/VJIUkG0rSM9o7Z2Q+L5FcMx2tS5s6M9kkilCKMOan5OEVJX/IOw/HqLKBjYb+8x32AG8Ln2OvOVNlBkYNg+EcxNbNmC25WG3qVRru1VZlM72OKFZjB6+o/Uv2jiFDGFuBiCJ6mPKQ4kkVnw9RkePWu4l/tW3W2gVRiQEUgwQtL+Btwa8mEmD1BA+ap9U00aNeDXNIQ56o6gJufZwrgp2tCTm4KWr+/zc1A2noJqW8PbJm1gxuOUouygSrynduVG1sXDJWUhFvFPFxDIlYoz9o+D2My+zc5dXqfs59ha9TYHJ+vpEiSdOHgnmDjqiGRJ2NoTWcFRYH6tpvewEDnwMabLWqscYwQJg94VK75IYZ0D98lhjNSqDxoU+7zOpaEXKF/AlAZvlmICbuA9u3hJciwjR/v7Og3hWx4xSMzaGGaRXPE6tO8YsrmMpodmqHSN+xvFH/Ogf9G1iSSee0FUuWVremfDcb4pFhqWhK9kkDkNrDt2infDyJHClEcglanLTMU8FI8kT/W1hFCuf98tN5hi1uRwWRtX7IqGHHTOwhr43YCzrsMqCvamYlOUEZObX0cIGmao/6YTQdYGtbRmFd+O+OlvS9Wlyqd+o32klloOwVHvj1rtBmVLcQf6QIlP1rOqOG2usGpBZ1F4eQl97HEk0TrD5xVvKKaZra3mZLqM8fuk9wriC3H0TBamxFNJYw7CK/s8s1YXk+YFI6NtuXXJjDzFLmIZ05flOVrbTIPi26x+lZrlzH51vIiyr63rVpSDkQYoUFy9Zq7kTJ5xYjhZpHFvyh0zVs3Yvzk46aykV+ezGPbjYCgFXjj6KopakaPy4aWZtm5/RJpJVidPjbWyeBZrFBjRfjl/1QZmhPwsDfadVoZchw/wKzxpCruBLTfGMdCqpPfDGLTnQtKGqo4WZlNH0l1kKhKtZuEB07uI+hqMdF3X6kyuHc2BjqmcjpLkSSFX4nGMKagwnl2qZpJaR5+xUGjJimB5T/Jq444g+HTDfUpfPF4QcHSrIPuU4AhrkBj/qSbO8zmMXgLJqaepu15t04s6n0BeaVttvhfnunzqi4deeCj1JyitQxXj0Sn8LkVJBRXdJDLK+hNQpIvXapO2nZRispJASTq4pCE0bpd9KcmCcuwbRnTsSg7OlqAutxQu8BQmIBxOQEdUd3ENVuBoNffzVDq7rVgXtFXWoaMbLFqmwOJCT7bfwaSIK5UXUJtyLYTie2PoaHhDu2o6Bv1JYzAmGE507XAyXUghE8qEWyy0MoAh2lPhinp524SUovJEgeJ1j2nKUWxvkW1FmW1AHrSbLAcdp5Bo/FkniOsiNOndyRnQ4yV+Ci2EbHgOq5XUDESv8AQLdF8gIy5+ajDe9g4vdCFYJo7TJhIf3FoQyPivUU2S8oGQc5eW7zt70X1HN8Lcz/Q09TSDd/TdQKMANcZc16b13PXKFSM5UDDhMOh7TJ65tyk8ATqbSjfnNFpWxVFiXVE3OzGp9AQ80JlV4sqBxS6UKLakXTEguFs1HARejnFu2OlbBNpeSfwFWqI1mTKZXqZs6ZGxP4e8BQsjos5H45moOPhk6Bq036+BM9yLbERwywAksU/yogUXMjo062PpKuZvhf4AfOUcaOojOTC9yZ194R+JEEDCZ2Z2zHOMr7whfXnVa+h0NU+pKgzH/JUusIYrQcLgIuxlNNdOjecnKVSgNFtV5APOYri6wv3ZmiSfduWx/CpO9lxW/+vaER9XMSHrKh26Ycfj/1Pq4GQLX8Mf3KE6EEiq+UxZ/iGNF/T+za7JKUpX43KchwrircJLMFdBpLJPPO34NteEH+o37BZ5M8bivabPMxAqeaBUWjFrCIe5ULbHiBy0bxFsXor61cpWjfnJNRA1WNVdBe70rgBAHi0vvagp2G7cb++50/qR/UnUQC2RPdZqdXS6S/ThSQWPoNG6A7LlGL4qaItROVae7xTAs+UEDCX5z3jLysTzwdDdZbzUbMytbxyf3x0g4h0+lFjcB2D4YWMu4KFfxy7+n9/4/bBBBl6UyJDqzlEV8BfuTZsLcN8S520WyZpjef8bqhDWGvex3m8bKOD9OTuyl4p9e6ku6DE79Gmaq6mPH02hF3Ei1V6cDl2Fc0Xp+ByhFbUx3ou5DQMeR+BzzTtRCo7AS7+ag+eMczgcOT39kZ1WdbduD4W/zUKtrYeQgGotz97F0x11cXWN/8j5QZ/DlWI8knh/jEwCFPPjUvRoXYvTnC0/t0QQ7Vl116QuOA6EkEUmASXmuFc8vq01edNjjnSNK1bgzZU5Xn7IvyY4v9XJfh6HJ4uzPajLpyA0fBdDLzB8lsZEWU1MC+SbBfq4HfCpkDl7fDdVn1IrVrjyYUJ9KlboWp/s/9Za61l33ZLibtFBsXNz6Wcr+wEyU5q4dyjEP2dWEgXRvTp3xQ4vos9Nukrpg2pU/a/5YGYW06+XThMCFx8vN35GMM5yCS9MUALi+o/faS5M8/7v3YS+Su3JI8inGCcxjnaCTaMM/PrM8reyS5io5efSlQG1r00aCIE6UAAoGQSgtzB84QAhkBjBDrOohkta/QDmotsHmzv3qIH/zH45PJtOkERjNimLIjkHRFVjj3vPCQABUgTbQRAmnE92znqSdJzzeAZk6TiYUaRAI3F/QgqwBCqixBS6wwgkgpBwAYbjRwofzxY3vFH6COcixL4Ab28ycAroUEUEz7Y8U5Ohs1cPwIwW+ZmMWR+Ana6wQcttIW2LxMsKctMnJI5NMfbliK3BHNbJjTyDkpBFQbBtdTSa33MBc/aAc35vrakTzGB6nZMjqxQp7ZMdFRCrcI197a7lJzHA6rzyNL2EYlRZs66avYOY4E8b+qZ0PjF3inDIevHgG1APpG6n9F1ROFJvsKhdx7e49qdwHyH0/jNbvubu6z+KRPxTzvesh2n5JD/cGsdKLmGGZm3CLFypYydeWz1ZBBB6sj92dPxvlGk8ReG2mTLiLXLEqdzO4wIJImexOHYkDT2rU+kFqfRfPlqPR2cjL8IRB3KffMHGLa6YxNjwUpmq01usmX29pGJRFF7aUuqn4AyhVx8l80ARj2pYIk9kR9FBiDH+sVpzyckdV2ilnrubFX46p9mPaBfhUbwgFTWj+5+sfrLm+bU26ryS20rWGTJKWepMVNq91+PKCBnwXWMlUx9vYw6kmWFN5os+Nli/+fP5za1xhgNnWdNLZqLlIcSbdGzB2m/sjqoIXph5LaY7JPQWuLlfCiHXy3obibNnI7WmUohG1R6O4Br/8IdfqP4cBc8BH66FLfisx+FKYSRmLbb0poo2qnInqBHYLDN0HrLpttB5pvavb77HHui3OV73PsW6l1u9dcHnHaFOyIw3NClsUPls30Fqd1PToJN8iK5b1nW2A/rRFMTdp8kMWIJKG2Tu0t68kdJ+xhOjG9wOnlxv6hX5W4nhMoQAizRBajRvon+5at9ROw6rS8Bp3Q0GDclTPPki8C89lQAhS5fEortH5oxYo7cD+ttiYqMa6kwTo4g8kjH+9oN57/vjKW1AqX8LtpXoTdtxeKhrLnqQevn2SwxhbBD+UMCNN1lRZuY8PiHi84gH1Kpdt4RZQsreowLvZ5tGF8PsADBuc7uy8HbowQGsIQjbitHZyGDat7c/occ7GLaP0PV6GFXf0xCC7eT2YVOKJ6atb/aV7mI8cHOogykHCnbZ3ZwwbQy0WY29QIbRUWp06S2CVSHZyq4HD4EoOqn7SHrcfCjIyTvobUoWyE7ISAGkRa9Hful/xdCA3nXXcbEdBdqR6Xpr/G0g4uKWmbxVOY5XZRLrk+5JpWbUi2V5WAcC+ticcDOZSoEYIHEGPEls6kVPNyhB/Uy6DC7cBXWq54P3Lluw7Uosblcp5xurRgSVkluKiu3YunrIJ3tZaJucco5gYdGG/UjxR9pZ5851jOQhNrPqyy0TKJTSs/EvudRifV9vLuzB18swW7lPMU9hE7OHgUl2HHQy+XMsN7fOB0ISJ2uumhwKDLhGXd3RSMXcK42BVGb9mekaooIGqQrzULsAltihrTydlHb8+NPH1bd9zHimkNqzHs2QrbVEctl3K7gbRnbgLkoU7gJoEGBYgg7UGLORXT113vlxCwaXYwbKHyDxfPkRKlnGMkmRlM0ydxEw7DxMkV52DFSkp3fAlo4ddHTdsVkVUsCf7GvzXKPz8qHqjwoLhOLXOuYODIOJn7vz4UyCmwSNFRoIkXe1FK7LnQWKz7w6EHWoWVsW+9xklYvrk45i4AsKKbiSv4cIEQNmeXZFAGUKOozPYAYl4puW951LddCp5yrVkf9UESp56zOS8shyCKlkUpe/mCJnwofAfCEnlTb1ah0uytlGrQanLe/qcd55tLC7EVoK6xjV9hfdBoZ4LuGVNwYOux9tpqKdEt52zS/ro0OBVwcriCaIXuEWmRV6ahbVfPzH9iKBxZt73hSCrRXKvLveIwB/2UqXDXuvNOL/UQ1cYSsXBsFpfaG4hJvYe44zj2kOt2cnjk9nj+KiItJA1IELlFNorsQGI4JgKqxX/uSAJOlGgvsu8DJ6xFXzaAbmzxiy5QfjUIs/8HMuCLNN8SHM6SJy6bUtKkwDRsy/Y43WPKwurdBe799qHjqvFslFl/+y4K/hmNZ+YeIUiOIA946sV+Y8q+dXbClbipm22/jYbrzlATTrRjcywAbmOC5n/HCJuPY0XoZllazhRXjJg0glNbkjCXr9ixekLDgzoIGyyrEJaqGiqt8wnrcphiZwVuS3GAErhvvsF19ShLkFlUqBo94nWPZbBSqFWJmMFPZoI9b9pO4qePuMa2QhrQlpWTGXlZ9SS5g4ppngxW8LZHPUxahd7uanHKPtA2jFPE5OOtfAYZPV4GstST55ZaSY9duAigPKqvljVm7YmiQdaW0sgIfDoPslalVedvqKp684ZdFFpTCh6ZIqKO320pdkWQlrZrd+D0e9rpoFe7zsuV+uzWAuzvroBbDOo85E2DbCJFw0Avmkrc/pn64POQh21vZGKgpGhQMCJa/OWFcIbC4OwkfMd+pzwLDEPiJKRGZ0dBIdpAKWebsde5Mlkr6iDKX7uc65Tpbmxc8ab83g+DSWpinxueYOMdXzSp7jQdl9EYiMl90CVFRgKE0+bk1VxCzk7MddeTBmtI2N2lDPDN0V7mi80BULwDKMIlaNYV0BK8pFKO+wv/CSYlJhoepQYXJwSc5rhHOuOG6YucH3cdLEiYa5HqUpG4leCQS7E9w2DuJPYyYKvk38J148gkAOnPO2yioK0IKzUlgBajCjRPnkWieevpiDrY8Wr4TP4SSX8SkkYcJTpaEXihCgVngBSTpt9i4qxQKdaJpAajaAfOOrSxho+ebqmpK/iu5QXg6CJZAjmesVfyVe07yIT8iKcoLLNltXb4FPOTSI2+Jmu3Yz/bw7mpXj4JlhUGBNe1sYbz4GCIenK8G/srlBRBNB65zYhG1flpuK53UwSxrz4kELoY1B6I1IqNoh3duJ6ebGXYyrrZ3p1/Bak+jbokXwaH2oKjOXwVMbF5CpScrI/+OrDWZ8am0+ePPyHK1moGWbT1WLN+OGLZAgnwSgi3t2IJ1zRSZDzfkMc+zT7B1tA98EpmptBl0bOgrPF+Gdyliy5W49WJuXC401V5uayX8CI8tHt1vdOfmsaaKm8fhmmOXwUTkYbQxZ4VKOur6P/07Ipme97nMtzzCUhYkh5lH/gOJtaPfqfpgbcwr310pbPGlqm9OwGuzcTcn2VFG+EpQ96oy1JfJQQX/Xv1RfMCYtnmIuG1HSgb6O6XmmZv9n9+xh/eKwrYzxH0HdDIVxTM5lNbfkQ6NpA5kz4bUJbymrdv+OvjAmlYnuk72GKX3++L2Nwwjhw5S6Uskki9Djh2uBFz8gPEoVL5WR4vpu4DR87hbD3cxnzOTSLZr+FcQSqQbNrs18ZTGvVA/6P/FLxSGsOIWObkFvKqO83j7WEf2Yf0Lky+ntocaAUoNl2hshE5ImhA0TvlYCv6fd917m4UHdpBiTFXDmt5WRQmaedLjkiQubI6f+uRceTXaxPN8fWAYnXIvoO+GT1okflC09jrU4rLKglqipuCB7wi1fZ0kTzlii1TtVtR9sBepFj6yLJiixtrpkYXIbRR4JO7WzMRU4zzTin60gRNVJSGYYK7PZjAB9H6nJZ1eOe2+I2m8jWEPX3ExPEen0TJQHRxt02zT5rHjFl6o9iViV2DDpJ76lOK8PUFjA/wMnkkf2Ef2tdTHljboFVHZJZxthAtjiLd99Sg7qJTixES4pdjnMFIxPiXShz1hmnnswrKRAzuOnLIxP3l0LspACCcaDK+vFRDJpFEY/fiMTsprMQIWHht61XPHBr43ZTcI+T8pvabzjeHmnxY5/gLt8IaD31TBDHld800R0RpmdNBJd9S8k1PDEkLw1YWlWaSBNORcoovrXybAzqBUmxiU//rjqh9ifCPwiNBaUDc2I1n9Now7x8BtBEbhytZpYrGPLJ2ymU0GBxVpcBM3z0xPwovUanEbUm826Sjgm4qVr/MLWEdQSUhpmef+HXbB0yyOYCFfD4UEGYiXMldgxZ2k0kSrsnwPlfqpKZr6iLtfgrLjzBL/3yOYU+G+viOjMfPTBFE4gUAhtcX+Q2iPxK4ySpsj7qL37n96INF4DmwL7md6iGGDHwlD8RyIF4RicWrUsZ9reCBhoegVTmuDypvH6pe5kKN9bxlQ36yBHqt9fPgrj+1ohf97EbEYj++wSknwJrjxFg75hcklPGZvFLkTZrvs9WrJ5vv/d9y2Ecb111T6DDMww906XFoC+7rPDhmlPos50fNESHyUTcukB7plHWe9OBrmFZ5+BCzldYe93opAh0khB7cpEGLzCUHb6pmG5PAxJV8TINi48O9HTUH1TZcXV24YLhct6HoT0pm+IZpREyXZC8Wdc04paVuiwV9mVKfJldYCKfjr3MIL62QubT5c7y6HAODGQsmvatdEIn6T2R/QilRj74ft4/wReFi2Xc/9GMTTb0zTDbkQHmTgKhmNyUMVNgqtewIEsWDcWlWf/gAL2U/Fs8+NiS4hSJq9NfdmIZc0wRTd9MSIAnW0U10t00l8+k9bYUsLXqFoOtjgp2b3TV6m4Y06PYRYLDLO3k+bRG7f6oGektnIlwK8jrZo+aDNHiDLr5wc51AjUlFwI5WMrH7tvz1vMlWvCGJ3d2RNzTOoi0Gv7Yau5ZJtbukDJWWnkje2oRqmghrZVETmW7vZ8m2SjFjX7VFkHpuZGQqLx9CavjykD4ZvGmXLWXFc7jK/YiUsBnc0w+lCvzUdV0KC2Z5iymw9ppIFxUgQSRs01hiwyGGM8NbseAQaSb0Lle5oIzmAZ0n5txGxapW6I8i/hiZ+GCPIAhQ/o4LdcTcbOpIQuTgWpP1TLAnsH0VAQG4QdFKp3zo6hGBf8xW+V5phcHLXD3hCw3npXXxs4Sl4uLBt3ZtMGG4l6GS5JxySKSsssfCG7HuUfMjLlXseS+XuH3fVttb7C/N+bMeXyDC51REXC7Th2NBnOIkFUXls2V8okOJnFFykzFWnkV0b6+jhN9iqWwA5lTwC1k3DuWO9epgMP3WmelFU43ZTTdNyMlupFuWI00xjkyJtBVTBZZhajoFfqJ7IFTbDtEtUkaK6BKWX7JEDq58LoxXw7jNF5PRL9B9f5krk+rU7fGZ6eoJp4/+6D668HewXc+UudsDoGD2W3sy0NawjBk6MgnUhu2mfSoQDTfvYlNo8NKgTOrk2kX+KRI79AzVQNGklkTgTfKt30VpyBUOQntXV8phys3lsjik7A2F9Gegnhi6OG7llI4zLHSReyF/Pasle+qT3Jz/7JBHG0Cc8IpZV6uz4URGy4wGLWbwgR5PylHeaDm4GHHLNmBqaL0BU6XMFm1RfB79EYZ/TmeSi60P6S+3wYlTegbtFR6cdKdtZbmuV3AQKV+Qp2rYX7LS0YjTefNQDCuKyqD/cylao4zYeRyZdFNGlsmYkcHfDohWA5nmIHHeVBlZOyb2pqURrXxJ3WhWTfzjdwnlQ9CVgXhO6JDHY5u1BjAKT1N3xLMnGKpT6HuCbrAKW6qrhkPmRVtDfh50nk+LX6iJwnr+k5yU6npG37jSC8s7rfvGA8Elttpx7HVPsurdDVaSwPqEyFufx7TbQ6cCC/NqK5xvYijwQEbxoesnu1OjfteUKj0h7O8w2UUQs5GzlKG1IagmKKlDxVc3J8ARjSwLKM9KZRYp739c76k33Dji6zBAfsGh+bpxo6Fhb8HeyUVZVJt0/m1b4COPEKSueWRKRSEBbODZWxF4wP4YS1zNJi+CSgv4JSdmPE1R+kd5YKM6qJc7E3JAZRYiMsxRh9TkRhSnFkWcfOH9q5i841AC/8MN8CDahJtWZ5Yemzzb93LfQzr9lqhbVN54V12U96FjoPk5bPFO9wuTxHt/vSLgtV/XjYYKDf7aNHBuRhSfh125K+sl5Q625bFDi0ab9MrPDYyK6IBQfBoqsal2Wl1uUFfiBRZkjkp88Ct0NWhHfs0gO2oIlZ+nJ8pGUnuVMF9+N3+vZ4jqyla2PdvKYvKqbVjTU0b1luKX92z20XQpHepr7Ad7H28X1gyPigcbkrkmQAn6EcpROwsGLzUt2B+E1Fg7dtEpdknn1TxZ2cBkaWY1Scb3tiNQjvDI2UAwj6Kyu/BGelRuYx4FYPCFtU4YYYelhwZU17ViiG0IY4W20Vj8QZYeYq3SeFvcPmRJbWOl3FevGQhYP2eWQMiV3dvHlFt8Tpzz5TrOdBumhPG78czo8HvWeB/GHmoG5bc3AtkhfLDYYJsmKQwKbBbGE9hCwskC0pg13GYhjnW3kQi6IYtHyEMr0IfMFVrUS4mjf2QmYpJRf9r+06hdDlVXC9dnGRi8yitLBHF8osbCCLbmJYXRQyqFJFqjTC0mznzutciWBaw4Rbzm8KXjxQPkHYBV67ppH25JaD5xz1YWbEEKuGrJMbBl/eKF+7DrKhx7oijSeGAsw99h8rbyHMME1bCKoCYM8bE3L1r/fLdzSopH3rFbtCO6sETIeHHlLX2wgzGHuMkL1T4Qt8XBSGbWc7mzQS+E6xShugo5KwWH/l/McoV+tdMsZIj68D6aOEWiUVEu/7TcOB8e/hLxXo8kcL5FEv+pcynVsg3GCqxyu3GRy38w44cVHxBew8Sq216q3Y2NIUwOWJwBD8BLF2nfJsQWZEdWQpNmLsvfDzHDS9f1YtxMN/a0wjH8tFWo2FYuPoQHeGr9wsEDQXgO/zIOJX7jXEfh8G/aPMjBgGE7qbtAg4qfS7anwew52SrnIsN5q8cipHjvGEoVxT4VFfh5CmWhePHEtuObsoz4v5ZYjArgRXgFpItLe3z1z71aKsyrBRRDtIl7Hr6zA9y5frMDV3RmJhTUJy/8hCfrPQExzWnIWjlqZkTsm1rcsd+Bm/7M6uNwbXC6VUY4UV1J1GQX8vWr1CzbsGe7LJsLnTkQwKC2HqAWlbRJ3JT2urWs8lBqcg3LL66xsJh/PAjOtgGgWw0CZcol81hjfeHEI9oWUNUb1YrEgeq7QN4qzFiPL/Dk5YWNpRG/dcmLohiNdJ39mrRQKl3xPC2pk70UvB6wlezNwOftWTpTte95XO1kTMH+ngF6RbPw30B8DmicN8azw3+XgIuakQe5m2k8ZVvFeeHtU5rXgio1XBO1GVq0BK+IKz84p3VCQiTc1aNdcj7zcRqvJdcOxDjY4Dg3qqD5Ie+EWF8AYEHl/N2LPdIiwZyNGlDcKoM77VwprnyRr+jqTPQFn/cHJDLmYs87X9OQWJrQW5zYDelmqG577Qv2EI0xalHawsSQ8dh3+Kttt9oTQJlqbKKCsdndkYfmHD9vW5g1sMdai0GnBabYCWBBM6Q0tLXRQQgGh2mFkHp/awM3ghSNbaXXiwWoCbfGRUdLveWN2ZJ7f8Th3p6+0Ng7hPKfPhFQ6Lliqf5OLx1TaKMr9VCqtZGmeuV5CcqpD2AB6VD8dfZCfHnliFu0BcO1utPaDR3zPvjHIT1H2a5XrGZgpF5D0v64zoasDDqfHmtS8xveQt7zJ1I8wuYsTlsLJz5QUTSrfDNVwaiJtJee0fpiraGTwEtloWsE7P80vhHARhr2Vf11Z/svQpB4onTerTZprOXCxOa59+oPQ3R4aq/RYiBliEZO8zgK6+UlNfOI+b8A/rZWstaytsyN1T8f1SNUmu4rcJlIyhwt/3prTmDql3FpR1C/OQa3YyKNFq0ltExgRGOl/pQ1Wq2g7wzHGu+4AN75KD68LaFnpoqv5+nU+gdeGxtd2VDlYiZQVit8t8PlTmVzp818yinOVOVjt8sGTfL9IhA6yO59vsQmxk4KXLjzezOMywra2jorVQKlsWt5scztHyPdcBBKeXh+5mAfysI9WrT8dUaiSECgmfryBhuNXvrOP3U8GBfT/q594McDTyysyqr11bBTuYTptVd5Eah8tD1H84wjWMJYECFlqE5lRS+Bkvn7Ps/a4YNRBvJ9SC/8DbfgRHwnROpXt56IS/EjWfAAJm+f4GfiilMiGqg+kTzHfrST9ECYzTzL21j2zoOwhi1V5Nq899ubJKQfgdkEtuTFUyxhLxbIq1Tc9l8P0eUBsi0lGqP5s1Jkpd/Ut5QH+0Rhu2eBjKNeRWezwi+uXGk09nZfq81Tq2wPFNzVC6uFoyX07RiB5Vn/GTfT5PGGDZkNrjETXQ/79Tttxtsi1AHBXHLs0SDzD8itTlb89YmTobLwY6YEGaw2d+VF5um9Fxea3Ee5Je9Bv8nXpDPmPvSH36ZaPcYx57RJxSGW0XEbJ9l1annMPDg2KpudwrqvfUo3CfvpTseKyXjWNmy6+tV0y/l1Ryvi0a9pT4aVvPpJYMOcsx90cpr3nT4Q5lXLuT/KDRJDhLValEdbRgBaG7IUl1LlKKL2CY1z+7UsV2T8XrhDaKtUCAfpserndPqIL787P/hJPxL8KxOqIw/LLpoZhlqurGV/5o6m7RUlA8EB/PGPh0kNJkJweYXFs1wHIAhNAJ8toQGLkdUf5Rso+uAYcbsUnPhMYNltKSI+Qt2H75Fbr9kPZKHANCgv8MDVSU1IEyzJRJRLXwjp5r1naRpCT7dV1JhvrtOUJsunKZodZ1bbCjdbR6nwrcuaOetXGOqKjXal0kE1DYeCpnkT8IgMSEFSIEhoxcm5MtCdxJOWvih/TnPeW9+LBMxxUO86IGoo+zVR4QB9dYgasXMG9ruw5JrXWwvpfh1BFc1feR8mCTBEd3azdfl8IJz4LftAyvdQdLUij2fbUEnFS3Zyp9OsKJ/SSwhuRJwDG+SuoDywEaClJbnsklPeN1Az+kaIgi78cQUXRkpER4tDaQ+VaxEWd7H+3AQE28K8QSW6qMmoC19ducnHrm4EnWdnYISTp/Ub1iKH2qi1EsWAoZDGbzXAAMbNFACG4DoZ2ZKz32EeQ3CHzFXJyx2xPGixey8AZJzsRYNQT911f+A+eKII6HJpjgBV78Umi33xXWMUDykvXMqTzgF/jc1CWywC3Cd5csVMCM56W8TE5V+6JloYabDwYAddrskCahZMDlVzSrF3bSBLT0kB6KLRDAs3Fb/dnt/IXdKpVdZ3+REOtk4wG+MCjZgjarHjiZauYjE7Y8VazeC08v3a7d/rR4Aa9Umrc6afF5I4I6UT9Okc5FzNqCPHT34UTyzuiwfBSDkjcRg7G35Clu/JUZ40LQU4haEWN7zqPmge0pd9+Xl+vdmhNDcKdtJcqeDr149HzBxC2pcF6P7KzgUCnEPzwGHABtQ9w0YbS8/cyZxyuK0KIqCZRxkKkGtKQIsoPU7JK8O6c4brmk/SY4dW4x7nl0FKiNV89RhyG2EyVSwz8FW90FCYi8/YXHW8nsp9zJcpH3ihG/hTo/wqX/dR7mIX+qYWy8iIp74/x17D98HgLtaUywPfn/fipqFdg8aquTTvKaHjLVhYIKlAicFiGvK6ovBOCjS5gF39qE5PJkZEawqGTSRJS7X2ugowj9umo3UwUtU4hUYd2ZOxUzs74GTfsEmLE/F3zep6xrdgLWU5wud2iAgUWgaWVOJhGQqFB7qo9pTCIw+1/EVgqe+0Jf8pNHO8Q0bAmrU+8pSp9FJpiWKDwbVkUbDbGf803w11xbmGsZ6tl/oi4K7SvxbrWBwny5or2J4DMDFzfdkqaYoPIat/SlelkwNOColV3fmmeld93VkVbS3K+iubBqpyCnC7fUnTk5c/gqk21fzm0GGBzBU+PEnlmbKhEAbBzndJObHp3OvPv1sCwCRVC1WZge6NC9crUbCC+ZjKKIS1TIELU5sGpKmP6RunnhZipksy3VTTpNI55VXPly0uxMkTs2YDSmdudEc2g1vwam9If2uv7jS+D1+uOpiR7Z04qS++Pd5c4Hlll4+irlUPtxiGVRC1ZpXPfse0XfV0lzjrybw9NrNKUugz+951sDCGa8wc2p2h+k7sBGs+BlRExlHs4mNRc0hFkWx42fl3A6YX4P5fnmRjqV2YVYgof42fK7VWvsFsbcx4P9CofXsFPbqP6oZLZk60JkY80vTUy1zlqC1XQALs8pDHtwwZWMGyQjIXvz9Y9ZBsz2awmfYmgm0ba8S0zQ5WA4b8zWnIPSvVSSkJn/gPQRzSUOmykNX3Zh3M1h+iyFNL9GKCOREAt6iUeOZkRW3vWP7+9hO68Z0btEFe7Hnt1a3M8/dpovbpqCVOzwK1qsgQL6Lbxafuz7gmn8PK3Xav9SmLvT2WIRZjE8sTesP1P6XPpthE7ZqmXw8a11KogdSY9JFk7KNzDp3rU2vvqDAw0Z1EKEqOf4jYYGky6eDqjQvabdGG9CXEHxzvPKwqLXwP0iLKO+6MgQeYRvsnA6+DMYn3aTKXM/mLCQIXOiDMPCZTNnxsq+k0o7Zux2Z6fMn/lNPnmXxzjJu4j/9j0WVu/0J1NW23/ktEmW3FKsDEVVWy7DDHk1uk+S/tikK20UslfwGid+kWmHUfm2EdCZYApxUat6HutLKeAdSPSF5VLDI/qfBh8ovBlSuhF33U6qceb4N5rnK3QLk4MlndF0kcXRubIOTWBxrDD5fVmIqNeBLTBZGvlbnDHH+sA6C/SATdyXz1LHnq+iMGMtjIOn0p3k5+afcwgXHFhEudTeHKgEGMaBPp2iDpcBGl6sSCnlZGWpST3OtqDjHUR+nS2GX/IX33rkjOCKtDwxAkEwfANxLdeCfTSbNJVO4ZmpP7oUqGWzqmrlGKSQABZKqp4q9L1f6shPK7n/742gRnVKg9ArGVgXUE/JSlpztgvWPNtI3aHRvMaTuuFZ2/AR0hK700XOaxkRaNLQaaZ6p2kD0caxVTSrdUcxvjWA81y4UovLmrUPleRKnMZwXWTYb3W8hJZ4yXr2ewEGlLXsF/aAJwFW+JmyjyZFXaxkve2f4rusPUUlgVV775dJoJXS5aK/19trJMNNFGun9ikKYK8ZwbuM/pTlFHSZHv2btFmfKNi7k08ivpyWjL3QGhXom9rk/iQBVxPjRgy1jf4VHwOET1ak+Qc4OYu8uB4p+w23tzPtDKOCaTVmYhRAfhO6/KNB1+PN/E1RH58Mf7V9g9vV6Y0PcE/P4AiEtLoQkWJ2YUNErCRJjdJdU73obWFNmNnLQCrM5wBeAFmiO3Ai59o2NNl/kD7O3BVb9j7dPCAddjo9u2u+E4Q2hmKhtJ8QuEB3txEmVz0Ycd8jfEkLYITud/6j/5pxifpwbe72Jgn52hwtw9+Z6FDOsrZmHoHHPGbSMZahCMzBSwRqSGz+4TkaZkrfTW0Nc+XSy/az8OAoALPIgw1A9h/IvhUEQ2YDzeAH7tO8EXrVvS+7gkNa+heUEbkX7eh7BmMAXU1rfFPpzVyz4Uj01AYPUGZuwzQYTQbz/m37Qw2CFzkJG/Xq0KVYgFxpjDu6H54a1Pknc/T4VjpiGxo8u9tZqGOp22usLvEbJZNI2TIPS+sXbiJzM1/UrwYQHpO7P+rRgv/nq49NnB/3jzOjpySBi1tNL7o2Ct+v2Zt75DUoRvePd9Lv0JOzElZfCO7EkDUrvadVmLZ53EY7CLz0y1KReMY6jNUWVUUDXHB+Tfx9PfPg0TGa30AvkHkxVWroJEkr50MT9cCgqiQkcsMf/ApLivGk/crtBucIu5GpXm0xl65NbhQLvxR1SB5nVGgFvJKzNicHl+QgtGjouNnX2/xTYSMgRknVQpSwF8rvQ0khpMs8AA3HhqfzNKeT5fWwz9rFfkKjjRO/ONdM7T2y+X9hcbTEwWEdTWp1cpSI/s+mgevChjaQ8aWjli/wVK9vkjUOZnGTLauUUo2IPKTL4ngjrR2dKIFJPdC4/u8Wm12oJW4kZ92G3f50ZOWJkaAHz3fXX6+wtxyey9yMkRxq2MpKVgi4f52eLGSLW8oYASLrb+vNEvh+roVqk8nJoCZ7y41RT6KN35pGGCxxZ44SDTsQ+qQZAv8zFYC7QDMgENFEmxJFE3JnWetrmmBPoI0ABDRqlubLf7GffvBBJBYzK2u5kltxxiylvVjMbl423jd8svuYJeU15guFJX4aCfDOqO/xk+5m3pAZF2EYFXnv+FFtpFKC7KuxXOpIjzgLrf49J4C7ScdbTeZk/7f1KOizomXI8NfpTAPax5RXcE0VAgcZzTIBEbNdL6cEN2hfVgRmZukvOoBTR0tJJJXRxedmZC+HLAxsK1bLEQXreoYMIRtS4bXyANrUcudKK3FlvzaClL3PNfjav7afqxCNfm7R8KiDKqFLZJtnwRZhyFSxnedqvbPN+H7WTRIqpX59zvUrLTCOdsP3w11i8kTa/9Wn4qn7v94T2rQCUCQH/Eu/t4H4NtfrVIosHgwba7400VCubp23WK72LRcDx9CrRlximwiFf0M2oXoEG2UM6nRnER8lwVKKxZpU9E8NZhdTc01eXzLBvGIz+gcSrEh0qarMSVw0rYb4UBi7Bx5zQ2NEJJfsKtI4WlJBrTJvxJTjeWRwcj6dIGb7GBPEWdPllNVu6lp9bnKRIxhoX40wLv3knNFfP2UhRhq2OMWaHDVTKrAOMjDN3PvUR9IJfVjvD3ENYidp1v92LS//aaha3+wgS4cu61HlnBfeOmKZvs6vTsNALiN0cYhkHMcr55ix6xo4ITJ+SE1ua89GhcvZc+tNZHktcg4Grs3two46Bf9Uz0prwl1eNflo+1wsWtepO9PouFdsG6w27gVVdKb4cQzVenSneCrZRzcWabffKgzMfDxR+Ih6qxbqdgGXBn+PqkiD0hjjCwxYKfYO3sgm4/rlQUlbgw454zwk+ZWVSQJ4JKl4OtVaqhgeoIXC/tFT66EIYpNJNpSCM/L/xzDt6g8zZpofipdcT37RS3XKXUqvvrB2YFyjvoWksRS8+GZZvgMGJIYRZP3Vjc4Q+I15iqVxLXhzu4u6p1YTIZCPYQaKbgOp2VQA+T32vgPhmtH82mIAjuYqKrPixpZuKohyPMsMX6++lzn5gxXYGUPAvjbpOKjUNt2AO9aaNzGnrVQsJ4JRfuV/x/vNPEm7pFbEGZMOMJ0Tj20uu4Jga9DQSwnyOgh7XM3bPCvV50iLcW7Xodcido/GnR5SiHoiHgxSsXpXmqSzIgbf+0PCn+8qWZUg4SQzfb5QnHdNFK2eXH8F81f9fHGQKbiFh/GUKUEzj4qUClrIvd+iYGvRLYm6/0cl4OtKs3vQrlZqlvzPVMekgWmqU8CvT7+DkO0WshzJhb4GSLu8I0XIEZzoAom318EcO/nY/D7zDKNCOacTdF/uoX/djNckmSaHPee393ofb0KMunc37pWVD2Gs41kAHQ3GSDAn0aNtRxvFzMv+EWJkmWLJQbRT9itMP4IG8YW+B9YD6uYDJF/64wUg7P4nQSy88sXQBAy4ce/evk1HuVgECCrtS6ESgPZy304hOmBjqWp9cvTkWTc502D03yKjlgPcwgliHj3WXHBCEZlaKs3Ag321gDv1NGEPD/rFpbEbL1ImPOumGMz3qhpbD5Wvi9rfYZQT4/jTF4pcZNjazNSTDrgE6AdjCevmE98vhjyvLb3UuqMm8nBTPVPRRiMfrX7R2dac+xKwazfnIyP/A+n14aU2/0C+UiUsHgwuu1nTwukwSpuy4ARgw/ox5AZHKmz8AI2SNDEo0fIWvkJdvf3/+H73k2ieEAJDoMRToxhS6ly6yvaqijz12cLqkL2aU02wEGCX8T06DsywcMoxY2bzGaajpwZyrfiWWyu9H7nG1EQ3HqoPQve5ZH3DFnlfCT1fkOy+h4uXV2oXX7XPO6CgJejAByBKxLvcsW5zI0rQI4RH7hKq9uBaFk1xZDg+p6tlTMzztRc5RIhlwNniIUUeSs6tUd5fmzBEB1q2QkSXUYjDN91iQGVFL4vEz5/wXwyDVQFK3+T4oZ8vos7JJe+vt1GMYM+nRaIUv+5B1650vgQ5GXuu+dP70pwzlz5qmiAZo5/ri8iEPNqoW5Avziiq/uWRzOKwx504feEGQv0GiHFLhweyI7ht4eKAaKRff5Pv1Eofw7CLEUoBsBURNHm28cyXC0F7LrUYvbhFiYDHl+SEUJCoC42c+ybfL/hP4z4B8rWHPVr+98ZZLujNq+tnqwZDM4wRsoM7U85lmPFOjnkBVw77LTx3cAvfe6j6CDX25umIZ06+4jhuIu3mkmg3un00V9VOeKQhJEeYO+XJY4x+LPQCc7MkQJQm9g0SIktI0L95zxWX0PJRHoPNgvQ+SQXwHL80fXwZkLoQoBu92zEFHc6z69j8lqN+b0GhBdBEmea1SrB/yrDO0YHSUGQCkCzuglyhPrXxaySaYuAFHN6z5QPYr4RAs3hPmb/4TxIJ4E4zgkPrazXeOhC0vx8sio+Zwc9iYNakfOlEyB55tih3RIZBvmSARTb4Z4y67M6eKtcYn5xfU3SBo3JWPE6fgHKOYpEo4sDmhzVCZABLWcV90XxE9b/faapHVh+IGJKiMHAbJdbWfmPXouSe1J9074hgliJZzBZ/DaXVAqYy+N0YJ581EZ9QuxdOUJ7xSRM1Q7+04UCZayHdQuR0BED90rnCFPN+LGBMXYKhHwGvJFH0Gu7Aql4MY5h+wPCiWVXii11WqkB5QIamaWBPHdqK1HxLobZEzL2CDnaQSu8/ifGipz3ynTcjNnQpgPHkSHbfWBb4ecaDcmgv/OPRPIeV9FuB8w5LenC8AEjIc8JRpSPfZ9L4ja1oEdNiTA8YE9BhcJ6oxGUWjsVqR6I82jUh/iKxsGQpN0xuhal71OHexssxJhc4UGVjVoeVO5fFq/JMBpiGBQTeojOjci3ZCqgWGyG++5dLAYUL4pGriQHyDtjWOieGP/Aph0KoYBUjBalwI9JmW5VrE9qbNOUxnh8UkyEqwQf/BJUP/n6j0nuodJ8bGMAtjnQBVNXGuB0u+lgrCaKqBNlMjkH9JW+T+QfmNk+aOJUCL2/lTia1buXGwTGAbX28cZVwABKUm8By3dfrFdaBj/8jOfDEDuCVsi52Cupxb0ten9KGVqSpclo3mwc9649WnYd44VGFOyxHwlSmbUQCdM5hymEYl+lQny9kHFcBruKF8bawgDChj4vD+TRHXKXJbE7s7vMv1P103H5MiBIuC6naKstR59DNMd1J+8hUtg7SH9OQTlLIHRk1OZKqu9os/uNBnZ88YfFmMHKHNxViqvhwN+yKPPKLhkfS2aoHbxdipcHjOc8W3xkFT+5jYW//ipIg2suaqVWA9f6I5k0xH4kIUrVfNs5aBx7HUnJMFX+lagPm+UiuStdQIaqv/HJJ/oNgGbqzoVT9bsOsxOMsVaqZ3MsJ4v06S4j5/lpIiZoLUO0RZ943yNcsNHfrPPFGuaCgX3ZGjZVVIZDMNYE/gKXLCCi4BXoksKdU8pfANNaf1UZQLbNYiVbk7cipKg1F9NZwxpxXQInnd1kmdo27spWtHNH6OO1v+dPtGsr6eIxlmIYPV9EWuD/IV6sRag081js6U47Zi9geQ2eTJBN/pDKg0MrfUwQThKRf17W5bf2Qwy/jAhDkQyxddIbLVHQrYjkbWrXT3n+QsU5kO07+w9pLh3VQhXnWwKBH/TDfnaT7nC930VzOuDTQj+iUga8TGjbM7O2ZMRh4iEPbxuAlWd0bRt5VG8hHk7og73OcY34Pi1ZxUXYfyLDF6uWLxARDuybBuGenUUSQAwxRSqslRxxxNEIPAsXF62zwdiyWz61rF6OSRp7baU5kM7zoXBEOpVzV6Vx3zcxFNyI9LV7mAlUPak53pYld7j7gKFwUEi20xdwnekjm0MgPAGdA6KTG4n4Irb2W+s/+qxGijut3uPMxsP0tCul7/N1vI5CSWTgNCF274nkOHaMssezhFZgBIrOS/FIasmvj+jjeIDNe2yEtXIu/R450krSsfJDDMZ9R9n4WCi9Yy9fNkLKlAJggndjG7e1T+fIfOefCzxY6DwlCZXcIEWWYHcyrDoe2nMzY/MuTRYg58BR/WuLY16OVsff7MbAGx3jBaAFG9r4VUMITfXBgGxsGA7TiDZcazZaSVz8Q9XOTAyEShvcxug/KKwadxabxQ9yEn/zzCC1Udp0VLLg0a5wAG9nPFG/zzg+edoe8E+mWsgKK3EjUqCYip8TaHI/6Z6EzyK2xsfgCw2T/iO6RTmk3ePM6Khy6VL+ga22EmWyrf6bm6k3ccbIFdKNLgjk2kR7RLoKoJuvE3UL4K9D3YbeKhUP6D3GqtNG5mYsJXNrmYLA5TFY31I8JTK6H/aGSTrsFTD5FZuHAmn6qKVdrGdnEyb/RkOxdpCE/1vvXXU6qzTrZAQU/uHD/MScllDy7BvCNeSNxqnqbCfGIQNAyQMsoZ2OS9V5kI3CIQ/2glPgD8ZcxThTx6JTiIA2YkMH4wfBbs2Y+6L0D0lO/KUCjVY+11AYsxB7vfdIQxTlKVhF+Dj7DnIzEXQhTcTOAKc3DeIIJoIDBAI9w6M6nzguA0obF7gO/TneBtdHsH1oh4msefy38LlZSkbDpLhgWh5njSJU6Nqt8NWqQJXMGrZF4mjTso+it1q64llX2XFRrCQOpEzhq/gnP64LI8kxO6QFW+BSCZzVy4jqiF/u2fgALeO5hJEIK9k5n9Qwd3jefiy4EoX8jDtEgaHolveNpN67rH4wbIoY48ljUlgyUXsVusFAxOEVczZ9tMeixzeZEwxl19SSu03a62/RdH5kCnKzJBwQIqy9fR46bnGR+/SK+hHXQ+dOqz6FQuk3pN2TGGX032rdVWlJ7B/7tPcIezUbrExg2Wk27jiIbyf/Mj70E0Tg50PllSLaicUNq4PjGJztndSuJXVyED4MhlTCibWgRQ5lXkEBk+zoQJv1Cw0EhsAsykeRAxjsnHywR3y/WxK6XRLpvld45XJKLRlpGtOFbbVDVKwI/sQuwqkWbFgPo8DCfa5/5N6iTIrvCNMR1KN9RRuKcTpLpTRd9HgSxxY36DBhFv2RcPmFM/lRenBMF8JDLX6CTemDaGZZM7mbYqhOtVx9vfa+LarjDs2P7iX/oQJsMKNUEQQ6GXt7bWI50+rqwvZB6Z8m/Llo6sB8dtuUoh/bMhfVCpVFDQvIe9HkFGteGR8I2mhM486wK5JwHQvh5B56To2MWQfFiofNgLwm4iUIZ23eRfPShnYKuDfvZ8vc9Z01sTPT7dofGWRVaEqjnbfE4/zdVocU97IFt/78FXu7ve1/1kLgPhWB7kDssSCiF73+Htn7l57z+gFtFxWdzbugemwZIExDZJlHzdcd3ZajLL96uyTItk8xNlpfJbQELMLA1IJcULqbHhTgnvaTF7UeNFkV12kpnb7PR1pp5ZIyeNz95hV+owpcxy2/WcdMf61xzhPr93Pw4tU/p4rXuCa+9bGdnjsGg0yqMG1Olh0Tjq6VxdT/BygkVme/z2J5wIG+nIMzB2zyGsk5IHL6lrlXQGfyF4kJPzj/uqbVea2xe5ZbZrJD6HU/K//GuPg2yB6LbT04zZikvGJDEmn9CBB2Fpw1cazLvKPFyKkMFjtykeBeS1WrWaBaiN0bGSG3dZOmb9R+UIm546x1hsY3+AdZmAqjBwxzA6evtkoanB5uWGwOL2HPMQGPR0T5q+ZJmHs6sp+6NZvlIiqmJGVNBfcyse0dUGsxrES66G32Ipa7saSeBjzG2WeJtmHMfLHX932ynFYfKimqiogaNjxKGGbwabiTbTGJ+l3vJyPuXKubVI5LaWIqpFhyMZYgpCg+bnS6dT8ALsuwCS8NK4DFeluVXGT8x30EwBcKaWWgweTBgNqVFOMlhU0k+kJwnEn12WSumV9Dmij4M9VeLKx4BIcroRwm/k9TNV3uHoU2C0aKA+0M+zqkgczrAdMk9Kb+j4ZJOueqF7r4SeWAIKr2ZKZ0O+kGht7Jbs3pivu2j3yVH1/gnbrYe3AIyQk89iCTwfv+tvL/9FNaBsMkaiHsVi/JyJ+hhY5nZ61Enli03z+tPdp691JOm/33OHV0JNMU5CcpNEVAgIdk9lD3QsOI2GxhFHu9uRAZ1WIlf3nNiRlstDJ7bghe8ykwEWLhMwE7vhRYw8HWjHKGXAigGJge+q6YAwwy1aY6ExJWWK6JXot0KP6TWT3k/QhDOmkMRow0CLXCWFy2e9Tjl0qoZ2TY6VYXFhVXeZzurRx4+8tTaHJ1yUnilGMaFENAodqLNInqb7Dntwav5ea8/dbVVW+btkTQPDboOqcDQlVHpNsBA6AQqcJ5m6IffrKVs83c4CV8ot5BmZdN0h1O9SXHoU+N6/5juSSVBVynj0iEV436/FABdokPflayP0UO56rAyBlL9VP9ZoYrZ0msWkGBut9tT2jXGM+L5hWdSLd06TX8VeAeD1ILPaMRE64emmxv8kvmIyIAa/vH1DdKH9FlePdZ+D7lamY32puR7BSxyvcZwR1VLUkThuPoaAuP+c5UcIRCNYQijrGFWoyhR1W1K1GmSjqZvEWWBHgP8Wfxyo40vvcWBIAlOsoouUAYKCulvTH199SFGhW7fTd8Po2hUPRYV3aAB4AqpH/xS4KM4oG+rQ1HoVzMQWRJaZXm3EFyd+gXlpfSWT2kKszsfEpYDhZZc9nZFwAYUFuDIkeSDAEqyDQpi8RyQaXbSOI4kptKj7sEkYDBcUrabyEdtblUv5j7ScFwxpvTyMvTWA2CiBU7Ro/NML59jpN9YpOj2oFSoWzZjNare5cWMgddGM998JCpyZZKgzmat97eYPnfqUfLj3oJySlcYqjm40o3UjSjynOQiTBYUSveG0gR4XieXg67pMwJHqm0F6ApDCoItAkYhxiaQceL0kiSIwEhHkQrlhV1AshGVwITOFpsfo1xuf7eCkaEfL7k45aVm5SlSXLyTrFt+d4/sE1uyWPX617cU4lC6eNehiX9KR6n0gHc441MF+stz0uDMHl0ycaiX3z957OU85I1haw+7SzEn4DGd8pswMGxf3pwRURPsDzFbAiP08QryigoaU5A4cAwBZKew5u+X39DcVd5ufFYr1aNJNNx1Xs7pTrXRRnAxoFEEQeyEQYD8mo5A/MG1FvTPa4Ud5Y8AACGkmzZd1+AUV5PqTIBWN4yN54HyLA0qnqL0AvL3BxR15CNlZxxjwo/ngK+iuzLf1wFQLc0CACxx9kldxuEwBv4+ujhFWL46gPgzZniBErKpl3+VpZEP3tPLjreWCPSgzU3KLjzOuZNc+RgJeEeWVWXz0MixK3OOxwtP25ZEX2mq2Ivi3pwAckUG8J0bX1AKwxoThv65EU/2KI0aoJz8SjM6BFzDTJQbPHXhXqUwNfiyDCbl5TLjHIXUhGW/P8/+7zKevNllPkPdvZFzjHutkXnUss0sZM5QioaQv6WSeG9R5WXosymQyc/TO2UXUr3GHGjuClb4NO582uoyoY+x8Q9m3PBDOAY2sLwqQantQWf8v3p0xFRermR2K2arXsfT7tnQubTiKHwYo+y3uTDln2NhsLYnIJfJ7MOadNllCUMJmupeS5GB2cdW5tHJNnewiD4ldr4jSdbqe2T4qSpxTkXAqrV6jdSc2n4cFKrO9rx3tVPMxrkwHWaV8FxMhJ3C9+hGJWPkjjQcWhK+Y8AJwGv4xv7A4oEOyfWWEwsnN5q+7MbGsVjnIJ4pCY+DJpTiGja6HKsSa5SUSXM+duWnBCpA3wAdYXarg/OLGr77wvJT7Jt/uwoC/cLtXgo7p9EyS6o9OnC0ouwLn2lQsYXD88hdVdFr24Qj/LRECWMPRNbwezmi/2wVVHJcssOTsFTX8C5JI5TFU8Z6aGHpuRWOrXqd36MwvNuKG3u5Ym5MMmCpVcaGbpmpE83IpD1NvcxJgzrjVti0yIntpMPkD+pmIbQKIFQ5xUOVT8+D+0L7eQJveIJsdzuedhwKNPWRWAuiJcOXSvKOE2ncWTSFt1/AVB4KeuVa8f9HspQE065Ir85UNBxy9yYa5Alg7FBmItHX8aLVDRktrZlOeJHAWV19e4ewGH+wp3gw7Jvz3SjLVgYcxK6c8V8wiYVpOh6fw1wGk2Zul/WTAavne/5m/gOTv7s3kGzKPcXG9qbjLXEhQjJNeYb/RQz1KRDsOYHb1bbvsdNf2hh72cigxb+sMje6316UOmrWJfqR/hmpVDvbR4Wpq+EkErYG4/wabOcDz8E/JzGExYXHe0V6qcm7/ODGX5GdBNZK7lOjjgqksRhLxi+9+KWlI92WizYsNr7D2QquVoWrahHY5gg6vqsZjzhHaTT4M0nezk3UjxS32ASO2l/ExhNss38+tq0GbGKO5LZ/cN0d84ogDIJ/LkRVGmYJJ2DL6Kx6M5ibXsh7I+aRiWMdf+G1YGN0Cy7brEo8TK7ImpSqB0SHs5r/hYCyjv0kasfgtWDSlD+8BOlEjYWAgaRCZXEBGKX4pWzp5D1A5jK4/3jhmNLJIOiFnUZiKtJwqSArVkBReZCwXAzBkqRccfqzlj4g1ygzwQwMRqFKtAw12OxVnm5gpbW+V/J8yGQd+QAdIct7h+mpjgUFpWtkpY4ur72oPyBQ7KhkX9p80gOyGrlE7zN6LcL2PS0EZcE9DkpY6cfbRnXL+4pMdhLQv0TrTlmLZw8Tdhxrrp253mZiwfcG1uH3LnTLRS6vuu1b6k/LO0HE8EvWWxHc4FZ+9Q1xJbe6uJz7uEIxsD7WDqow03gxS5/LARIPg6Abq4j6PyNL1QUfEm15UXSSB1J9U/g2MmIvojSEG1WcquFNyI9Ibtl6cTx/lTU70mwdhXxSFAbSEmOuifHJh/QxeHGegYA5Nh93aiHCwvYNrw3ZAhbC5qB2Qa7PY374ZNODsKIc8zBxqimqJeLibIKkmI5Hw75TaxpHiyu4KgJCCJQpeQldGXmEeOpKW5PMXa3NJ5/eUZVPNh58MLNSZLaE8fXVjX5p2gEf6o6oUKtHjzItfnzCRXg6nG0QtdinpLyQ6COvR3xttbkOJjpYAAoBNkbUnHd0mP1qLto1HoZqbTB9C2qwLC0ZcM51NPIo1CCbTW4y22nmAE7IJkG/g/bAoPCzO8ztNCZvuo+4KyPG89v+s1ANNr1SeDFboj7EHgqUNxc/T5iBX2vWwkVb+x6eTEMqLjEktBmu1B2T7Q8DOBmlToG2laG9+jL4ocCS2qk5/4bUxd2nuU0Sb6EWSEpYqKW8sLquHn201/orqPlbgNs+junKZpBuMiJVIGA1SIB/03roy5qC2U5j20DlUIBT74aYLHNM2m4hV3PYToh0qsBxQnUBM+5vIcR7ED5EskCptbG+IrdRenotVMoSKI2H+9ltE4gnYeMAsnZ3uiwQ9wevMW6PgF05PpmKcDKNAb6gQJj2SXW5hQ/TrYumzxtd6ulynyNRP3VRqRLQ01pB88swfj0K9MjSPYQF6S61jW+feNHS8s7g9F059nqP7UELuA1uleoP4DeICuNbrvoY0Fg7rqHTqHjRvQc6GqxFJa1vwSJcXwpGTSrUucVENRUM9EviHk22IU9MVPDAWhLuOb++BRexjwBMPZhdueZd1SfxsMpgLwva00vun7ljdIslTjBrXL3+j9BKZnapCQLcvbHd6HHTz2Bo4oBN3hbYSMfSo9PlN1Uv2Jhjvl4usLHLkDSgoYrpWHfb4YJR21D1dfD+FhnJ8ZLnbngb+ocH9clooxNu10RsXzmOKMYlJ3vM1LT5I4rjznsBb/KDpLNvS2PM2Zu6b6GgA+fHcfJxPt4zZbtXKyTQLsyuphbz9D4oC1g9s+v5XZfx2+JZVKv6L+vyTQdupSTHTMYVbljvQpYz6pc2bJpCLNSOO6wf4RgeElIim/0fFUbiBKqPyKrUTcC9zKxT7x+DvDsKvhe0k0/jXY6scQeVgX7a34T7xPlqUekkCk6TOfwEwCYAvNINcHcFW+SgCpveSKh+ho1b4vZzO66UKGQjOpTbinQSMWUreQMWxI7KJQvpI4NN1pe+fF1bbH0R2+Kg+xS6b52MXKkoCrUvSOZeiDfbaJLPCZScu872tMLqo7QPd/cHf9rkcd6t46xLKrqPp+Ivw/rmo8YhauSqfnKe0CLnNO9Krimdw6Pq1z4VUpX0V4UwUo7d4DexfMr9/qKX9W7ZB2suQd0Vx4L27RWTNrMOLDnhPoDaYmEyVS3KUNpXilCSrU9vOZsYKOYXU6Do9S+dhwtIudpMRJnaLwJ+bkIU9DZppWSh8WEehcnyuj4NWOi03bS5ECluoMryBbcfXwOKj5BSGGoT13HlpvVpeBYQmjE/F9EtAeM1z6RB6zoOgH9P80EPB9WdAjzs2vc5cUVEtAcjxGkklPm9dGmmc4YffUfr6HYtw0OOxsvJthqqPNjIKpTHq+h7MUBuSjYoBfOaliAUQVTgYkyFpDVgmrb7Lu9UgfjxD5+PhzkHfxFl2CyIZ6B1wSKdEaxk1nh4VVsK9BmmcooD87jBscutE3guHNYmhmMr0T9SoOE/ERZdf8u3RnjY+GrOnSCOKU7mkUsa5hb6rPXjZzGjhTLinQj1kkc8Cp1xfQMObUe1crnlNxKKsQ5J9AkrKdl0Eu9Hyk2DW6dykQGIWutz5Yio4fZiQg4SWXWHoc6xMtaVir4luQ4yW7hLnLFYHDjF/YgtP1XzO74m2swleicy3b3ZtQv1TD2MpD1fBWL/IFeZxYazDaj8GibKkPb8MpNZk3uWt+UvhfUSrDrKW96obAipUajHXQif8rOFjF4hj/y932Nd1NwUDsKwK8KLcgZY+09zzRKRq/qj+Q48sc0jxJvcD7qBmkZ/pTl6IAUfLtfuKGqdzgVcd5GPeGiEtR3zDw7vybJMtDjxGCexAvPhn3KWePvWEcdyOTdEzRgUc+zAfF27gnFAonvIYrmh04JW1/lVXcxxdr2gfjx8B6hgkn6GcyL11wU57R0k396m9kPMEFOztMdWMU4g7CmzqTmpGNSsk57ey0iIG3Ykks+uareAOYzUPsrenbkBQvuRd3hBiFw421YVuhkudqsmE+CvrZcnIEmC933Kd+DBcGbxyrs2fFlXF3SkVlyIdb6bceMOnN5Rq6rEwJNxePH/qxKIATB3ZIv4wFzoJPHQQZsJ8U64qMbbZ3VMBZWVrLsvi/IwjnFHcU5lY/ZG5FvaXJvRzWyJXRKgNWgjkMnydu1RhvvAmVvgqlO4jxongjjyqCGM5+ajMgMrjVButJX0ssU6SzqvXrqWDixmiqDd+z0U14NL0wc3fh3ArB/5nmM81E5eFtKhxzNffWH88mzvlIvslO/tyn5oMHtD/lWpzkBicxsLo1CV/X9+ckbg+IZOahdoEB6p1LMPBI7sJEMIIz2itNWMktaf9wUPiXFr8u+Y/n+puWDRMmeGdtz9uPO4zvvtgtp0h/bvhjgYnLUXlNRFwNvuXiFnxpiD9GAFzUnEyDuwEhU+XIvDr09Z6e2droH/yJSOceJ4YTu+0GMJK3K/Cx3BkxvWsQCczZzWl4jVz9ehSWp4zciVc4sHrf1DJGuGyhPrVOrbRYZQkgU4oxB+awPBn+IzQW0bdmKDNGIUODLd8bOPsv6o/X1kiF8UsOrktJDsKRODuygTBL3YTnQ/TGWpI8eR9M6O6unYiXmh3/sLUl5my9x6eUfp9+frGBnFFKNBY5PD5jR9GSxY3uPBgQ3Eqa+1OVbPZfyueNurKNduScTfXUsOweVAJvqxEjfSh00SNodRtQMClfBHTnzo/YiVja+lCBWVBIckp1AkvckFhrZJPWwqOroYwfMFQo8AeN/JtVSD6fZAA1nVBz28jFekcwOuUCNjYm0J/HNX69llaUHlKbyFjsOPihuw38+4zGti7+swZxgmEWnMfUnZzFfK+LoRMQjbh/eF4LFviwXpRGFAT5Q6rC66BNpby9en4VW2tCuMGgMjxAJfrhjAh4xHmjQb6KwpBaYuY/YAmtIrvVbsJRLWSri7jr2n1SUfCS5wz++sCM4C/Gm9zaXUj0uAFNV0qMrNwHURUoBWF73q+JRCPU2+K6GtPoa6431KvhScvQBNJhozCfCyldb1tZs/OYSAyll6bn0tV/Tj+5W7Ze26Pzst9mbM+lJibmxrwsbWY0F58J/9u6g9TFNLrzby/5vYJqJRQbQXI+85TR4lIx6yJWQroxtJEdvSytw3d/OWNn1rlIdfWOBXZo+QQaxvfZdhsPVofMnPY1GnM9vVVotTCCA6d5GzIwoGlLjYAzOEfjy51M4YSin3J1iTpnS+30KEsEL10H9ty3xRDe9y8cgJtDNBRpTJfFL9LsfiLc3ic2Wu7IDUBvJ7/1vQz7QkoMcRwUcJy4YfxuA9bSOVn4FRjM0p3cG8qQmBVzJy4gUAdWg5FmMbrlYFiktmK2Yul3M34HVIxW2lW0MUtnxzaX6gcAWyJP115o/bPutfKOXb+s4e+7noaZKNFCSJ3SoMSjAZVEchwwnoAMLXd2Cy+SI9myT1lwgAL8RsqKbZUwpY8ZnpzxySTQKmI2lwtpmrW3H0DdJ6e8cskWWQjbd+TH/R2Z3LcDXOxSfF4obYijSKrohxKcwCchv+fNGwTtJ5LG0evCUYXy5NUpvDPrdT62hE1++fp9Q4iUHRHqLAtBpSy7jLThi8FB5+7ZfKcC7JvtPUXqTbaqN7cZ7bmFBu8fSXGe832a82ex8bcFrqagcL0gM+RUyjx5Lkl4FFXoOKzk9hY0/hsalVATSNxIgILAJpM6dyr+rQrbKxQde5Xr9gySvk3eisDSr4P/UNjoD8SVl9cTb9i2zjT+b/hNtGTYiqFHL/RBNwQwsTRyYBItfVHMMT+zBpjyVC6ReXLWpOkjfGWOvmiHdvLzTjI48wLGRm97c6jUxfokEC3hXy7ggDr+8vHDQNA1LcLVv5vcI0bWuK208CPZjLFq0xxg2TqZqM3OQxWZ1aNh0sAtge43FrWKb1jgDXyD15OQuGw8t80Ll+m5HxLPLOXl+MpFWljBqZJDAFGgr6stkhxmsFomq96xCx7f38VumBSb7OWo2avGq77efCtlP9vf9dZ9khxEd4fahVzmaek67E0Ddq/M1F+b81FmFknss3MzO3+vqouSn9M72OGpJs0LimXim/8GRwTbtTFwDnGkvBv8aTVzF2rpB6c8GJEgZsz4cCljwdGNqp++1NbE8TxGUB8is2d4j24obWP8lLbEWUMfM7QASQCxwU6JQrw7lBAFlGFa9A+bqG3kCf7GWATb9JIoMp6ZFN1ltMER6WCjvwJcbWYjlIG/krHzBIoOgV1WAEuC9uNSj/6Mgk0sodfKL0qSGdVB/JivWTqPxmOd4nfVqZLghmIM9crLYFeGhpN2VPRYFCcCgkzxLX2vaA1Y+awvl91hKnJFY+GO7IJy6XkxtEGxdKRZF+qATihyAYFRMoP5CuwkSe2AVBiXHKjYd5rSoxJeu7EcnT9TjlZjdW+80GoANojMdDcXtg017ezWp/fKTc/Saa32YRJp969WELIMaO9yLNFWe9ZDHMnS/kmzHi73EmcNfyrCQi7SxLgHUTbHiINYyLxoed9B6fYPVYcvClPZGbv03nySZNOvMUozYaCnGOjRKIksba13WmF6g+6+hKTGyqV6gnzcL9iPs4OkAzfHAq08oIj/j+YDHIwZnrXwPdzDoMzMxIdwSmVKbWMID643O3mWKMg4miNM/e7DotdofrbHtqIUNjZWyVKRT5BUtfRyXPp4QX/w6rp+SNrCjuruFzwWcZGGU35xQH2Ep20Kx9N37WIaOYvXgWwb7uYD5Cr/j0fgI+qlel/Ys7MaP84Ke1jokIIodeG7It3HMFra4iF8QIlZBnxnWseIM/eX55239e/dRjt8/AEFcipLDMItm1+IkvJMhqRu9y5qurpL2Nk+6L9CgeOS1sMOfCkvOExE9DcM6Foeh8IVkXEPERuscNMy8l3OlOVDUCpuGMbEQi2GX4quMdZJXOXDMD88fFNFphsxmG/NkSJbdwYXacPPSaiNo8IjHEUYfl8AUGAT9TcEveCIJJfJJ1bWmQZLLwBNkLnzhQcDF71Vi8j3w+TVFA9eD6/8gjj2EN7pzwxJmYCP2ZBdxJ5a7KdF+vCzk6ttqzJlV5/7MnTKRIBMdyesupNQnHZifEuVVEbWGwxzNPdHMYpDUpKkHIVUQGIl+HTxj8Xbp03EW7Oft3u7LqVTz3yx64AmKksjQZGgf5lYx8b3NePIbB8LpEOXeL8VIJETrR7S82fTDaIaQKLgwQoqzv1ANqXQvlPoV53xzueo4jq4YJsXmRu/Qqg03a0UoNSnTM0k3Z3aZz3SjfNk5qRQ6GlVEthlYhBLCYrYjSgy6RRZnleveV+sGOHguArdnf+/bKb83A4rRtAZJ7T67dMujjdNrhLQNw5p/BDmlNG/s1kCzg/6Qof54LKLPznrGodjn2mtgMpuwF0+AJ8XMfy7tQuf79y2KQoB5TpVB4Xzu76emh27xdn2O9sbnwBmEyA/fUWHYPtR5hpOKVpW/rctTnqnPTE1yPO/+hmv0008CWuesN8OhxGlXz7A96DxYrdHCG+AwJ8oHlfvSGhoSq3z8LEm9Tf1VROMcaTc+CpIIfRE/R5IQkp4XaZeZa+YosQquqb49cBZOthxATWukMlCBpS+mXn+Ye/apAHmIitoCr4489aSkDsP7xs/JA/EZUypLxZ9kIvUha0y5QZcOsB98N7tBr/k8y/9kydFBz5DvJnSDLK0/ydEyVEQdyHOuwW35irEtnEw4r2sDia7FMX13UbTCIwqupFmdALRz2GBVXLvS6OIpZzXfmg//kgnhBl9Ilj4plmPd/i7+C4iw6eRey9FPolI3pTuITz3C/Jm7mvgp9WEjPyxL87WdpmVAb2/mh1MwAynv+GxMzJlSNNwxiPeCbSyLHY8IrNYSE/Q+AUvf1E9mIHRRLm5wHVzzNrZkXLI1s+TPb+ZIMzhaDv8HAWj0f52s3TVuzJFI78hY9NcmRZZrvl7tsHrJjQbIOn59yv6e6wVTppBNZ8S3nfVnSftCl03gI3kz2V6OnrQQXdO1tP9YWM6NtO/86mrZ7fYDsjyTSrFX1cJqK2NRbvp5IYpWFAMQtqMTjhGexl9ot3OTdR0zfh4lk2oBu1CyYb3Jv46Hui5R7XgPE+AjtmIKQ367k8BGO6nwUAqUp7JK0RBYZ5ttO906ST/3nJFL0d+IdbkKSkt4z/z903ygscTvprO58AKospx9dNZUyzd/KpzsfaTSijU1DpV/XHGasa5iH7lQWj51oWo473c7CZBOUW9Eje8hyniUAZGl5HnkHa8vSSq2pUtz1SFGCZ8RF674GSpCljSf71zxjIvBHVv5ltnMKpUJkPyyCaESgKAWfwXMY9dD1j84vZlS5TxHL1V8NBLDtdPQsY/gNSF0sWDHwyCzNEmKiHGDCMz0dq+NIXFDzsTcbvIZWGyKf5MFzWA3kAQ2WxdaGaYAIZUhlw5rBdxaixU1+YhwoSVv0QhayEnJ2S8sw9n/MqlOl01djBdjqw8Zt4NvXPSmD5d98t+GyXz/LjqkJQVPFd6g/NV9UBpXrbm7AuNLRQKG7n8NIwsBTvquYv9/1Kkfk6cYga2m/H7//+qTVGIKbhz24ufRGFTeUo3PBr9M8lRBMKzA6HWLi09opUNs+UiFIS1HYzJjkzMytPI7G13cDjTLQAmHWi/sko6aQHXaXMmQZA1YKpAdLCVp0IShyw+8hgw5qY6n7fAes54q3bCbaB87nSqHgU96txRcwkWJQJCK7kZVcJVspFSZIxgPiC1VGuPlrRCWlsae9ZGimF/TvvPRBPV3DKt5ucnMpfcEO1+KY6lgUx6w7SrVOzBEBKrMFyMeLBYaj/ma61igsorfPcsIok2Bo4JfYJ9VZxjRbNRWGLtccJh4H2XUKIUm9smGZ85YJBXzAzeYGcmrXm0EzNnpnCb5z9bBazXfiubXcuBzNT9EAmPC8cMWRl7wvEyI8bMch2Gq8BFsjl/W+p1wkmxpC0/iPm/6gUr4MoDHMclaWa4LVhSOhVFgTLDXyaslHXwj1S0dVkItFJM5dGGpHj+bXs79zKVffBh5Zki+3D4nAeYmbTEoGQH04ND4l4ybZuSW+jboGN44ONSXiaMO01WHylEfUt6U6OChr5kDTNGDRpC3zlz0eadcK66TV+Q4Ehx3iWj+6NC/SU30kc6wqGtLXdT5JOfSh2M/EyBCs3TdMzKIETNYJVVje0Dwx5E9QjF0osfLdcv4RaI+9McmC6vwroWuPv5X6Dn34QezfVjrIZQPNk+1XmjzHY/RQ1uaqcO9flvJdcdQT54w5WyHQdsHFIbjCTeSKx6Jg76cg0Hb8IwV9EDLMKCWwNVlNYruYQOk0EwwQfUULv2GIU/UROtGKxYtrQAyv38ZlMmOKuy3gQS58n+7FnWCi6uFEkX54vlc+l/ycSON47973f8XDLUICdz853+xAGSC8U0fD7DJzydXplNyWMN87N7XA6qfvqXW7ix4NSWOGV/mN62QiL3pHOqSt4vm8dmltd2Vwd+UMaYxCmWN1JIhc6XhWBKRijmV3nWPivW2jNHganQUTX9TRayM7zkO8/sAujT4nVhfoTDTFe7skwqYE3qDtA6tvrbcLaa8PF8DHcM2/rXBi3T4hCzB9XRFwTmya8UeOhAFtqjX9tYJgmDt6B5mM+cj6D/aw44YIzrP/OgXM/ubCKVpzmMQs7ft1YQ7LYiRbphnFee+vYRwKYq4NkeDkgXtGeWUtiu5pS4R/Sc8XqYD/UfBEjyjb2B/OAQYw+Fi5bstqY5Vjh7Y735Noz8WgSoPOreu6lgjtp6FCvD/gKGxf5nZs8LzkRgPbre6p3aMO07Np0E63LmfSdI95Qs0FYUECww0sf0/l+ybFvLdHzfpwko1ZacTUR11Vxka/IRCD8GqISPieDLzSey2jmk9vecrdksgINc9ZR+M5Ydp9c6xXLlTNdNQLDJsahs6ljsUbDlK64QTyXLUsFuYhOYbyeAqsfsypLPyYLMzquhgAC4NgkWZFl7h9N7+ntwKO7Cg3igeNP9hBRe5vsSVITv24X0jYnUFOa2Pi+RZe6QuEUKfMnWMGNdGZU1odC7CJ8osdu5J4UNdETQvns+MhK5WmCkQi1jHzFmOU8DemlyS5mUWvp9DZN09U4nZUrC6shYtbZ94iKLvoZRfzltSgo9CGGeJRg244Mvawi/35+OHauu/RwBgxOfoA4iNZ5BvJfBcR8TBl5xzUvJfZiVrc6aZcF/Ay2+ar6mopt1rifup4CLWbgJrU46h/jsAk0rE2zfxXYTYZZ4YEQamYqX2452XJw7hX+JFPtKt7RSFLnOcdJkIYASBQok9lbEART10NRsI33jsYR8jwZ3jN3gCXZaib0snfo39C/8/GFPTzwdSdEhBobYoqyhgV51WNA02x6Ien5UC3oThTB1J371GUL5qTMY+XjOcksyVV+feJS7V5k6JnSK/C9XJL9E5jKHjNkXV4bWQ7am1Mykkgahb7WRI/yKxUpG68hvkWyB/iBGWukdQciq5mGlRY2e1J3kC6frE21/H+2UzDNZo9VfONnl7xvDii+CtTYk3AdFHyXpDx3BeVZ67Xz+GgO1boybTCa4VBYKe6HEPAZvaQhu3z337+BnVPFow4Vt9Gk/6hKjEJ1gr9oFmp/fnKiELijU4Y1ETvMp0cOFhQ2QeLuqsOq+VrE3vNwdDjtZR3lcFZcxiAVWfn0ivbxqHorpYFGxVCzzNPCQFkkaq4cjB83R3NEGrZhqYQ5H9vTc/J9Myaq+r+NSngJzxogNbOkkQNYsQt2qlgIS0r34nUIT5uV5usLWUPzRAZqoH5a0zz1Y+2omKEPxaaXSLP+noSWOiG0D/jovVdKYd0pJJJba/LuOoKXjOJG+dHrGnp7CxIHBAaGCzI41YiPqEUKZSNeRr9mV8f6zqYh4bSQI3uYYFCNIGsLCTgmSTf8+3nkFs6gMQoWibupDr+dYPG8Py7TsCWvAo0bhf28+m7L9/f90+wHQA8TIqbPB1/+u08ov7xFIxMYBg2NCetWMIFMvuGEU8VTCK8dgh4TCGolFXvHoWvS0fUrLskSTvsLw+IHlVWGwhxRLem/4b0JJrusFK8F13l2s6QdfJGQX/91WVZBBVLC/ZTyMdmvGqalfx9DPDgSmDhTCLTtXD3mv2fjSA+zJl0A2Fctdyhius1vRoG2Cc0OmsodKYjwwwbN8an9FgXDk1gePeETzzXJFeoBTv2FrBwQS2/BAr3fTV+WDb90lgR6qumxww8hUgbXNEc4fVDYAzgiFlFAhfwRMxbWGC14phnHaz4+o3HkKYTBNEkZ1fqaZRgz4l79sDpZbx8Fo2e9K5ntk3gFl0NSe6jMRjGUeST+pO3T/U9BbKpNY6jn4ZcFfvwATKOi1OiZxL0XuiXn7C3nFwwPPTKgB2/A6kgPLICK12D8q4wpuW7Y7zv+aLk0vEkSiKEhX4vdH9B6u3ptEQyK/B/uFgZdpuy87pS3JQqUA0XWLqnxCr3wbdWRaPS2a9YhTlJUgVwzaInKBXf82QsEYZPYgGwtES+a2wcWWeLvmojNwiOr0BodvbDghwOpxSuJ0gklU9W0A8KSiCk0Hjiklu8TCvIUivyZPVwMNN0ie6TGosgInh899tzdeN5leDdfwS7VTshuM59dvHQbuj0+TlG24OfU0chuqXhiF7Ia3faWoqRMWp+HkR7jjG4LDdO7Eqwdk7301w4VbAByovDVXB1sETkldgB8ptyCqibU3L/J4RxQ1GfhzalMqMWJVs9/QTjRRSXT5rAdFqUzuV//yLcSEwMk6w+eitM+pO2UelTV7q3RIOpJQshMMIQiRiJKQyDu0lIiONIOfbzwM7u0s0X+eq3/Lu0mR9XTxhhAEJCgp3bLDLsOfWDwXRaFOheIp7exvu5IcNS8blmdIGCRUEsAGqg/kKzDWPkjEsoOcihwj4X2lG4weuC8CrxHtaPqgD9ztGpM+YZAYrOx34HjjjhXJP42ZFwXgVJ+FEoFf/3lxfTUMGp3a9Unqb9qneTfStVxRzg9uwuGff9vc7uk3AkUZpeAg5vcOIeKQTTFtwTjVAEN2zYWIkTkHMyYKCSnUhGhVd+v+7JqE8XmxYyb6JLksiVY1q8MbKNsNUcnElejGnYwIQiUoxoR7ZTevrftCeNpeLNsoo9EKzVxB1thltrmWfnRkw9wcXvtAZ4ipnsjKNNyC552tAGbOr4Tz+zG2jeuwFhLHrRJs693QHf9EWav3eam3kUZhJJUwFTarGy2IS0lDJMHxjDKA2wYCoIvzVcad1iMVSVDG7mm2FzSUF23S2m5FjEmzgIfgy7sAL3IDBOnvImbRqRMnERqlti4V9NPeTp3Hv1+oGkZzkFyCPYRAwXvPUDKdX9MngiaXKSlqDlytlhUMvsCOjeSS6PDxRdNyitMVdc8gI/Xl7EfRdGCbEnBuUKllP23Q2KwMLeXUjbEmCLCGBq8hv2fbZ2AJw+Aq2YD8rfBz1CWVr+kwRosybprcqH+R+ZybgDyc3lLernjtyI98s22aUrva7kPIgk8XIuL/iQOz0TCTPe2rkV1BVjDV+WNAvVhW5X8mLVfLRFJ++9f5TvK3vA18FbAQ+WZrORTicliKe6NWQRhcqD8LSWphmLKVp2/cyo0IieejGofhonsckmh4oXmw0rwRWeDhfH+g4tg9hSRaqZSfH2UNv6nEOAT2K10TPutx7IMU7eY1mwQz4FGxZ7l511xt+Yax4wiwOCVPR2j0PWJAl68kfPVJPZVTesZEmGYgrUunBaWJ4JbYoJ3ezMcNKTFUKX9plg6UYsKhkJWXg9vBww2Qjl9NhzrVTeiUf7TbD8BcmwG5JR+kGPIFbX4cSG771cXrJUQC5k5MmsJhYOUpQ60PEVpvh/Caj7mM3MMcv+w1y6gbdTVbuKHr9t4RsokX5TfbHIgpoEiTrD9ikY1dMAtcv5bPgoKxfvKANbgmiM4JGA+X/dw2XsRELOIwd7BWsh3N+tO463uMH4oyYAQBLA2icbSOoT/vBp4tc+WSZWLGJLoeMKflMsJJl7PLvdwdQb7j+fz/Se+vnRPWQUzMqJluNR3Ofr1jlhrrM0kFjmiwkzmXc2ByqCLldvTaVS2CX6K2hsBf+Zq+fQHM+n/bx2KZ7c6fgdBjml121ekanlwxeE44SXfem1h0ORI1za7w/+FA/SccHNyQjJVw/vqdF3K7dSL08xpu3U8/ZHJUq36HFxyNYuMEeWV9gq9MuNLgqqnZG3H1kkKpzLQ4B+nXMzIYpJDByuM5ZqV7SVLpm9aPpR81C7h+31AJphpnt4WVV6Cv9HiaIJ90cyGuWVq1x8O+X43II+Pg3l/MB0znDpELFt2AjWh/eX5X6R4qBq4cIbL20Mwn2r3730LecmQ7cpg+j2gL9/bfne6nYO7d3dJMxCaqt79KcxS6LwBuEQ0DSHcd8HktAcpi1l62z0JvzUcBy6QuknusxYFH/Ol4v6HrRtXAg0PFyhb446gmmWzc03//2oRoFI9uEf+RjD/nL/hMP1XjDJEaEujgevfzbWLXsLeXAZ3/7NdlaIaYvEBCbrNTmq+SNh4A0HwzY6z4Wbaqt+YUP3R6JL4CZ7jXPkB37xtWr2ZIjz/xHI+mmaD7TKmGnKMtn7bwBVinbT/UMNuNR64gGPYq25NKNN8BCjrEU24Hv6JFNUryLPFcpRI2zeYO3RfbqYCK0hpzu/ccjHz7zK6CZf+jodfWKcR73Xy+1k7LKCWs6xN0bH7fCjzKFnVg32Cefm2uUa55i02VB6QOFRbeKMYkrkGcoucy5RERxcIdNi0QG+Cg4Ij91WrxRjUhSrCwJVUkJLdWqYA0vGozOntsteGEKXe4dmTZ4DbeiXG6LwpIJ1l1hgoSPbYDEKiwM86YKADvXgtScI6wgAoRBwvb/SCRzZ74QJpqA9P5/1qsMEFfcYagz+yrcw1mplEMr1RvxjbfXDRQ2+1OcVV8NB7toT8Y/jDaR9juNRKQwqOLFrmda38K/LnvJoxrA135GCiXifXl3e9KwHPFaIMHH5GOsnr0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609600" y="1582260"/>
            <a:ext cx="8001000" cy="474234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1752600" y="6477000"/>
            <a:ext cx="136768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latin typeface="Century Gothic" panose="020B0502020202020204" pitchFamily="34" charset="0"/>
              </a:rPr>
              <a:t>Source: Company data</a:t>
            </a:r>
          </a:p>
        </p:txBody>
      </p:sp>
    </p:spTree>
    <p:extLst>
      <p:ext uri="{BB962C8B-B14F-4D97-AF65-F5344CB8AC3E}">
        <p14:creationId xmlns:p14="http://schemas.microsoft.com/office/powerpoint/2010/main" val="3460011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taurant Stock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nvestors are paying a premium for earnings growth at Dunkin, Dominos and Starbucks.</a:t>
            </a:r>
          </a:p>
          <a:p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1564731" y="6477000"/>
            <a:ext cx="232146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latin typeface="Century Gothic" panose="020B0502020202020204" pitchFamily="34" charset="0"/>
              </a:rPr>
              <a:t>Source: Bloomberg, Company information</a:t>
            </a:r>
          </a:p>
        </p:txBody>
      </p:sp>
      <p:sp>
        <p:nvSpPr>
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/e29Lp16KIE5YFVc3JJutLLy/A4roDhdVn2Gi9I3acbOzqtuPOpAkXGbqzgVQPee5kG2NIJjNMRNYVkWxAJXHlwv0LTQWYT3aWa8mvMIuLxQp6XPlI61cpqMOnVHmD2RIJ49E/XFL5abYqYbVp/skequx6LsKhpQy6zGSpBzP8DaS2l0YuxIn4SLvh8hyWaGes4jjgxmk+CcibF5koC8/fEsOPzTthVZ/TcPBTMOiWVOVv31g5jlnNOOv/m+SecsLuJFmz78rCeO4bagDrSs5mg1cSajVrWn8ghJW/wQueTDdXy5ERnLRq5lHxHddXKhP2zEB9qNYU5hFllwfYJnDwHUz4vrLqPXHiN11MPp0JQ5ii4ELc/kq0+epN3XaVisFFnKWw5hNQePIGihs4AaVVfmK+3I1JfqmSA+8jeUVxm/j3f5zUrcNVKOv6FyJO/QylKhsRDrS43tckyTkZuuBu6VjR3WGmqfc8+APTE1YML1FIdxej1Zgu+MO+dbBUA+ryor4CgJmsyseU48ME0U7TcQX7/81z3b/2Csfdan+ebj+QL/xh7HgSw5GhD++RLnxdlnu/qeoEUGu+UkHIQUQvD/ytlfSyV4yoCF7iXoGy8a9Ft2NHsTH8l/fXXyCTD2nckgjWRyvM2FhxVf+mpzmmqlQGMag5hdgNnPE0W8V8hPrH7wR2lxNBqVUEwcuM+XcLVZ7gNPvp2QcH3KFzESnAm9ONUNdEE/YoEQs1NJFX4HXOJJt/PAzPUrL7ugfr8UCWuVFGsXoKxuq0Wtk222LrSVnxtYPLmeVZ+YkThJ8QNQhagE9EELItiL7cIfRy0GDpm7h2SggXjIo5A0KZh3bqT5OmNtvL5hUtShcd4QsfBAI1nRKgD8/kp1ZAOKdW+FMp1maNnIR8CmM8GFqHZi3dfiIgKoM3WzPdujQ2misFUWh1Wnd3s1rjC1wHIibGZDr5RLVpnYyo0j04/+VpWA6uBj4wfxkJgxa0GPWkem4s3zrue9bQDEbgUfMNBf00W7GeaHURTYHh9pjXKlKg34udI/sJCHb1m8hS4552R49wKNidgCkP3jnH9J+7QbNtsSnnzHwZfp1OYL3EdhC4rqXwj/fxZAxOKKaB2FuosN08E7YXu1GykZsJsKPRRtVqtOhoxWy6nlp2NydUDDAbXNN7TPn1BV427dD1WF9FWxTAUV0/QTNynuvKPRNhZit4p6C60qDvs5rcDXOWwUUcAzATe/JYmX+/8C2YTYAn/HdLHgsQpqYNA9P2S7jhFp8n3+gNRuInMUXcl8Z+D3uxYhCY3Mba443dc0oPCKMRRR9Y+ykyac8K8k+C/qs9P2IMwRrXhCx7ZNOfdxatuaQ6sPKbhqEZei2YXFbjuHVcYlUeO8VbJyhkWMB6a1UKd7nv/Ne8OY6/eXZ4yDiJAyxDbl0/I1vrydcerGOAUxMmUt6rVe4fxbY5GOOspe4Q0k2/CPkfNmlcTXdQrid3gLirfkzi42xHE2BN+hgoZzhPphC6yhZUS2Cr9+6QshMSMm00oRQWaD5eX5InhQInlLIWfofCcrMkvsCA/lOkBgPf4TjCXZJ3ANnTk8zWNdK9vYC+G8GqAphGyTRlZ4DDLOa1n+FMhXsml4R6YCkmQs5ihEhqtt6khZFQKrzHZg6opqtHoFYuWxWOZE4oG7O6wHnec9FHpM+nARktWS6dWj3nieaSNxGgrS5dhS4Nh5fE2wJWZRq0SnnQqUCliv8xSClnIR6r9dhkr+Jwv1zBzqMfnaWrUDx1IkHdm0CQsJGEZSyTHSkrEhaY5PY5NI4ngD9e1FXDOHRMhKkpDoezJR9Uh1n2HU9M+THEqKLxIH0jmd0WNSlBM4J+ITGOQfG+Qbs6/+WQWGWnW+CdXZUIQe9gtii44f3Is7oG7aAWTFLQKBvynhJJFzyeLqxdrQGAoH+nmrvbj2BLtJ8GONpA56HOh5iNxgKyCGZDNAcL6jbbdmGv+7XESn8PJDfXEkPzNGv1sE57JsAaqg4e1GdGTryvEnkSEE8lAYM88Yn2UpikoBgoIDkLyhsUXlysfcRusGDeGHgWWm2/ABsRZExbad9J2JeSJ6j/A6dQuSZHFn5wDItJwUCM+dNOp3QHRf05hxiu+tO+Id/gZkcF2pv2Wm2oUTlZt03jL1BvNTM8mEKe0sC8w5BKyySxHl+tthsNIiV8iEJRMoS8N3ep1hJJ+hyZiptMf1XiHX3NzaDabf5SV/qu+duFgyI57OtYT7USf3DN8dFGLM4o11Y3ye2el6MxaTdIev7victlR+0Sw6DOTmBD3rETiwh/CUOrI+sNYb/MRft/FKBJXYjgPqef+0vvSUKj+XQ3lgTSdKW7nsmpiCofWdsqjJrXUW0VxCJ3UkJNmEt2qhTeSY5SZ6Uvv7UB4Ias0pCugXrftxRRxXi73OK3ZgJYbLQl4dwSkCNaXO9Di9TpFtfT8UaGIPf3+druFIC6xUf9MZNUJtDIjpSD/iMDqAv0k1bc2eRJe6Qzi0hf4RfRbzwXAMjOQnLnkd1TlxJtQoC5OTA8IJ4L2QKJNpGA9dF2QzZjYjp+Tv9GDA1AxQZdpSubsgF7GH7mfwyQSZnfGfH5uQ9O8rXnLmga39BG6L5o7yMi9cryZ3SUXwehXpBCkqIepuq7ecAjmEmM1T0d6UaJbCYaQc6ucpKlyOV4xhHq4be4RqPlyD7j0yoyCrZPRJ0nNAFda6WhulfAU/Rf7jsR3BKEgUboyH1yflmNv6BFXmZe2GgShdbbOUtficZT8bSU37V0FWo8Ig2rg8srYSYxk7COX5BtQdtRVOx1Gv8KfWVIBao9S9cf4Zf5oX6Sx1KQxCjbS8T8O3q1n9S2f/c3JHB4aju9RN0rWb4pXz6wPo+gQc3yfqr2GtVw/028AasLm0r+EE9LlSJy4aOKAOFQfnI3d5u79iItkMcglnIZ6VoGDte5ILtVVvQ6B4BHNbpOKnIkQ0CealeZ/dwGxmaXdHzxqZNi20wmn543xmmgC2K7QMg869oOUmIgNnFBS894vojHFys2cnEZrlCJoEN3Tu/D66qEurq2MapQycs566Py77tcbP9pyDeolWpydZiodVp54kYbEw+DjlAr7SK5vbOCNRR5OGQcYztaXbyThGPD9k9Nral9GhOzweLge5QvrlOT0/WCL7+2mO7YpwSlv90WIUTRS3VL2uTbsL5T1Gy5yrbgjWLyh2+SUDEqu+atbX3o5l8ohp3E+am4JQF88if24Gy8GfYDWjLQ6Ci36GEVslrR1h1DXvEwayCUdfanqNdWp+vLaRj0sUsMKEML7rQ8dwg359Bfu8pUyTdvaSN6yFiOXuarMQB6zBYuXvs0apaKLzwshplUUjb3+QUx1j+6aNCFLBWf2gmrjF9203ub76f5LggL0+Ax4aUu3a4OsPgauatp+aHQD94S3MMAu2EZXjNXiu4P8pqY7yhlqL8cSB3M0uA4glXeTdtvRbAUsYSPuOGTGWX4955KsW3x2Mqc7gYCepDf2rRHRkU3qf5D/AtcRipG1uWwYr3MuPD/Dn/57mt453HIbcZegxi2+vdQxS4O6SpEuOLq/ftYaXIUMUf9PKfdQVwck6hUB0CjwW3MlHxqU5Ls+gmIreuhAw6kWgi0VfVjtP1/Lf5gbLXyEoPks2CinnSljcoDtAPW8W2SK4YfPaPw03D6j5pv7OqShN0TAbAqPayHwTuW6lZTxOOICvrdUrL5G8Q4gmCBxPyn/Vyfhe0OsXlBaWatGxjS89IvX1rXTF5Z5KXnXPbi/aFW84HRRifRLPos1MDJu5tlxiwFzKIpDgUh3QtMC7e1b/nY5Z81Df4JZANLV4vvp3Y5GlU0pYOVBhMQ71ypSkC9v594gH0Iu7dsrTLtiTpFYmAebVu0iv2uTl1C475BYfrK2BiB94WZXsupo+6sSBEZG43ga0Aspxwt9psLVD8cq/DINCI4FCcUvAdSzJ0Z22CQyffr5ivFZywhH+46iXHIrJJcxLO0/vvL4V9QrlB3YPaUuL2J7bAjH+sMZjD3qZjvV65A5nu7/0eZ45/m09pEnlh0MqlYveUVezlBdTKsyfzZ6q5H7VROBJLAJqR1fDElI8T0QfuqbxOE5OfD+k10MpHAYTiAEcNGifjsIzxVH3hJ74FJQypR+z3Ukw9udrlfEfzUW5TyfQSMYU+3Pf1/yp6rXDTK5whcjc8sAQBqo5nnBkalOjne2yXjv93tbGAk5/IFKNotJs6n1f1JTcBpAyWFq1oRI8iKkyyLpkYJSadjMnT3r4DBPrJ2yx39q3O2ZUz0jZzzl6jI4SSgrPLhF072DopZXulwJFnDEeT2MVGksqBsTaZYL2Sw/WquCyDBeeC7okXjpIymdrWrdFX2wFxan84R0kMk4wJ92F6SZOBjiZbmLRBajBe0WlQF9V6JYEQtEgshJEIsfOoWh3GJHBKdbIYXsrYeWqIHJdNHXNrIUentyI+PFDJFasQFmP49ST+E/fqEsk8YchK5GlHBE2HDBvbid4Pub35ytVB2iqS/EncxdvnSusIKuhvfJd4jgb2TaKZJwhNRtH/O2F911ZVHr4MJ6oBE+vjUw5963tun+H8Ha7y/F/UKBG+1C0cotM6AvbbsKZlpj7ulY1/JFFEmFgk9ha3WzfBAoQ/1duKPsic3aiRH2Ax6K6+8+V5Fu3uoTLN+s/c+l1eCC2h3Z2m3YSEbf3u3KimnC8+07A0A1+9CHF4HObXZyvM/2rkEzGjRRbxIYan1Xbw62MqPqW3OIAFRn7gAVFGCZdCsjhVts61VTYCwwFHhA/Ev6X4DIxLDLIYHgiOUvywgKcqgbD0nLR4cLK+Yxjpe4ukYSz2vRgL1R0m+L+UeYGTnsDKBI7Iqyzlq65n7IQ8HOEabtxvsFz/QROCirxTtcd0RVYkTiTAeB9SamB509sdPXCWJjdP9AMOiFZbs/3XlqJbz7OXX8yQV3Qs0UlWDGqAlGHrdEvIiGjwsEIcj1B2+HSai/A5nC6UGh0XjV/0J+Wqd1yfrYG3S38Xl7hZAki7jKCtWIzurk3fSz12JverApAux4ILMUJL8Z0waNeYxO/XuJ0LVHo8/81Ugd/9EGsrkwIRWSgx9Nxz5xPvJatZPMnJBWaUAeoGY/vEckM3K9KPg5qEXKkuDme+HlbEM3MgayEkjL8YdU1OsIC2MYtUZ+cP5HOR9h3VagPAa0Hhi3pUqlNrC/bemtmz/JoKhLhJ7WuGh7bDRoN12E/FhKnpngUjEcCSb50Z1ApZSOKBrUA9N19tUeyf20a5uVT7JtBxqhln5z1XfiZfsanoj2EzhhvZxpoUFM0cMmNFpEX7yiOfylcgwbxtSbzJkn4RWATuHjmkcOsJFBBX2qa3Fbplfv6OkX1x8xDqsdKHjq5NHwjAqBrT9CVJO30pPa3odWh0i+PXxacgdYneEpE+i0dCoRX9W8Fm4RAt4V4F/BLW+Nw7xNAia7pFN3KYofyoKsGRXUhJu2ZHIFLpdyPmAufYk+PVnNA0CT1jye55s8sa/MUIPCtuEliOSNMtwYjkwFPKkDXL+2p+wS0kL1Da4DadK4/88x1SWz46GUAIgTRsEP8l+iJfGyd4tbVeR+SNZGyWqCCDNpiLjOWPBqXgec41ETm+824NefXOPJfYyqReezRRfgTDdUiVrVW3TOEi7lLjdXHUf+PpFBcaHQfvF5Xiqg+uM8I5h4ktTPTUH+89V6QKOtxj5OTkLO2Fvn3sqJUuD0hGinV5oYlYzIoSkxWTN7Vt8XMTxOe9BYFIucelZ/mHC1fv0PrjnW7hJgnmrhYVtAkyUw8iwBqeSvUXlrcWI8F0EfJllZ1IwE0tY+QGwoHG4c0qD5UeccuZr6DO8XATojSmvJU5c0PhtzKGsxxi+6J0vjqR/sN4IhK/tXkm24wZN0gqdkEMJmvqC28kqw2ih+8eyimGRCF6pwWTeN4/wlyMNPK7OlQNio994a728qkD7SttbaHNj5KheJLJrHsORE8ehfrPbH55r69afIXGW5bS5tYGCff9jPcnukHS66SCNdPWiVkJA8UxfgEySVuKVdOP2LuxuAOR3vH0C5LBXdWZmaWEAGlrM7P1LwD9noLOmFVZa11mv1du4tIDhK8duUOEPBEb+SOEn2nuv3oIvXv82fCrjmeSNJfqLKlEwMch612wG/dvja34exXu0SyvzWFfF2t2hR7ciUmWlDLxPwPj2Oo4hEliIjq0vA2sR/mpz+pFPWSUONgl5u8yhzsvofFm2tba571SfBuPH/QqJQGMoKwK6ssrIdoVIWJn1RrUcffeuT7cFSYgO8vXkDx3ypHh3Hsy/lf4BJM7jr2GLXYZ+s6UcGyD1UmidcaNmSXT8+ftApnUvBczF+yrIOqx6oBflsSMtBa9RiO6/KOPa0b1HB6dpU3Qo9W/iTo50mfMfv+IhPT/nOIW6hCSGatDIEsd3qiYZOBzBgEB/NdMXgXTQsEvKwqklCNsyrSeuabwZeOFmz/yc3/i6ybu9ten3/LksUIpn31a6sHcHGHUz1IxgeKk00OQGc3HdVDMKTtxJ4qSBeXR3b/hcujNpvx3+YeRCR/7qB+pZa6ERS6u1nLxX9i36ARw6m/yxq57XQyBzCYo6KfX/dyfCMYlrj41zGNNUSl7GDCjdQvEMLOqDiT4IwtY/2equxx7cZ5sza7oXo8wZMPdb0LTM/OlE9x++TBaPtg7B9/j0j0n7ByAQ2mEnEG5b3Bj52UhS3hMCpAtqQ46SxWRTv/of69/2fMaAXaDlAqtvXKT8eOhJ6ZslT4WzH23dHuxGh1W9j25Itji8qd4Zf4AbLRZ7hoDiFEiru2tHBa2aXBWvhUAFqXL/MyUB7+TxwJP556T7U68BYVL6xzqos78+sLtq2sRGwvhDvZNWvOTqZ+qm+aOfHJ3dfZV/0heXlcCWjsGpZ5NUMQ0FoLQspg3ltyAVBEf2/VSzb9Lsoq8zLuEsvYY9Lyfmbbtf8oW0El2iqGLtQEVj61PwxMsnO94Hc2R99GHJoeek/gIVk9bdroz1tw8iily2oIpnfX7NN9JWIvul1zmfyuXmC2FlleAeI3EEJrQMcffurqfqPzvG2P9YgGq1VJG4V4++N64udH60EAX/GRRs8UuOSNXCwTt4s7G0zBnNuoAqwhIkaPjrNnDF5CKkJIwL8Q17uDB/40RbgNjMn0Denaqi7+z1UogsAkY8jdxmvlIWB5RlrFltK0/DdfSo3lkel0NDcKEIVoKv5PFT62pZ/bJGxHOayOYfn1YjrcAt0boS8iLADv9oITl8OYvcOpeH/owTjcvDPLyjLm3rmB5Atq1495Km+eq6z1PRI0QkFd6OeYUllzYB3BAgq1+2PIFVPQddwg4w1678YZ/2IY/mMlZZYRFli4cuORVBgCbxnsfqTGRk4M1h1WJkfe/XHtbA1eGQFMwI6ZdD0ab35oNOAXf6Ha6iyNkhic3qc4nGIzOlbgrFdLs6eEx6Ktm6sgCfFylbvgl5omXEw9XSg0XRV8TR4P6IZsOs9/GD+Uij2u03MvLqopN647gT9i6BOFH9xAl/G4QX5f1+g4yRTlIB5b0W5OYy0byo/nfkb4HGZPCIUxLGj1DIn8M7zNeWX8bfdz5krCZP92wpWCoRFSEr0RjSwv7W2Y1LMw1y3PZAspoMYv048A72hAaWBsApCxp7imeYiNcWu2Vx1DsuDULyUG3ooPVQ5dg/zZOrU0JzOf5U3w1rRRZaLBNQYpmo26a796JWHCrn7Sf3pHfQ41OX3i+C+35oXbPt2gH6mCzO+7f97Sn5V2hMkJT71ERXUKl7vIpVGJAzQNqkiyC7wQx9yQPc4hamFaxJLvWJFMQpRb9+o/nWVHPJ2urRgygOG2N6hxlg/XPC2/HItc9jsnZkHtBA5ewcfH1FiZ6ZD0VcTS/+sFbtLoOiex3I6Bwx9mRXl2WChCoNwpCnP4TwGr1gDFSlmoHXgOhluHS2Us6OgEpR+TD/kBdAmMxIgeWvj+dWCnVuoW+8ojxgqZoGzGJnsHDmIr1+ohHU0zHGLmYypJrsxM546k8w2sPz+MF52xmnfPpiOMd6NNX5V6u2z/WHSw2yqF/x527SiApQGz4bNxkOIaG+dMb+6fgJXsgbEm68Sz/BIsp+kThtI4q1lWNVj9tsLoSNXeZsm5rDm8PgR7asGzpybmRYchBiY/EcVwzNijwH0haoRuSGkwlZ34r+ImQJo8vEEBiN0tDNZHFPwDDQMiFCMSExSEruDr3PF3osnb3FuASY8vXRSCbezFZdDhpCQApR1U/FugZfE6dzDGPFSjHgmsGEr/ZXuNtU15n+BmeMmnmuGov7wdADwYUyR1gH2+ZZM/rHAwjkEJFYUbH0dle6mvIeLptB0MAik56oOZjS0zULGP77KaGhcZfkyp97RPQbJ9OsbHU47/NW8aZP/XHp6rsBimcFk9jDtVriWe51UqB7zwKHv3jW40NiabE67qm8iSxFEBa5Ov/IdjEkifqiHTINUTsyPdb06YnJoU3p/tFMjlR+XPYw/If/RPBTgUU868bmb0psizLLf/e3PEXWdLBB64OwMxzBzluY85oCO+ruWVoH3jO4hFPD3jw802y1/OoC5T0HDr/kC+5GEvRfvXKJBZjRqXMdR+CCxeuLKerDAWysmbSmFk3ce4q30+cF8EE6unCS2/L8YX5bhQcR2jjMYtjKt7zKokV2fwAlZJF0Zli5CiXKAzrPBQpC+zcI0QUcr+AeByYoavAoY/fzwZnrD8jezj/zi5FqXjdkEICped4ZmVN7TTqj0exigKTTYPykC5x3K5H+bSOFuuSrz6ceIvRFKztrH7MHYEzUhp2FwSw5EIVZpb2nKnlXXbXRQ9snSMNhGQEcqQ1/xyHB1GyjOFXf2ZgRBUj31KYi79KhXL5ewm6cNeYxe+9SHfS7wenTfMqvbmV5+Yyj+S9dnz38tFJ7UpxSMuXrMdWKQact6sS8XWfpItxiRSQtJjA+XBiJLtcUT0n2kogmhPhj0wBznp5g9YLBfGA+4vFcsP2NbLnWp2CdrZyLvv4po6DUVeZWDh4yFVYp/PXabgewvzWCkELstgA0NU6fefFNdzCvbJd6dhVtKQ3vu++yzl8y0INlulcdCL3cq3+FAZJUj0kcZuSursp/Lo2YPyPxPolMUPwggonZxvkLMGFXyCnQgcjD+kiKnVfELjmfyfiIFuaApXBK1kxGwBTz37KC9kcHsxZR5EST87hwzyMntlAeaSFfRY/l/KAppphlcYJbYNfmTXqD8bWwr8yclVj7KUmCZ92+xdawSSZSx+O1ZuDELJQvElAgub44nmvcyPdJ7W7rPJKgG538NzW+sg1DvHYi+cF0T4Sp9GxTpg5+EUG6FmsYgzmPaMILazZJHFwjqRR57FKQmgxlnTLXaACD0lkQSM2ISlRkMNSvem//72R3RSONS/8uzYmEc29Lb41jq6Qq7gOzrLE5A9xeYZD9StRrZQSsodHsUwvmi7QwfDn7qwHPv2ddgYmWAilcTYD1b3pPvkrKWK2jNADklOex/ZdIb32jFMwLFutZ5UN9vLtDUT+Li0EvMx3s091Nycw2Ncyu4Ahx7AZFxObyunRfdPV2eHw47NIplXKn9y0D02XCsKFLOexQgf1hWNW2q96w/rRCnyX6z0iaPjjLHYNmXTRV0hMaJBibxns26HpouYwSKUsSELZvxAejM0Y1y0HosGF9yXU11JHxmOEUgyvhqzfEJnnPtJN0Ref/i3oo45Al1yorMfViVocZzUH8BI2nzwcQLKWnlr9GRl7ceXr5tjbX5yEZ9uXD8Q9OmR6i9Kz8lFWgH6vLkjVIXiXtQV4pD4y4jM3DtkI3tuExGkSW6Ol9qgw4Quz01xGhHHybHPC5XyXui9+PSJsls99bWT7QeGuGel7IKaCRhU1C8wS5BRLQbh6buPLVhD306euaSHUTEjU2DgF+5Aiys4RZg/ZERK+Q8yXkI1s+6x6bdV0RPKanknmC1teQjR7CWpuQsdwEU1rIh83JtaGBcPI86qAlpr+IwiiVv378WRWian0ePB2hLCXbpwp3M0bhghoo40BI1q9GVUMJxLU0MohD8pgfqA/ojwIr/Ky26RyThwnZrfJ7YtSfc+k3jNE3Zggi9OJz2bZQQh3A0r6W7RH8qKwLmDCzSCPwsVKZKXi87hnocCzNidE57qx5kwU7KwPlX7etaHDbFtANj1hTwU/6RL5h5SrOaiUd4RM6IuCAcuwztIVEhK0GGNAqXWKJ/sB0nR5E5ifyn1hl2dZNkiv3OldwWpQmCATOxdEuvt6xKs9eNZRmZaFlmrwLobZrkzO4YTYKJAdoyqKECiRkr5mhgPVZ6kvNxhBA8a2QpmzLyB/Gv8cy2cA87aR7qHew6EwVwM3dfD5xjzO/NCo49TWHA6PxwiKxVddO1yhV6JfKi9cx0yUZD8TtSqF6JlcGdSlH7Xlz0kIVXlGffI3557LxtnUoZ16kotqaqYDeWMugBh+9bvRhC++0nf3BC9k3FInI29S7XMn5fPPApB5VM1u9z7t/ZkQ5mpKxXpxOMxVb9tj/Me50z72NGxW0pwiaoc7iImADtjmOfSKeYTUm/pNPj1UcYUMLC8fjtFdukvn/s4wvjgYm/P/QvdwJWzQ9g6UhJaQ6bIVPa+/I6ql6NgGsZo+QHFsZj73T5ilzmTPuQ7639duo6R/e4skE2FBBUECOpsesbl0D2WMO5sPvMyaYkjNFA7a+jhCau/0y/Q1WjpCiOylkUW4Ms3gsIt9UFVXKCYSz1fQBKIz4H4fCUBJPc5r935LY/D9DFsDevBy/fcwgNKeShHm7y9stdU993+Y00RsxT7ktgQT3CDP4tjw+2ioDsN++lcIUxRWC5elQ8X4aBQq/FvpcfX1zyLnT/q4iVrdvO7yOJPBe1UzhJefFuQM6K7iXKgDxTeLJW2N8o4ev0PcU6AvUoTDqomHLcZWw8ziL8KvQNCQtkJKOee4F9/Lg5ZBfw+fexp8OJ1ajMfBzKsYtW/oOJd9d4wjxrqD8SFwnl7ZHWi2Cgi1ohjdLHZEIvbVVbTxn/77Kqbe8bVL/WMJiAfjClubY5U6lc0A1GgWazgId8ULQ1CbgL/na8UsLyfC8CJGsG4MXvNR5mSdK3WxEWqec4XS8O+MytMaQgi0pcmMvPpMzjPQiEOmpjpg4tErU18xmTLqxzPhDxzxKFkooZDuJwOOJ+aWwV0YEPJy9VvoP1jTWsucRn3iDVVk2LLnN0I8DxWPYHHA2eofnlZx4OsPel6Q0ikx7dAobPcA/EgTzflK3tXdv/CEiHpZUIVS0VZoALKGBFhMkKJqC3w+wFCSjiOqphg4JGYlG7OUA7LFWK1m6HTQF9Y69qNVbjomM4slC38e33/yNY1B2jQigkzpok8ar1dws8ifjXaETncUeVKQQJnuIDzf64AHd8kLmkBPcLfUw9FYacC1ExB6RSK2vwC4WYEsL6CLVTlZnsjhk7c5kfTe39t/oyj5tz0M0yozRgFqzj8GwhSEUpI93shpWiEpg8n1feDcwSR8m4+I+s1HkkSdFLso3amisF/uLczkNdeqXW3yZWeHJDnJDQ5T86AOu4a2sgQadWrQWor7oSBz0SVIluXRfX00xgulpLwHWpVK01V5lOoMwWnaFC3v96qHTJWV8riYzTr9+RGBTQha6bd/92iHyfZoBpdjHOAZtgAaDHCUvA/0D42D+kFUWTfrNmGycUW55gNBQ+QtDPlqQwvOv7uuYUHyko+komPOdV+ozIJuxi7pk8+J+lZPN6FVCnAIeFmqt8nJEtEZq79V8g1tgkGLCCuGbt2tENB0OcALt4CL2gUZpzFa35hA2DOUicULZOs0qhTL1MLkCb81K9i847itIABU1nOIvL07/jWA/cLPusGlyeNVf9M2/beFUIGTSF2BG5TTwFL5fhTojdp/d9RQny0DK8XzOBS7XV2KOdFuq0l37DaevE0wEFwNwhWIBaa3xa8bUvK3GD2fBh527PUvwK7bhZ9Tw5KDBTorj3fwUlVGe+vRLYdBiPgrr2d2JNwH7faOcCxTp3Xq3m7idVRfsWhrymL/kf2VE79f+0XxuKgrQzgCHRv2r9E6UEHj602zYTsarZeYk89BTi2ySLQuqNcMy+ni+G5GmYSB+ySlVGf5joLDd7BZlkjVX3xUKN7eFCYrG6pu7z/a+m4dcNtIkn0GvkaeWfN+2hKa4e+6cJlbS4DsSIWjCRcWwgzIj1ZSmV6Hof9jAA3D7xQNUIrZYnW0jeQE/pKDtVuY/DNd5Ie6WqOLWgPUn8bfWliko0xvRMm6VspDDwg+hmaAXRRZhqSmCwC4wUgCVuZQp7AOPEgL6+wucyZ4Vxj/rPhiJ9cJHlKl4T7CVf3FsDCK198L8jwi0Ik2WEGSHdfB+xvMyD8jjqVh1X/6bA/4d71jYRviukUYZcFsihq6/d71SjrvMFFpKNtX/AXv/shqYgc+uk1JvffEhIKEhbhDr0g7CTpbWNC4T4gGkTnzydinTN0hRc1sX1U2FTNoOEh/3ygeaQr397P1ZXtZtpl+5cmPCN/1hgiq27eSdmpPFg9IQvSgx+y3rMoai4rkvSVW14ASc6mZgouqqvZ33Kwp8IM52mmeTba2TiTC6janKrmmxnpJD925+PanhZ6kVVjRtJhANw2sa1GCZTdmeNUwgRf7xPhdSnQ680t+Vfhn2Eg4hvw5aiSWsyX2zDGwvhIci9395DoaPeReaeuUi3xxotSRKR0MyG5R60dNM9DsbgtLv/KM+GZGlFugovxEz0JKk3p/0eQo2crXve5Ft4Uvxv8vGXmEXbj72x5VYuc/ZXN67Z1w2l7L+vPR5W3pb/OGP6Ii438FdpqTb1XE6G05/oAWsMSv6hZ1JCDmurtLC+wbC2M+daEI6zk8VtFkQJRbxmy66roHLvSqH0oLApDZNyjLoyzZ4nkzcSycpXqaK3wRqtu2rGm0vIJfuPEm99MgZYM5cvqEBG+hkmgZOI4mdsx9spU+V8oxesJa97HQ7e0CM3voiZ+MpuF4NQVOJW4WoDod57yUCizlo9DheWzQJOW4GRt44Uq3KHdyQYefNudGL6HyDxCgW0bXPLM0qUWKfuR7yMSJjMeyT0f4QjxBOGIXELEdCQ9MUCZ6BSuxus9ZfcX/X9ynpKsB3xQugm+Aux7vi7jVLDMjU99mwaQbNUFH1tU61i0tqxM0TKvSbEaq7nwFhueF5pg+iOvWUNU358Z+90FlQmLXyTTwRIAByELlJJdBraZMLlaxUN9GuPOagU08qz9UYqxIqBFjdhtt1HBm65Nzw6JaL8xMeIy8TXEZdy+ENex1lMuGl9j/EkEzPKMMDyLvpGUfiuU1rdQfypFBXAwTKCYeti8lHD4Z7oMcjrhL38ff8S82Rny9PE62lFxakQBY22TnD226P/l17AniG82iiAwqq7gKtz4CoKvWHiPgy6GprGw2fO97ElktRkmLrFbp2EmBvuspmd6VXHFfmzPFk1TGQwA5eHECcNLztETqmMmFuFnAfat4hZsIUObG+JSCCklxXkyumUnhnkrgOe8I66AZSKb7CM45c2ufbvUNOdMQtRsd477CyyKD9YZszv3mAR1gtC8yybrgf9foEfMbIIt1+nShOzkRac3JfD5/OVbHVQvd4t2A/8g7Dcy32dyqweiUx0BPvFxvwSt+74hxfOS9rrvXdsq+PrT2hN43axPlDqo7d6sw8aLrc3d05/zug6LNDnkaZR9rtn9kRdFjzAd0q+VPwNe+kIvB5Qt0LwxJdkiQVvg5U7pbLwEBEn1evsBKLtAymXPpKsEwhy3jWKAqXIt/RQ9ebYxx8roJ4WuotVbyukgP53wBazdquQTdZrkGdh/Xlz3MDdSuiLglhuCFQUcLnhxr1FlEoCGx/LCmqT9/Tk4hyMDxLDRhgq/YQh5RB/IvN4hm53RnXJb8f+H3ivDFWk9wAZRzKWCbn/KZyk7hzLBl+oNCpE4LM43sKlY5eLJ/FkamgdpW9rFYNCu1t85Bx7SSkBsfq9dCmPl691seLcOeWFJeY8kXVPQugv5kSa6OKFxK4t6VrRwzIwl4y6bi2ztxsS7XUFf1iq7RC9JXDnguTskFK3swyGtGnQNij/US8SWj4Vl8DdJzJ7+PcRFXqbQH+KChINcRoMPAKpIdeI68cV3ws7e3JNjD0fCrLdMONVOfZHWdUU7dsdImYPUvGMy8SL/eNmTHPqBZL9bmOLeb2AU3bQLPG+sigfWLk4rQEZKAVh/DFsBYvWt6iXCJCcv3+OG/88ekxJLypdQrWISLuPIBNhnevgRNHZSHd+aLyVG4Saz6krsDlfcdrY9qKag/ptGN1cxcF72c3pJvVVLgIVRbMQNTc+v4A+vVYcYj+iMebKZ3UCda736nxROui/FtksF/z1GTz+Cb1k8oFeSgunBjtUZ1zXJHnmorRaztAd0FOU/Phr9a/7stDQTh127brta6Pkinh4W1lmr9Ag6KXRffIc/SR8wHVKQDGUPKgV2dV3LLWLkCQbueMO8qViPoAH5RmPVsiH6109rYwuttesaWZ53nOF4o0b4SPxYX6lKqzXfO2asMxhHzjAAiHTOc4wQm8WAUccXuxyXlGdVpBw8A0DZbA82krh2kvshPMmQS4hW3ax9I9gfizlEqeBv4Vt14Lyk8DFUkB5ny/UPGt6ue9R5lFfC+jd8cily+YdJhjP78jkaD0GivUQKQU8S+YtT/Ph3FRPoY8+/1nfvXWRIgXAppKRd6tXphTD8vvNc57VjWJjWRkMd7PyfsyojmboQW2PhoehwvxbxUS/wURkp/UNgYJTiD6qHv2O2GChDVM1bCRdTW2whQJLEsUNwmS3VlujA0E7R1KYL+4p4VszeN8nf5QYp/Etsldi0CeK4Lv4w+up3l8Xa2rg4gk45V0KChQLn23TqrykF8V6RSFnrf4ejP+uLUO2AuFWp4xgu/pLGwnzHZ9B9AVwvj04q+48Ia+iFOBTEalIOPS3cuvN2Rx5H4uue7sWoEsG1D0EaINHFA4SpbpQKQP42aIFwY+GgoSmjE/9VHKh2hvGU3TGTbNNxFSmSiUDISCJfWP5BKcCneFUpSkOvIfDI/+lnI8sZAF5uns3+MmErk/HP4iMQLQAcQnEgRMXbIlv86kT6Q0whKEsT3AwtI5RFwLy55Wel/4HkNIOoNTHlnJ3OU3IEa9DMkIzB3tFH/nbGIRF3WZwIH6J/94VLqbDe5/hSbtb7YKXBLNwlCqVkw7y8YcrQ6PJoIpvws1I3k237p9nPp6v256G04wZ5ltbaL3oFQ7EcG669Il9HLdlf7lo4wnUDKHAV5YyrQ7fwcxRo2ZPzEO12KST/eexWG6HO0zmdSQLjFSU97tdEAXfH6qjWW5JtBVxCdhQhUpIMb+Emkzvl/oXnlIpq0TsByle+MuEqdCcic+b5kMIuHz3jCfpMHOvZVjqiFQubsej/k5nCC63VuBuSURwIzNSM23PRGvgcbgIaWnbeiIsWY4787ghJURcBvNHj22G0DRoZ06rGn5rzZ7ssV1tEYUPGfIkq5zBwrQw2xonuzBnst6ahtSN54uNv4aKeA1trywC8A/iNunDFGhSqvL9DdGKU8VoGTvxpq9reWOFGyFdG2k4PkHE4yUXfU8qjCqUNUymS9BVFiyIkX5+OokD0QkWf1NCYvNkcydu/9+m3OTH1Yfe8/LoW7JJdiuAUHXITEovqcVNXfR92vKaAQ63oz8mDiOzGipLvYRmDETFvOy3agO+k5uhEjF8HBEpXK+sfXidtINwRfMpMfDZW6pcSksJOXhhaiUAlXi7eFd2kIK34TOtHG9GWtkGTgNVyEjTMk3FNoZ8f2i1B68oO0l/WH8HL8JcU1KwzlpRFvMpbtUFl4pEF1Br/2LY90e1RVXZFTR40wTBodFY8s1jvwvT4u6pPrKeWF1fLwGvwwrTvzGTzTbLeUlqrMHPswuZBDxu8N5Ki0IvfTiEo+smi3oOE2bhLc2x5+dzh2m7PuOgMWISLxYNvWB0dNhuu2Yo45XDfdwi4YL3ZRlg9NCDbFQobCaEdbbJh2hut4FlEVx/JivD060frMOW0Qnt0PruChLTOWSbddAAuDg/tiaMM6vMheidW65jakzpqUjm8SzXnKCKh09JBtiH5FWXpc+GamrZ1hGAO703UeYpMkLjyWQWs8MJGVQ1eZahIro+7njwFn2EhJA8XhmZiEy8VXJfqGy4/+Ho5HcG+0az7obHA76Y2NoVcU/2xYieDjwnsHdanN4l5evdqKBYpjKM99gigMMcamb7rpO1wcYq4eMDnfqjxq3rGWHm+syfyCRuaRQZ5HxWvWtIYEJnxMrcxcJ0esFlDbjFCL2ObK40pvr96fckoR4Eh27VOfPCbP3c00jTmgr+WEDikzDqHbF6O/Jt9cq7b1EVXeBarN18v9dGD0MGqnROPFjuVZQCda/tmdeKcpO+76ttthPmPMk/8OpTaTHME1HedKDRjzzaLYZ66bwv2/UdRhXVacoGAwSqretXfMfyhE9EWluYD+QgviMjBqjC6LmYnXBpeG+RjUlElyGyUjCZ0vFXtmNrcw+57HMLY7HqcdvAiZRZEfl/KwD0mnHMSPxKDJayKKi+aegEQpef9xkUDNya+UCDRj4pJ6KINQweHXSwsKmcSesZWmxI+8g95gOw9A/nTcvWAuEGgBrhTbOmwXVc2YYYpr3e/6Dngo2qgSvhkeayMv68Wl2QNnt0YQrkiF3yn47Oe6TNBN71/PkubYoZaiVZvsavNyEzSd+Ko1WIXpdJibW6A32+1fVPw5dtWMtXCpnpunQTAVJ5vvE52q2BQcS0GuB9MTknhHL3fUxPCqFvJ74GvbSzbzAjKPfCopYzq99WJzsdz+wjX+z4WoXxoy8YJRYchVGXqlXlhHHGy3iqAaQXIGFQIDa40M3VG+TEX5zmb82Y/K4kd6ereY9kjK+BOYJuTvsnM4/O5HTdtyS+QFWlMkIEq9sRPypRHeVXyBxj+NhDO1d8+qOuGCiZWQOnlMyYwvqw4Ju5H7tZPg2l271uJvA1IRzuxH286xOOsMKPFTP6rfIbryGqUFoshro9H3IKOv/Gb3RDI2X+mHWbr9coTDe3bIsRXBDO7QNteO6Q33jpA+RGhdESuj3LtX6HYAWT1nOCUE68SdTZzyZ0EYui4YjmoJezEFiZlPw9i4L8B3EP3irFAfXaJ2XxjMrV8tVc9nX1JKkIFOCHNDgq6xPIcsgIiNtPEAiyBDYIy+OzDPLG3l7RX3eLVfpWFIbI7Q5gPAXegP35W2OkdXy2uvJusm6prDIEfUWlAFSwfMhk+ht2d7KJV+gwbk4pmgUfoajPXYOaEp3qFCMRWs18tS3TnYwyywazbch1brVv/etNqmKNL8xpY5eaVbTtP6veq5F5YrMZrpshNhRzoeCZkX9vfXoilcgKq6N7RIUq5h1mFRb7t5u88OAp9envNh9o4CMRj6vgV+FQlXGVSvW4oRFmOgms8QdoMQMQ9DrQhfh4oLWESGFAvmPPnp52YZWLgzCIJrkYfNRC2/41Dr3H/WWkpQ4UQw9RXMtdjDXxK67vhiga6xE14LKbQEiAIMcn5OL9Lf46QrDIVsO5xkkgyvzO2QaJUYq+aJaYmrMjqOXtg1u/IlF0i15rqdgtyZemzf4uTPqJ3f2rZ++nDyd/gbnGuSQiLjGbvt2I1W1Z10mM1zHPnt3HIuzoxo9MrjnxLPbQwmiBMKmuC79/xFmfomxBmY3fEIMrIOnZu95J0Ta1HTGvoBQgA8fTYbqqR72/MN8gCjzeVdzCVeHG3GuXAEOlwv88EYOmxdE5ojfUMBXVXxFr5tpQMkuku4+bwA/jcV31ym+vP47ROeyBnUTkrDGPXVlhd0ceF4DxSti4XSquem3O5HJYXlBGU6itLrv4ilKQLkCAUJS9utT4R5pTTBhA+fkIBNAIFswIFTI+EKE1GGXO23L7SiUqADY42gzszuezqnA+SPkx8ULd/3qjg+ZH7T5Z4rFP/eIngEDzNHxppflhaEKE4X7M27AvNCW5Tk94j+bCjJhScpHwk2KFBweUj4UB7xoR4d3Jtte2byBKQ0e7+a8G7mK5WwrVCMOpOHAli/vQWt2wi24H5py4+CyZV0cfXhr/LNTiSp0jaj3uoFW3W2K5hddh8P7LbMba91fiEiglvwW52tkM/a/Np3FDJm9L0xizfUFGke5YDt7nJGrhjdReKUeRVMEFm/K6+qGvuersBmC0yzOqSiCQVxG1aUJxwbJ4Xa5+XFxc4so0mqPoyKzKWXrKZRGA2+HKMaA5lvK/SufMs1B2u4Yy/tgxXkjO/oEyn1PGkGL2+4SRKxaCy8XnvNppLGJ/mg6GQG9VdRJf4auNvdX7WqipCx9koQkDjfa1LPMG+LNZZoDZ8/dzFOxc0nJ6TSuJjjlmZqTZRyZElGfALaBm/6smjn/MEm8JiNR4zcCPYFno70tdhT0Rqu0jTUIEtGzQldqwfoAnQeYQ51YJNV35DQ11OMuPXmfTi+RcM1Ukovkq9Qm5hMpyMlLqguBmnOZdEpzYEmpjtSsTuzRZxbBj5dDnUoxR5MLEsUO9T7PAfYCE9Cbc8NSwsAbRvNFrXHLrM1bCDP4A/O893p0B8ZH72eqo422N5G4NvsfLx12JATKA0lIElPklYTgN98se6DPe92IYABU1cSh+lhuOW83ubRL0066WMi6aSeXVrSdCh0Kj5yFRCwgZMFVgdCd1WwjTirkr+1ePLt2lcT+aE02m69H/znvkXIO/AaAkp+xwPfor6ttOpuvGOqY+a5gyt3dv6cpU4r7Uv+mn2S7+ZgJkpZh/u0D77NU5eami01eZZemAwkvp+wfuqB/7O8+ImuxxmF6Ic1lYuTN8khcx9b+L9TAN9GsRe6/jnCxx3X3RdPQT9QG1yEI3/6W03DUX4KI4p7Faq2ukLzlP/ZlMV3qwXy602q/TS6tjSUKf65GLHM8ighmwrVmX+pTPTyGdR8TkHHGDqbRyRnVNGSvdJAvFDWK7NRmO4BZKPiJXKXkSgmwNvfyy+Rs4hC675Pxm50eoGKyObdkSuaI2d3Up0kS1zA+QguGo3lLYWPeQo51sS2+eDn2r6GRZogN/OLnCUsAjyOMd/1I0J7LFOm1Nc/QremQPpOIXRCxqwqHt1ju8eoXsjjR+WvxVc7v1ZK75Xt6V62VG0wa/NeBcYKkyl1ld0a4+u7xC4HL9VTB2FbwLyPXDom8uQb5PwS50C2eBKEJz9JA6LGSXrl89HvxC7A2WvWrStgchjVsmG94mRXzV9Nbfn2hmfarOTU7KnkupL0a7rkQuU1th8QV0hDEcDGWAt1OW5vsuvIx+OJXOcE8qvsIJVa40tYqdyz/uhxhGjTDZCSSdAswqDG1gB+956Dz84Tss3uRkzdbbVPhAK2hZWUM529s7Ahg2PhCuXwTNzgy7uVrXixTDsrKVo1zq2wKdK0I752NDwt1YTprKUIIMEqCuLaDjtFdyH3BXoDjUcX37N1yfpUvkI0vV+ttTFHmSxsvzTksTy4UuM02Kthy3gkZZYBqqI2SB/Ego5zHTSO+RLdP66Dsb/atL1xHzBM1fLpBcZqZGnj7j8XCEsPHOyOAY0z/KJdTmSoTUsUIeVDhRDItBJMQcXoCW1eTb+e+GD1dXu6lhy2aAG254Ddamd7m7AzA5mgTPOpAfJ2qM4dGs5gyD9FCOysfh15mcamWc2UPjyS3+mkn8PWPy0mKCiXXgGdvuLChG7aybrhF2ulyP/l5mgTF7xcZDRU9I+8XAmcW3R71L99linQ8qEstpPIfsf3DL1FXMp1FFXcp5lGmDb543HSQUZpPqn97eiz1EmjxF0YdjtIdjJdyW5Igp2RZiuiVzXs7FlR3Fe+/pT0rjqOhbTL465eRmOgMQHwyxJvBtqLcfIgG52uHkBUz2exMSCs4B1J1Jpvu1Gf2520kt0bGqSMJae7Pvd8hyX5kRXeIdRYU8cmmf5lOudfKKZw1ssexaAQRMXgwAgeAUlpbax/m5yzYXSLkixIE50YkW1m9PyWJ+7faEZnOVKR2Q3yhzpGFeNxLdKQawCjYORe62GGblllAKgrF7eOqlnFCvzWUV/XTb36zPBJl3Y2fhR+WJGBa5hgWQ/t+ZQUE3mDf9HYUFlhBQwCW53ybTK7zosfJ/1pVTfdBXhMkaMkgSUGBrmw1oKpJajN8z4sIg4ti8io6mDBWkymm0bIYEm9Og7i9fcOaadtld614joFtfOTDqqDiK58w3IhITW66t0tQQvSYeDOWyX+anaW8417eAs0wX8iZjl+tItQsaD60Re3zg6HBTFea3afhPEWwre/DUWMh5orgJvdTaNv7lnvygkb+MjS6ohGm0XfStheS3yOPLsnciZi4c4pES5I88qKXKqY4QxTDUeXqSC+rxYM0y+yVDAJLg+0JHfVPxy1eombIrpoBlWqbi/05u6uBpzpoieHJW6H7Hg6wfd3R0+XY5jJjMrpjLOg6zL9mbIeCnmQ8K8HkU90TlYQfNLR3CZQ5aTgXUKPnq9Njg8vhELANFjWiRDzmfLkUO+AC+c0aoVU2F01pAZSCoHp49APoQdvNyg+cL+xUcRMy2b9X7PKOWKZZRky/zDCoIdjue+chNTdD1gNHm92tddEULKmAiHBL/Z7S2KKluNFtjXayRwJT+lXUuYytzm4S2OSxKOOOU+zLrVr1W4DUsteZSgeBBFrBNtcqe4Br2geRgDPvd9MhafoiLilPvzVoI+bAzcTOPF2PbE02LsXSnLF3oILA8Aa29vlSHw3FgoNDgRzh8JveBYUsyd1FFVQ5Mp80uzCGQBB2nvdwPdUFtSayod0Kok1OLmnPor0vuaE/Uqkl0bDaNG15Hy+yVOQ/ZX3lXUkj6S/Fci98FdVqPr+htkxRhyxjAG9ZwZSA5MkZdHGiH11HI85zwFaeDqdd5avOeqILFw/jFHHGkPuVVCBcXLQg5ON65B8ukKMOhY6RM2z5ntK7U8mS2C9uSXVsH+CBrM3iAiGFVU4symM3hY7dY282HiB0KgjUshkaFmbmPveGG62/LryF3VrhzpfRX0GRP4JXgRCT8eEvBPMFaSTOTWDLVpM7ncx0LZe9GzjC07mQWGR/rpymY5IMKfo7XSOPfNu2Q1YIkkr/o4BbjH+hp5hfwN5DmX4X3gQ4CD1snvUp2gaRmzsdc8P9xMmWiKSfbxvVagEvXDvRB4eD8XGg8HNmsktY7BG7dba8lO2iOhpTNHnNPnuSvJ9RPrpoBVTSpSedysQE8yUNMG/AdkRmfK4pQPFw7MY1yT6Q0/IufDzVhtI47wRtGFqNSTjXNAuloknVoHNWvcGdiPEe8e4ACLlCs1dC5saAsd28SnRYyv2Bv6bwT/ZJMMV9GTBSHBeTgnv3jZdKZ7f6SF59qvrkk/S2pDtdp7WwI2gybWvcvtqP8xB7TtgYbKheCrxzkZ8gwiCUryhZFpn43hqkr0GmgMmfjnsYCTtqvUs0dAwupKIKwlmGrhogjfmk5DbD/KJj9trST3RmGdlQT3k4Ddxr8sggI4ZbPFVMzT9k8O49NXt92VjcP6PDyAglXDPiP/JilptiHrApIaXkyA7OHhIJkJzF1GtFXPvMKYr8Sg2CFiqwPBYh6KY0idMSkuFl8aTEdYL66uofOm11yDSEer6VVDeYRz9FNstQ+XJJQogFa9Sg63KKLuUtDrwT0pllDxmPZea4dhHF5pW948Xl9WV6xYkUj7Ob45p91u75O9cgmOnnejGkvnPNbBwdciE2WAQ+jkBquJshTA6SdLKhDXWp/ZX6aSTxNgDB1BaMoDh1dXvRvdxs0U8Dfe9OA6Lzw8I2m1Nk37LAv0Rv9gSJOZL9QWBq1rHALyuc4Sagvu0rCfYOwLqN/c6u4YfsoGTAcGolCbl8P6d2ab0/dTpjMY/FMVAcPDjv5XG7CWrI/a9EGKGi2Ak18Aa80F3xGPUwLElQlhckFQPrDisc/mSz06TYBQVSICnOrZ53wGP4x6yFy9+V89LEN69sURq8eVOZAzQXkMSy62ZomanE7myIH8hwjrnOhdbW0gH6vSl0LxIyoApWlMWkIWh4BEQXIFehkKsnfHRk+7it3IxJk9prQ3vgTIrnhz8snvpsizs9zuuy8rC3+3SAMwN2DnmATVyjyUP8XcZarUoyU5MRI1cF+0FRA6JiulTz8ozgTeldA1zhOn0SUYdsP21j77qD2cMU/NnxqOGgyveILXqNMGPdAtwekkYBVU9hCk4mURcf4lIAy327bz1HoSt0zlM1Mrnr+V9JNyActMllK5XnBW0SaWymxEPXGh+GF/ZyoutDCukSonJ8fzRtUaauWHQIgX/j8wejOoVBkHriqVezLQKk7NuHSq4jehCFtnQdOeMYP0yuYkqlTmujJOKqT0vXA3//R6LWC40wxCXRqzWFIvQxKttxVXk+5LuN+IY7iJxUV5f6/szb/85BhwE9YUdZtWIIIJihgmticUILU/C5FI+9JW6NIIrhksXPRRhmolQSfagI+cyGl/G7xnkF9viboGxpNsELASUomCiTIRr3l7EB6ke557cxaiM2vmXG+9UCdPriOtmo3HGFhX8Ry0cdEfNiYyhJvH3Rhzm7PzHQlWCOxCG/JJYs/pmIcC6ObIlQYYT5sSQeJeXGpacQ3S/vnN7Jgmeh1ft5pLypK+jSm9dzPNynoDQERLPeEQOGfZLUeTa0CGEckGz/knMg/bjzhkKp4DI6PBxz5FXCgSRa1zdeelzjH3ivbwr1LuXOTye8ZEiDjHzqxIdC9eRq39gmmG6tq2QKjXzzlf4iBAtNG33q/V12JshbTt5Z7WfjmL/GzMIS7pvI1jHODNzHD+x26jpntzr20aH5QVWxGyizw0PpnSut+4BSX3d9tySAKibybgp49CbkmwRo045ujz4obly0+Pr3ybJNayLy3OKaqLH5dVYg68gX/jbv9m9v8axTNuiyGOstG4gIRslaBN/mllGJSesqiyjv9Knaa7cqCO0Sq9WF3ICwOpuFoPUnh4o9XLhBou2XLw4DBHOKbNfGquhPHZPhvFzvTcd/Y9zQBKxNu/gUfv4OkUO1PHWVp/YW+iJLrx9e7/SjwuuLDXrfOTqsdX71VkNnWFxEvLT2p0LYkt8XijuucZPM2nyuaV2fLbcZBsbwIJbgFGTjXR5Gs98W1kzrga7uJxMelbuQ3zyLVhPAnenRy89LcqfbuwZPEnGH23glOziuDiLu4jkhc8okbRxaHpKCRGXSdzqc8gQRF5/3hEe12bnVLn8NHxshkoNY2g1qnhE+yislTIfeaPLNwbjxokKmgSLr7a6YotcwyVbpE0kZvfww2VoQJ4EdeuRTOyALtHL51/wDzwp5Hnhp2moO6UHw02mSbMcoDPdkhSvxF3iIMPpmxKOvoob3qyiSFFNa7r18aGo3pSCIFvBgClmibfw8l/1IEpvUVbIwFAsqZ3oOkV8L84pSAdq3qzDcGNlFpmwTDaQvn9fKs5N1dNkyVOCZd3Yt/N0g3t+oIx1QVoazDRzSnPQGlT2bZYufRQZs3Kalq4rL8qmpPMmx3mfj3fvIh120glBxc6jPefWtrVd65g7b3R9ap/6o5CKY/AG1T+xDggjPma6O9PnYFkheysRP5GEJwJxKB+c4moGGlasiH9/61mlEpMJErUVo7WgFDzkKchjmH265A16VusyUWgD6EwDMrYqsG1UvUVyYhuu7plRKH9PRBepEIAY0fao3M5NuwtYbQ9QwPg+PCbTwIJSFBT0qdKyH18NonmkwPCuKwiPwmXRpmD5vh/szoHzLWKDz1mo93QfTYO2injOff+hZqSscfTHrQGnl/a2C9eh9YrIHEkC7WidZCHsuFfaisLGQuaixP7+IfwO/SY92yM9kbgUAw7BhdiPHyi+Z5Z/QaC0as8eKsxkXSaxG3bWwN2jKpOrxd2BG2z4z/MFTCImyxI93TkVctNv2CSu0s/xsBCyrp1W3jKYYob0zZ20UxSxebGuihllug44w/FPTbrvxBAry85nj6JvI4W0v41nqvmDu5wgCZtPfk7SrR44+lb/JR3VGWr3MnPL0uldpCQ9Ayxtp5Q4tUNtGDUrFPWL+9EgmckHQz4yTySQuSR4IPD4QsD0nYZ8zkM1xj81bcNNlHQxvBGtFyMoKqcqzZbL0JH33OSssNMonTFhilMFxGbJ40qBaALumBs7CjgUwPh6Z7jZ5zkjQ7UYz5+thNlaamQ95vuFhvpZZwSF+0VGVtVS9RUtEVJ+TeLHShFHFjP8AMIilXtqcg42FKLZE759khyw7Im+WUKHjv/M9Wu2ZhupprGtZXz2hCtEHCn8HG6ZLF11TEv8Zf0a4yNsg2oysrXHBp+poRpS6SYGAGVYJS1YP+gd7SEsTVfWkpt9HlHLw+DA9LHWUOReVYmpBduUwZSA8EHPOZ9vxpkM5/Lo3jj1yY7Hrv/t3S3yiCOwScOfFBZGYYCru6y2pQTIWVYrwSwCHUMLw97WCB2KmKHJTnWN2dkD7d6cLmjONajeVJOBjh3piFPAgDxE2CIu+60ymlXxnmhlycYl8GpsGr27AR1UcRMpLoU0FT/IksW5vzQaKpiwD23Wl0LvUSzcVGdF34e39dLAepsGnedYYBCzNQd6UKViE8vrNmrpmdTnjAvVkuAMkT0/sFH/TuzgbhRoyrvBEviDcsO32o17Jk3c9Q1v1UgnZDw3KBN8JLDDTTi4vkT23RIhkHeOUfgEJoavdjLSHwJ6Jz25JtyhmfdXjn3n8NXFeIfpXyNVrAJHzlokSOiKaHlf5bKceqWxrA3KRYHAg/N+4yD+Gem6n8RDB9mbc6FjKjImKes8ESUtB+aP+Iqra2v1aGsMdnGEdtPLCTidAR1BCxK5v3ZxXrz9O/myuQ0lLxDi7vHYVIJbxr6uBwD+T2d+ACmgMG/DevrLrNK2MSqcnWnFdmdcb0vbYOKvFJgihZM4FDAFrFl1dd3BR7M2om5nmnFNFLksdki2M5Xrt/0czBMQiSlisuy5D8/zrzIrSAR/hyqzaC7y26jgMmzQNU2LHs8XVBzsm0fdljdaD971zK8kSrgegadjlds2Lrz8xEJKvTwc5kXi0GSJFljcMnvQItsr15gIpMXI0UiNpZBJi9913KDCa4T4NfFcHaHAl/Vv6/oKEQUM92ImPnGUYMFE0L4g2IEmqFePi/G8cTlR4m1gvL+XGvaB9uJLP4lwwVPBpQCyJov+F+VOmmiEAMrNP7YWrHU3WCCpUOiJ0TqPLGq3Upc73NYEKa/QQxurvRRVQQHyu5c43WMgtoCv4+U7SJA/0VHdYaSgaoaYL1ak6GNfYNr7TDS1gCkGbxxmfqgDerUus0635vSDeCGMQ9uVUQ6Z64g2F3PlJSyGgJk+BilPkMezneixFAqwqjivKmvb78epxPsjDapfBSmmW7aSKhSevkLcfsMBh0svzZytqy0v5nkeuk4kq45QUwVLxc2GoR3DCkPxEn9xsjvNIyUcbYrLEgqSqeXF4SrW8cCd5HY+KhRq7X72+AQCGnjA+sFcZbbKIgPMIUYpZ97AypjA14T75z6R065ukRksDb7Yf/7JaDSs9VduIAwBDbv57VYy5yTQMF3nxqXgjLj5kNEb+DJHZb0WNUie5W6ObHXzzJRy9ichhSt4bTRimWZOrEswxEmkoJtVFPCxcQlHk/zGHnuZfTOr6BZ6xYXYhqOEiWbfPmF7p4eNZjr2V4q0GVPcAzToQzg77EVZcGfAOSsEy3Zr5XOhzwgyigw2836HacrU6OGnGBa/mFTR396XHOScpaJsYcGmeWblkrlP3CxB7goEXwmqmD9k8r7YnfjM5b9tTYWZ47PRDF39/F5GvKgf+zpkjJjQDz8Cy/H7WfpQjabxFrJJtkax++UmovJZENSz9d+Lx5ddoYmP/1YudWrjtneVx/eFDL89g0W1lnOd0+Fe4f8ugYNfTakHYuJ1FITgDZArGfHpIYs4uG4HIEml5hiKd0nC/dDbMNI1osVB0Y0f0b0b80cR8dcaYoFdmtVjc1QbZfqv6wytGxsuvVDJ4f9Xz87K8Weha+aPZ8+pgdKU9FgYcMkJ9DjuKowlZEAG/MWfWD8cjXnYbhrP30ZNWTRlvmNaR5z4gvFLfa3Y2QFr/hMRB0DdqoYnHfDJtfL6Fi43dydRUQzhirrJytv+GaF24N2SthjCWiAVw87rdZRrbjye8yBPfvpx+9nFowLFmRmAmj3KjD59aZeNkghFViUR6SNzM395AlbZLW9nNlXvyfsnr+oCvCWYnRR24+M4X2i7xynyrb2Tyv7IuHnSClcIn0qvEdCZhSBI4vHm6Gf3XkBHyiz/8Ap+NrioxKLGrmGR6Sc/ER9hqeugoCrX3X3Zwn5iKX84zXU4u+yrroT6mjpMV8poBCZVKu8ilvqQWLrLvvIUqgW45TC3sKs38kFC6cCyPZEHg9pxWeIIj47QT8vhoqX4NqGBQ2rG1EDs4QtQo/exiavGsb0J2THf/uWZG5UycyaURRIzFkxRgapf87II+MXqNMN1aSfDkKstOPql4YOH87wlHqqfOg+h9ugXDi9lN3ehNdXTEyA8c1Uj/sHae4wgBZ7AyCpnNprP6yyK/VULDtTdd8F/DamCuexBs11RYEh790ZjFW3qYBFibyZAtm0a6wGk7DBY4Tyz7YD1TmWPMwQfe/e0gi3wE7E+4ILkkwUPLZKj7B6rFShwgQQ1Whdi3TXzliuA7ewwINcMttkgayhOnA3+HBfdLY9WaS8KaibNsNL0CI579XBHZBl1FBnltveGU0BTm2pEkt0T8rwq7aujg9eJyDI9e5L/91X2J0DJN4k6ndQbm6R+IlaDI9juaePGRIuPaFW6v7kBKYnFHthjQ4gRvBOq2fRng8ns7XTHWBadtKN5RxPLW/3hvqGtqMuqX7AQIf6n1HkD11D3t62FND9LFeGzh/S0fFF2emvDYUN/kvuQ2xLNMdInHK8uYHYWkCdeOGy2c5fzgY9z+Lsv7rJHY4Pf5Mv2BTgvTexybuq6B46kbseG1b4aRS7PMynMICJVdrrevuJ7ZlB0Pic8x4rKUrN38hGjdYvZmKCUGpJZ+PzWB3WX5MBFEzTqEEodPz0KYZirEWjbuNAQQ6q2r+5o0M11RDGD2neYeGitDyL2R/oTop9gyu8zRv+bmXMQAdWxOkrJFSyqV/I+tgm/JD0MdvCbuOvBkU47/HtchLY4Vcyc5LYI6trU+Sa6aOe0strB383r5zodTH/jL6qO7gN2jHi+9vCks3Ebhw2IsRQDSFxqy3jts6SEihU7qjvC4FtUifyG5L4oyVONL5tPdY7GsC9FqwStDHKVUDMLoiUDusBpb1zbStHoY3WnlzUyAI32ubTYLAiDawsAOTEfqgAWfY1nsQLqPzQg9iHaVRuht+dJyflN8miDbF7t1Von/JyVL6hcObQYesWcFKSSiRYDBvcd5HKS/1uf1X9LTGDPppF9CisbdmajT0E6XH+5kZBDfFGIZgM6RCtNhujlZJbGO/9JL+kUS7B5uWuO8ClGsZ8lBlBVadXuZQOc4y5G79HZxp/upX4tb99nFsnyBF+45uxeAZza7Yak93LR1CTus5nTfllzxdeulqTV9VjQRUvD8hfMA/cAM2jv6kCAUDtrPJ6PO45TCMrypJa5UpPxA752BBv6wQm2baHtrrId8Fysi09rigjHYSrORiHWGLGmv58K55wLfK8PKORTFwuoDWiqxOgkMKdysiNdms2Fb3En02ha8Mi9ecXORVcBw7gC4f87x/Ou8nBQ7+tpAbVTuyySyslo6aAgD+drSpkgJjaRTEGSVylVW3WTC1lasUsUxqRrtnHAjPMqrwkshA/Olw8z1GcEKxiQBikP3Xk87VkaCsOdY/Le/sKF9WcvkBSFPqvC+yqYLJ1vHBaMTge/fTMrNAUgQLz5S+TPvHqdGyMTefYYbMd3QA8UcIG4lr08h6o+M0eMViNf/03Mrm1xZ1buC5XzQiXpz5OlCyt3y9xGHt2DLPcONtwFqXc3bCj+EBrBRzke3QIhk27IN4m+FAlRYBJfmcPYklanMCmLlKEyAp+0JBjGOBuguNZVhRskpU6rN2L6uYMg+FZXRwEcojxIHAIAiyBHk7grg3Y3OCFgeAoOp1Cke8ZSi0dM00umOVzt4OUsV49ZDwxqbOK5DGtPdKcRhBlzRQlpOSD1ME4GICWqXk9n4BtBmRE+kUcCdpT4whEmW8vytOONZ65A/LYgKguRnfQdN6fR01CMO3Q46Vj/a36fZfhvBN+XSLf+JvVMI+hQSJgU67nB9Ki8u6qwBSnV9wdeUI0zik7kt+2gdzPuSF0JdypyrOiD+LqBGtrd3nmQ0745ukrK1PNLBlKOUC0vVF3c7nJqcyUeTUxhYzThyc4pirJHVf/5FXWHnSW5IMu0mhBb6OR0GEbBv3cPP4zm2+o+FUs914C6VDte9h5hU9Pi/eqWNNsf4Rgu9X7aj6Ftczm/pDOs9WVJQ7Ngm79KulqLcOVEZZNptyoRoqqAy3Q9IRBucedqwBqSwZQ2r3mK6PJbrgoOO93Qon2E7jZDLCV5qDZLo6BvPw129uMaOmIU5G6MqaISaTj80iP6VLUvLGZ5ZepPhIXN0JHC5nMlfLkZPa/109m/d4Ecpixw1xyrGvr8f13aQ/jAsC8mHpWPKdCyClsDrfu0jXeP7+RVHgfSvjGNyQHYY2xY2h9oP977gY7B9i7Bur3TuVg8LrDnbeh0zfD67RtrKo5mXagQ1Vhz/yTyV/WZoLjnHcj+BXdnfZz3e8SuomjBhXCEHjBvrPnBm28qxBiG/PW5mb7MiAvnBDigSBhg9hqdgvM4fN7ws4eEsdS5iRS5f7aLH51X5CkyUp2yQ9WiD/PLLnIMi7FPUiFb5QEszW2He4H0ecRXLgeiF4CLWbOGbwlC/iyZi8rI34TYM6PmXOm/e0fhjHGBAR0/Hdd+JFG401SDAPJ2j0nmIyFA5OI2lwh+8A3WoSnMHaXNzRGBiSiRCurH0lBmkTHwmVqAv7Jgqr7qmr1i+Wt03RP+U3Pg9EStjInmmbs5PRMtf8MlrSf6x59iont9DN8pw6hKKCiLPJDgeXyGa2wzjLsPCrMMLG3Unc/RDlJOcjEsumhr9gd8ZmaB/x5m68elljD54DH4AvZpCQb76tpNWAjQxmFE9GfRpxBOwx3D9kBjVUNn/vURfA86LKQWUuxNIjMMgTdJ7Ev0+bBal1Gr2OhhowjywzOclFRy7fXMPq4BDFO1qhtc3yq82ZQqheSXqnydmFiJuKlKVUeOVsP0UW9hTZtDSjBfQlJJSBtjtC0dx962lR97vLfXpqXf9Tq8tIi3zr27YgrYlXrjwU3ojp+8XagP0R+s5WIRloDdEni7l0jFZlo6WZMqS/kD5JJmhANQ4sxTFwG27KIMtsptE8J8DiCacECC0w14gzzJ/Ib66mShiwyBSwZuKVhNMoqpw0TreEgwiXK/c/rS3Vb+OFgjJkZ4JABrVJFzKbDHvhxK2mmSAPVgvRwy228ADcVXjv10zMLWChTh6o5D8p54nhiNhC76d/9tm3ylhYmrs78feb1LP3+xf6WZSJf/zsLausxCGbvtVe5xCo3F8nKmOPx/g4SNXigx1Y6NvwSM5i4xPO96JitpuIpwiK10wkq168Tz7Ycrzpfs7krCmr76ocVSJbEd8pTKayfX1jUYTQggyMfk3R1beUBVpyjJZRTV9YsFUAkaANf8okX7fIyDLjmdHaf4vZC2AIb/DmJUH3+4TkeVljI/5HtqyFJao0+UxbKQLcqvp9EtiCMgarW+60mQG6gEF3HXmubtDsCHiK5g1L3rVU2JjacKWL0I3m9xFfsg1wrTs2sAjI8SngfpHBM5QMBh9DMs6L5gQFriC3RYhfPEZ5+FHjRU+hUqn48ysDGid/IlQmU93IGi6oIW0VdnrbnrZRrCICAcG1m+gbU82Z/WfukziwHS8iE6LOF1UxpnS/g1UDjEqU2j11xXmrLrlKK7PckWnzPnb79jYzY4xjLJbIHHdcRiNys8HVmBYXK5Vk/4SmOfyYgo4MVH8lLLPNqbqARlTSFWmQdMwGBps6ZQRX5JbNavVg/8j+SIDjCND874ddjgXxvcSlbae9zm7UaU2fpQA9RAvxWPkV9QrsVHAyFjZgdx0IqCNdvKU2hoS5rLAu73Q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751402" y="1894910"/>
            <a:ext cx="7859198" cy="4658290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707138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.S. Branded Spirits Growth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pirit brands above the line have been able to increase prices.  The bourbon brand, Woodford Reserve has been particularly successful. </a:t>
            </a:r>
          </a:p>
          <a:p>
            <a:endParaRPr lang="en-US" dirty="0"/>
          </a:p>
        </p:txBody>
      </p:sp>
      <p:sp>
        <p:nvSpPr>
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/e29Lp16KIE5YFVc3JJutLLy/A4roDhdVn2Gi9I3acbOzqtuPOpAkXGbqzgVQPee5kG2NIJjNMRNYVkWxAJXHuDZKBm/i4l7nX3TJjtfzkaeyNLBK5yheevXhvEi/A4KdYJ5zelGAh02Ybk9o2EhV3TPjntPcI6OjvzoVr3LZY/U1oJGvAwcE3awE26RzqZv27hyyg1Vr8b5q1xGq7qUQoYdAy/lauC3Iy2r78SA/kwcjIXgVewosyHfZdmgknE+Z2lRKgqC9m2/ryekF42wzCQN9wzoGVyewEkxsTPHWKtI8gpMDNg+gfEZ2bHmycGBUs9dapGonZFmjKEqG8UQbKDwQKWWeDP4negsOdO8ctdxU58QUiOqwoFysY8A0psjGQP4XPc0nS/oomVVU1zaFqkwxRxo4sycp+cVyKWfKBcdSkSktnzCJH9ziYTAjPSIYPfHwzTFpNsw53Wha4gPc7FopcOG5GlSC3rlcvFv0QMoAGpDOMWCQl46UzUD7CmoDBsZsaJ+DIySdRWASFiDnDoxslprtvKpqeXl0INMDIiPgXwKzpoO9z2QbJRC2YPTLTzxcNpmJV2hTndqlUWbh5S5P5cG77snCDLYGCT4jLz5duMiNZvlDeaSq9VwfpKYHEfMMRzITmGHVQWDwT4o2boJ5O7JtzcfgHWwY82IFQqYknjX795QQ8jIVEMVBLZe2I4FC7EhFmlyIBsbGPNTPSkwwlzb50q4euPj8990X7HdvGH3zf/gSVbtQUfkpnWr5yNPptmN/TkShY3LZpAJRGKI/la78pI9YizOdpM8QDydPd6qsmnmBxbHqdc1Zrt9lfxivGgZUWxk+A5lOHNNA2kekXVJNF6PQfdkyvlLfP/p9Lv5sr7SIssckLqMd8o1yj/Zo70zW85UHdFmuS2SbyrX5aGJVMYgzTzsOModHySg8maX4cp48Pq98cZ5uP56+uIxeJGPBLAtibWHMgvpFu2NGuTTZLf7U8Rw7JvKGoS/yaqM7F647BJ4yt2yOY3yLO/Di3Spvr0rvj5k5w9JwSSboaoBsuFWAj6I3TkkbxPVlqXx9d6G12a3fXbi/6a9gCN098V3rvWFaP9/qm1gRFslncOurm+rGw5vGzWoq1aIgvSC3ov7Eg7LY2gSBc6l0nA/ZsGot1W/36q13oE18BA+clhy17gYV+BoBg9YUUXpcfmFPDS2kDEFz0vifd+rvvCIQld2lYUIIQTaOpIo/dX7L32Gh6qbIxH4GYmp6702K6btnHwt6Pj58A0EBARhoybOvWhX46+HFvN8eiWwN0jx6vU/FlYrXVs84M+7ZKpD2KhgTeN4hIcvpO3851or5XNIDd7MQQ13oIsX51bI/Es1TMR59iJ8gwTF55Z/TvIxtQfWqQCGctV9AnCxAFG+5I99hu5e7QhpgKzIp94bAj4VsvdYpphDVmwvKyfgZ8cGg8oniELDvEnQEohOj/SwpiikJwwXUBG5i9qUKG6ZI02ODW38+SZmm2fdvTMr1MZ6t4ZJKN4dBT4fDERc85nnralD7+6hC195VW12Xj8eIb+ZfmQfpgHaBbHzzUt+1Txga0wVDLaxygrUQHl0nGLFknYYJeuJWAEpIl+mWxR5lcJmkT2iG4FEEmIDxmc7wHDANRi+DYYxkAQF/+uraT29lN5Zi9ptIpZ0NG2pskI3W/9TgGfyQWCWR99pJeS9T5X4UKaR83dlTFlWWqjWCjiwbV+D220DPCjyJNY7+SOCrbe4Q1l/z4fqWahz7QqYIIEhgBCmFZ1FFD4ruiKasyb0wNmVf9zaaNfJoOWq4aK2gluRuw7gBOL2RZFUxjQxYPr75Zp7qilTHe6q9ShgXV8xAxruc046uAnYHTCZt5FUB3WuVXw52jp9TTcrRfFWMV9IV3zix3UBgpkZWFWKwX2nuElIdJ/O3wIyVlw/YQcmsaAMTUs9V2voCRhBR0s6kgvUIOghdz6Ku5pjniglXbKs3bWb0WgjCDx7p6Wbu0l1hYwTYV+3FMHo7h6HeSTQCBjZNxp7WT/qHMj6HX5EkoJHjokuIcO97dS9/ktZEqv2tDJJaWYIh1yeEia0qlLOUqxz67BhXuwvrxhKQSJ8ofs07TTW8n6qbxA6UfCCqNgPGXbSZmnzC9LJ3SB8myxm/cuAUpJeSWEL/8w2VG4Hbq6dH9cSe4ZtB070trO5GcQBpE7YXkY5xwZyzlhjKSU6xO1Z5nsPFpZFybyc+ighOcWSW+6PfcG54Flv/wlSu9+vEjSqa9b6MPSz1VnOHIhS9WPzhEzu3/MhVWRq+PVazEnzo10pSQUgq81rvFGZL8n1r4TVaxg86vlRu5moHqfF5ov84jVyv2xQPXMeKcuTL36iWD4/r4oRAlOLwF6SKTaL6IaInIovfndK0c/HtrTfFG+KrZT1idmT6tPLCBbveVo5/xjoBav5czfkWJGDZWVvVtyABo3TPsYq0UnD/7oC8+7HOZ9txLOqHZC7tSSmR9S/LXPhRs5KDtzBmoQSBJZOizstpGBwciOMqz4qQEECzcnkueqBzEk9g/kFIDn2UtvKqLfQtsLqMkOTc/PI0LH5YkZv0+1Sh62tv9HgtxgkJo7DosNCqSJrl96NI5ZMRXTNUcL1kGYPny8QRxl9ZvfLMpYMKWWN+FRry5KheVegiqd2SZQgUc5J/rBtHmyMPAARcoIYK9eq3+Vjzs4fuZOb36cyhg0yL9OV6+NlBoOyKkc5hhZYrM44HhN7cZPvt8QErlJln+eZJNrsU4x4jKvmit6gieL1w5ltscgHDfpdkPWfAtNTqKc0qgEAGpguhQ/1/IEjovbSQdUXjUask//h3ohc764NAtbjqE9BEvA5QZ2V1peAB+84y63vxqBCmuplrbUi97ww2xrj0D2fopQMUy4y1cqpJSdSjwiPZ7Hisc575VTYLvK6JjiX1Yq7n4YtKhTPYN5u+QLae7pFKXz+6J/KoYqDEq8eB+7J7eJeNhFJ75uNFhPhHD/0Rvtkn5kQCjw/oPr0ci06unUNr2+F+5MOrnsh3EtjgxIlADAlryVkXfUvyQlOb7zLNt7E+WEHSAAH/almUi0z5OJhPB9Q0poRwOqGpkkB4JrFTRZa5Cb18GTxpNkmZXsP7tnd+C1d/B3Nr4fSwYryF9OK07ORoMRf1C8nMMi0use0f/5HLXGiE2xO7ZpXwRscTsqSl7viHiRBYmrr081tLY337+6d2Mlh2L6dcKBHESf1jxFbAE2ozH0Zcrl0lzUPXsGfQ9aIeQy5lvfyITcZxMNxKJ0mwMOed+0BgvB5ZtHuWIty6H2y4ZwsTL4Vr8KUfD0wqFLMaTCsUbNXrTF3kZYLoJXO7hjXELpQcUeta1jRU8flEvqqBnaDwcWojzem5PEYeR6Bjd5oz5HLZO1DyWaEdWO8RFA2MLlFHGV62sHvoTy+hNPRxZVKrUm/c3EmsrJAGTqyP3FK50oH2BcTT46INy5dZeUSzypC5QYLQz0AZZnnpMwh8F0UyOaFiI7p753jhiSOU00zmnOomr9ICOjFXqpfZG7xdJwFefDwfiEK6tmldq2m/vsZkCmF6+x2YajpAuXfwbsGrPR4ssaUlGNm6Gsi2HBHbeSgBkD3J4BYeJuDuPOvAjXRZabuxkBONlDAPyah12atCw2bALuj+vzB5FV7dKQ9bL5E2DNaM5HuEplWD6IVoFFjbyiV4fUiVEnLHRabVwm7py6NdmvZ9c8XjX9tfYuLsrPDcAAamxhR3CG3qEXsMUgkDNFXxfdxmdyGzjXa5mFC8LWoH17zBJFQkneAosPnZttnoBSItyqxe76x9lBGVlzgfpBL70hRukPCVoInEjcdiBVivDqRfMqVMIdKgi/MtIJ7/xNKMxvkPY0mkEUIi7Z0aTYadLe16j+nQXGXccaV7Rt6VSAfHGQSlugOdhEv5Iyy2CKVc3rXsDZtJc1N4cK1j3hLfl+nALTPWKmRdZe6xBWEQPO573Rgiu2x4ZfXWnx8VA1dAagxzrp6gogoHSjIkchpQ1PPxDbF9DqGHB5eOo9V+7FmmHSIYf2XdaxAzL1R32rzdrl+dSpmr38Gr3UE2luG/+QpcNUeyzYPy7VurcMXmbaS8hGwwJbKF41ksNthlgtJAGVLPpt831EvTS9Gzs/yCrq7iuyERb90nQufxqFtFvyA0QsG74UhglMJtWFF011eHSqweSU1r3u5kCh3pp+fcYX9ZUb3tprkaInIKXvZiPas+j8JP2L7JVg+9diwRSKMOyoiC7mKeaioOuCugbbBMowy/PTqVt3YK+gt0dJ6MGOVNs+ks01EWPpIvC8FPhdlS5r5YLpQ0zBGKyHZzxaCifD3pB4krbWgYE4uKj8yWPsPMJGaTxOyycMXyNMJsPorXjfOqoxHJvQ8fQmzjma0LAgkAGmAzNmIJId3pOt61MshcFxXbBq0T3BNRb8CwOEG/lEJn2Nc9NnHQ7PlEK/T8V0W1oXwVDWbRJSMeU43ZyIqhWmzHRevNfxEVqIMTTzMG8vAFqsC5uV8VAagj3mtCy0fHqcxwmESYFNr/xU2/iaOz3NF98ALOzlnaRTDdMsBV5BQqnmudfL1/XVcfJE2rniYH17IrLNiigQ5t/Xe+U6Zc/DYGaVnOm3oVLzdqgb7OOj/ixlfGFjUrRx7arZFNHFxPYvppjPdj+VWbccLBthEgrhhZPR61J5PF+/cr0fzMLvcsitCzaPXCZIL2P5aAJ0tGm3FbQkLQ6EnwFcPqEXWuN3slSZGjpreeTt2p0+OBPo8bemuFhAkZAYMM8P9lcvIu9ir9cHMoQzhstHJ2eS4tFyw4wOW+JLWh+uwiPzEWhbqvwl1AeEt9jHYpvrLUgFO1CI6xH5yDzKAmGMhXmE/wa9Z/UEmHVcv/CzIkVfjh47t3JMFn2y2+ekb4Df9k/o5acF1Btia1PZXoTXZC1wJbyenczNNPn/re09Tns3UxlA+LY4qh9FglRl9EAm+609pf1IOUpy+xbMvez1DMvu+EpC6L1ap/EGgmXN1An7SAcdA409GqbhZi2PDsGTzbUtvZ1/0aat+ni38jKO+8p9GjaCy3P8CTq+ZQYP4MWu6SPYBi/0PZVPRZ5qjZpey+QyG6KgPHLMcMPEFvudtCEGZD4qUuYY3QLNFrmt3DU7EYT4T1NMnwq610y6haa+jz5HR73/i1ycGCYSCC2XQ/n6QfLSk4OfQMGo5f6h4SsaLWUkFphMeUc+sEL28cqVkiePVbNpl68OV0+5XXtXn7+TAsZ9FoguDryVxqW4fzfLcwdq0McgecqR3CIYzaly3yScHWCbmde3kPd+O4RwWlyT9RxXIFFVb/ZOQWFo3XfJQyAlXoxiVyeAzX3OYsLB9nJOAS86Jk+MbVZ7bOVB7UHn8993dUtppOEgRQwLjiDoQYZ9n6Lq+1RLysYCQix8oDGES2XKGdL7LFbxgVZk31uv3SR7Rst6k5734B8ALrwLHEw5B211oGLMkGqlyJI9Jvd/8NyxJFWehQ8a4YXSk759DdFG7YBtOAKaLXCLFYmdv+nwapQXneMevZrN3T7DJe0ZxIqzVypeEXSxLzfSHp08kHNsREN2gZaKMbnwLJ4gApYApBnjNUL5A67fsyg2fd46DbVZY1u1cziSkZVHuYnOc4tEfDkV1BwmreNY/qErOyGeH+A6P+Vx95AxaUqjradR/BDnLoL0ubiarZYqkmX7Yvul1C0F/yKhD9IS3B5XZKiYrLamQVNXYbnT9C04pSSmnD0FGpLLT1wIxeLitAaPD4v1wknFj1W42yaIlO8Utwb5AiAHhIkW/ygoTPQVqhb0c3IbhJxlO9tguDajAe/ACAU7YgE2CXd7luVw7uQRL0NBHXX7MprpS3Fwwrg1xX7hYe1zyeBtZwZ+bgZyV1cH9EJ7EjjOlgBS1UrrKYJPSsnTAxdHilAIJLdQ9BsIF4u2QontyxHEjVvDZUotDIxtqhAB+T+/sZs/qAynKyOy61ghY1uPUGYISYYlV7E0N4z3BaOddbQjYZ4ylBoNrXiNK7A9ScR4ECaEy3XpP6y3MKAxRBndoK6D2glaEh11ayr/owFpVNdk7CzsgyvJvongIdLqFdDl//LRKi/MChQb8oOAywvKJEBUBafN/5OXyyg82Hjok1Q/97cgMagcktk42VdI/OpeO5mZQaltDhBBnWIA5Y+1QytN214OfY0BNLe6KOAAEQLt2LIpEt0P/39MTb9yYYsJkfRByojQckrQLF5T6+WDFeO16AMuM2fBdwdCijxvg2lS4oPA5JcSIzDw6hiZU1+o8l1Pt8EdwWsGTghSh2+EHYF8V+++nBtbAXyzPZSWvYj6MaCfkeW9vcjlQGguImIpE37iSULeObsYt74CCBg3PJrBepBPFtN+iGtDGe+RsKfZqUDQYJjXpy1086pCOH2qUKNNjKlP6uBbV17ppJX84OgKQdqZoygPYB/NoAhzYWBmBfpY0jC2eQ2XaDyhsXSadehZEF9mad46ZBg1CU4J0y2q/57vUQX6AgGue9YRbUssJ7Nkjp4zYsggxrM2lHz+bicaYqoHhPpLoiFlRRVGb4+fqsADWVSXgfffVqv7RaLx9I0ecHh6fpTSmUBvST4e8DW2UOBQVMkjtYykTiNipewJj+8cEoHrhqcZScEHFLX9YnsZwF65Gr8HTbpz1GpQuhTanvgOfycpCE1fdzYvrqacdAMVbIC/u5qcZmBPlgJtH7ck3LgN3da71lp1NqPHVlZzv/wDS2y3/vB/i+u5tWwrZtpGJLGIHPCusQwWMu/har9hjLK8ubjgfqASkI62QbvXleu99tdjD0fbLRLbXE1qhGtPhqst/YQt4igIsIU8v6uUvva2UE40hiyZMgMaXgMf52FxIzyzv6KHyTlVvSKHzTPgSfQjzzQSySATeHpEYueAgoF9mDXf6SL3QCV9cO+BayuXHSpSqw9zgiAtld25FNVkGfxbhtihMVdRFKWA8UvG/tkdzZAInsRoH81s2TY++23wFq1kUiIztehT6OFXOxeVa+hYxm7OOJ2La+OGW0D6nQ3H3a7T/Vfif392n3YO5stWwQXyRIsGmsUTHt6kSG3YEXhlkonhjdmymkH24jm59oraOoCFvpaAv8dtTHxnXjSpsxYkh6Q17g115Qv9fbP3151TMifsYGIa6zghQqf+0rkmuYuGptPA3brFx7QbGJKROx4YnJ/eoQrWnPwiBVgFT+nj5pJJ3fiIYyw3jt6Tish/+VJqGFLRH0bX3JOsraKEHOi8L9sGOrtlF6No7q4XTk2v6ltWF4f4GiGVdmotA5Wyq/zLRcW0AdcxsYS5XcSvgmhF1oIxifLBkOyXawzaoLKazXjDGOyNnLCH6MatvLLi6hcF/re/nH4eC4mjykQWfWiyHngmYo6NrDsaMxeJGraawSZiTFU5/GLd4Vlmo++sYOPbIHLZkejAy9Uw1iIUtJAcIMFQSHVEArADWTXVDxfl6HdCgYlbyzExUK81xbfqzpacZN0DPHxMW3siTu0/T9ixNHL/7XhHea1L1NZeEPk0c8LJJmFgxixq3TEf5KnV86up2gUQYdfw1DWcRZ80Xu5hHOVpuWt4OY4IoAruvmg6yvvAP40+M+szsCooT+LG/B5T3p8Snq9yMxQ7rMkWC+kVCSJqEfp6dqqGf/dBLLwn/AG13YkppPnzZDzccjF1kGu4L6iCSm/qKQBVdsHytjQlUMfxx1hIw7Kvp37zy+ekjEm2g2jhZTQao/rMpGkbioLOr+uI8vkx9I7Fsm17z1mrS6c7xjExFjfikEjjqqwKofO8lhvVxIpxkex/Ajq4N9Pr5SGZ+fKXSKUFOXrjpoUbBa2aoXYoXW3ywp7sOtEMrBWTHSxLPDAXGngSW3Jtp6EoJ3PUIFRIG+lXdmehpgxZBHaRYFiBCe8+qf4G7iIIP6sgopOeruYHlRxjHMeoJsTcBh2u6pN81jsAnVU+mI/Ae77MedW4XX03bVR7GDu6llqIOH+HP/xZpl0/MofqZUk+nv8bspJ1itJbCMCnvhWYFJYg4OBaMWlREftkfCGI0I/QVfETuYGmfJneqXZ7I3qzGK/XfkQ9oKa7hGZyToiJR4DPuXfr8usX45ls20Yp5UxzDcGjm49fR0mfSP3dSYxfyMs5ExukgNxLZ522UN6bmcmBHb3IzSAeJvepNyj7qvVKhH5tcO24U9xzyElCHKLJkFndxGexPXU6aWTRLvuUllPan1WCgv9K5jp3vMTSZSgLIv526vXjMxn3McsMDfMsFGHUM7vBH3bv2F+Jzjh0F88ROB1gqwoIqkJnXCy2lc/udrme4FYQQcrso91xuXEQZFKXNF+EKR+Dw2vIrG34QfuG3/+t6WENVA6aEEfO8rksSSfF+5qa+U/JRvy8213wnn6WL4grXUhJylMIcfIqF5Zarp3cRLpTB0AstctZoke3m1P0f6/gPqEP7rfSOyC7LjiCbiuaDsU0G0YhmENyvd8+YVQeNvenHT2HNeU3LhLA3HdWIs5eCqPmwe0NOPcBag2Eetw1K7m+M2hczzGTKQ9HpD4ma+dWPzqCHx/nVM8iOsZy0WJQAyR9UrF8Bc33y/BZet+spWe8rAH4AXNjVgrvv21faxglQhMz8ZXNjDM6DII2X/IfTFngyASTbhmJHoeUrjd6vcJNJbr71tKQzt1WF7A+xP2jTHJ38ZgSX7nHvPyQDglXKlcmyKqHtvnd5kgSZOoM/xYYwSG7UgJu/1JeWeJAl//uirTwlUOCQ4a56ezVztkhZzoDWcxSwbzrm296hLY29zIq1HFvtsVAZI7WgQQ6EAmx8EtUuz940vF4PAiNjapBanxD8kP/+iYLrXyRZ4ZqTWSQu90xkj3OOLsL+mfRRVJRacAg0z43GNn5aZAZIM71tk57rpB63vj6bOBduV95WUbyj1Lj8Ciw8fyY4g9uV+07f0KN/MbvnizIAAtSZIW2j2OvU5aHFri9kbBjo9XunAcHcwIPQmojXcKW7nUfWc3haAGjFeIQWOcoSxrN/AcUkBQnO9bTca2oTEvCT9zwJRzEt7W5/q5UAHtrObevRe9Ujw+4Y0cXU4CWf7pRyRg7frgA01P3KNADAHQlnY4EWtzyxGPPPA4SvL4nUW1PNTcb8wDZ2jTURW3iCW7MgIffh9gn56XVvEHRri/KuDa4ybA3Ue0zMKRwnpP6WMe1dYs4aZ2sBVTlC8N7KW8rUqQDSmspstZ+twSnAjiQirSFqu73raIl/HaGJ4w5hrzbEr7QDaf1dM8rFFC0bPEkI4PqvStQHsfeM+iSDuBOdd4DdfgXMC3vbnVIvh1CE8kGApnR+4nUOxzr4j866uVTy1KB19LIG2vJfQG7KTi4/wMP4MRjVab87RsSy2+VgITibJvGbgFs5ULKlkwZ+K8+BUmDLr50jcJbEnrPefeFtQN6VOVUT2xQYvgKJQ+fErerT+3w3J/OscoNwD77lyrZxtugVKruHXijC/+0PC+rphj3HfD7g0mWgfjVJ0V62EHi0jNDynpGtWckzaKcxOUZr8PDlKmIDZLguQV3nnwnVj95AUOWn8CRwC3Cx3d3JnkOv1aZfsvu6DReaQe4vqMdGx4Bc5pEu1138ZIyu1qvb922HM9j2ne604l/CwsrRNy4nNK0TOSs5F2zlsl+MPsot4Q8gUv+fgy/tGSYCE2kr0UPEQGPJN9/Lhlt55ZoF9E0ALn/POs+ictClyrTx61QGc+hO6gTHzEENAPBAHiUOPZfGSnh0qqQabmYSgnv8mXVA7U/R0cgBCR7Zozo1wWWmnZshtMY375azFEGXkECrKTCGibiajnYBX7L8rcJ98sBPNbb+T2VUwe6N24cSfRxn6a1qKIt6TISG6o+05sVgIuHUNYIFIdsWm1jSQDK3KdROzMI9yTY4u5EXoRnhAaFzTNl4ei+bn4JbLsqAVXUjzp5DahD6jqGP5mV8VV/7Mbwmsq/hVi8DS7HMoAI5t+xWVsuzM4WoEiBo4mAcPM2B6ERE+gYZZpKpoZIytk24TKFcAJlgZI1NPiTzwQnkvOWa6wz5HFyjzI/XzWNEYW2yuZ7dHtYRjjEOzxQTUxuJrAcIpv7HItDZJvGEhhfWreOvoKxm2rnsOjI8Q1vf8ivpM1arIOyz2+lrjAMEj9MKmJFGUx1wQXECkgBdncVbDcREQ9QGn61I1OSsm7t/0gG4DrXw+mpU3cLFT0LuZAeB1lxGPNoY6xpBQitoT5FdrKj8p2H1Yy3TKIWL8tvu1UYRDGrftuy7h3TueHlw5Fgz9VuMfnGakY/VU/tmGweb1QLvFUnHl7NQwfDN6lEmww0vQ0ew8RRlhWdK51AO41LnmMVGqN+6dSDaEnMvVY+I7lkRLw0SiGCLyEjUYQ7Xt9WyXCiWtGXjh6J7ywKafwzem8fvprlUYzy6QRQmdIWDZSsKOKT2Us7yqpxAyl/Ac93gjY2txspjHwDncC2S07HbONN8KwD6LWFla9DQEBLXBFjBB2e/x/QY50LFglFpZWJ+1j1P+q38ouOPdnN5W4f/5rsJfSfAWHhTUDZi8GFOEzPCp63K/OND3xna6IKHwc0Sza9TCMBigDpYZ8d7bzZddFvXZ9AFXHm008CIRzfNALnFepK5lDjZP4/n/ts0iLTNaFHKfuGGDn7m7v8Fx4ZSDn+7ESk6v2kfmhpMQObzfH7uemT9rgHSkVdn6MqAlYBVptjxDZxKxquxnnBemqQDu+7frPPnRFtOGNUjzV0E8rGy+Kublq82spUTiBt7BGAVEaVjaHtOZvTyIF3+/PYvJBJzVYoY9DwI7J/63QGYQVS4+xGJCQ018cPWzQy/DKIktfOx0A/u7hmm0+xXTyFOtwyunZSD4lDDNHTGzKOfCtms2+mWtxPE3J+hylgxhxZjoSO1NJ7SCMn9zOxCWg2P7nz2fUe13HcOUhW6EtHm3cU4d73yLKgVRyFhFgECl/9KLhbZj/934AmcKJyP3GE7kt8pH8EaGzFxttv0rV7GnlA+mYPIvbD3Td1j59ln0uV9G1ZIA2uX5dsg2xaGKLl4o107H2vf+VgHkR1QkSf5AsagdIHtcdr0N9VjM8e2O3OuMImS+PJydx6S8HkNhO6u+VS5hu1O/cYKSnUECo9R+Ys1zgby/CttTNf8YXS+/ornagoV9Mas4+oSg1KQ3ANjR158f1aNfWSREqSA17od9lapcuLJ/EMT8Q9Rd78P+IKdACNvwHjok0+0OC7Idv5PB42duL+3yP+GYPppg2p6gnd3tslXQlbVkspY/X3kDNm3Pp0x0danvFuh3RygHK3EaEm/qoBTS+SuEJHvZ2OxvgdQpuJfVSZ/X5reko/cUeb84xiHTu4emtKiK7JC6Pr4b9M52WBVVV4K9SRoQ03aoKzdbhIZvgB1bdyjXbKwAl2bPTTvBOx6c/2XN2oNW/cRGJAWSlpETXFdufJpnj2kslSOS5XBJ7Z+1mM9Nj6BSZWzFHGL9LLO+OygElzRgujTvWfQ1UqZuyPqlbm+pe8jULHG6OQc8xtin0QwkkPIamsOTxH4FMg9xuuXXM/8o9IMfIEGT1A49t7WLWIm+rCduIHwKHCXPJrfb2SdoexS4WJDXFoMk/CTk9gg35F5kQefApkvqNnGc5w42gHR+Vv0DyGyHIB5E5kqZqM1JUldDH+bZHu3ZpaCjhtaXDKxHmOWiCL2xjixRfWgw33xy6NhK+wfn83vMRWqIF3NuLc0Lmc5AS0dids9/P+kwPSuSnBwGLuKxmQgcGUl5XPha7iGOVdjhoK3AZgj79hIleAxZqDpHMoWd62A7OkrmSVkB1vfO0MIRegEssSZsYDtbGzIh3QFmfPFSUZTIcxehF/P419Hb3wO3jrPNAHfqNCRx7ExivGybx53Xr5VcHrMiVTcmsMAUhIWtBlePjw0CdJt2X0cE6NeU60WDIMw0A+PjP+os9d1nQ9tvLyFRCsIsinvMYYqXta+WU5XoDohNmciFQAZcZHVLq91AxHnIcHAm3KqHXn9TSO4LnXt4++UKmcjteXbmqH5zPvhH9v6Z6sbOZrQvUNn63338VrBcNNwf75zBJWN74Y8pQPk3FTz2WVLop/Y4N4yZ3NEO9OMJHXiwZcuaHMWhPLC6bo40wsaUi8aslC+CXFe1HtIUk0P+XK7dOp4UTJLAPpIpD2n+fK0lajb8ib3wXgaFkrC/ij9Oy3hnV+oE123u/eP18P0DbXeNpOVIdMhP7fj38nLGg8U3Dd0msZ0hN0irjTE/TuChQW5TUsZx4PYwH3yA87v9oeCNmlL2o08BB5YD63+oCcArUhDFNWEhgkf1Hw9ipgZ/vD0Qbt/obYPVCkZjSlc0fISq67G2HV+UfcRAsZfPSZlmrXbO2maQFsq8oxog1VbUCFAMEbW3oORW6cYFDIBghzJvdJu52hytJdusV7sCnX+syUGuIvrDsRHpW9vQuV2BusiZgsAakqSfJfrbqnERVywQlPhnq5tSj44dG2v0Sl0ULKyDukP9tW2Txiykkgq5qDwn7/Bl5wKQaLP2uxwZqiz+s8aSrPNM9Kb8e1xe8Oc80FFI+XiKV5bItBz1n52khiWBrysphuIDiH4bk+euoPfrOsCRtCqvl9H++I/bJcGguS3gyp1765CceP2sY3OUxr+EZxIX/Tp4dU+Z6nQYPZ45hGScEFJzdisN3IWL9C7Jh+AwIbt5wLq/cJiwmwSCkmYn3fAcV8YQEeAmEHuQ3WL/ycDM+bhLXVaRULJaPUNUAOI3LPu7TVlrqPtpAS2kdb0wZxjGuIefZc0yHhBHII6tBxtqdEsG2rgJfgAXvdZK/Hap32AY3zOrYRY1d6rQ6SD4AZfE5LSjOF/1uqjJ2zQ++L3+aI8tXG4ZCvpaegLpn7i9c2uYjns+SA31XSiDNBlAQb1ExMRHDP1brMmpnve5gCjnxtMe6IyddpU8WX2KpF6WR9vL6TpQ9rqGI6GEjJxX9fRyw2Thjgete5wsMy49SjVirrNC+oeVotnSXoUAw3yIV8ROsgCIz75/zikWri+jRxIj36N4idXJAgpf4pQ9AyPmbJVTACPY/VWEJtIUcrJBo8wZdYVEDUH++vY2I5i9621kR3T/b1yrKdFNzc2iI1XWl1N41o5vynplQU2FKCSqSBdYIdm0Hf1LEWiEZFRvtUXOi8XhuX0TPwky0ngDpYt+YQc5HeND0ggN/JfftvyFDz0Pi1nbfYKcPbJmGYlg1P2IV8CS6kH5rEkXFCFGBdd2aaNrITnu82awh57OLr4N5od2B7jYTxmB1RpaQnIiSK6dmS5IF9h73VPBXQIU7cgqAgGUG0SBZdMFh/WidqyCyCOxc0bNSqnJur4npfiD7SKMd2M+40CGdpRdbWBPzp57Tjtrw04aWfzNTA9MAAD3+4dOoozVKTZVWt3ZCqyxhIIx0+cPj33+MWlsD/EWx6t2b7LnLA2X5LxSWAzEsZ1iaopE3WTVWkpS0jQaZoYiYK9wCCIvrG6sJnU4fCSVRHbej2vpp8FOoGpz/g3PyIXQVRyFpWDHYq2q7ObNGelPNLmyzUcNmgxomev87r0u//stH2iP3S6GZxGq2Ha2BXa7YsER+Iph4ZruNXSWEzn/g7JzBCvFk3fSpErDKpOkBzR4Baf0mpx1cngymzVFLOBSOgWlbVn4LKvstPYXEtJvWBca4MmWy70widitVNbNRcJOkSRf6hvJ0krWfvkx5+WZscrhV9In+GnnkTEy7Umo//xgryTjNatODHe+/qh6zGKoU9VghTLsvCzgHS/Xx/ntihb5aHK9FHLY/t7knCD2/HchAMBmMRwCz44WFPvc7z3PGdv4kJ5vw59XRXibFB4pFNMhaXr7Up1QZg6J4EItzK41K0M2xxvEjCiR+TOFNkE90yHtJRy0Zq74Dky7++03o6XKS6PAW3BvdDLtMWXise6/87GoSz6DjM6E0dDR6jBWFnkUbL2zxsnRJfAqruR2Sn1gtbFduekWF0QwkoA/Jr7hvqDk+C8MLQ8zAvghDwXdD+zAduLGAW7aGHDMVrvk+FwanbIEkKX+2hypR73F/upJpsGIc55fYC8clXXUMnL6pXTyh2fFScNq2D85LmodDB0OfgoYmLEcs/JH2ldaLPtxPOCHHPxbbGoTroWa4xqa9QKlBrSDi3e7hNo+DNlat9reIXktpcHXctxb0kCY1dQcuIduhlU8kIiCAaOEg4YpcavyHnVsb5mza6Y3mpc93/b2Hil+b6BO/cA7Zho5BHgXRu+4OR5LlC4fhEoKrfKArQNQYnknqkRa1fzx+pYlPvt+GR67bFoNImrMpVc8lq1OszwXeBX0zvzbsASWZthIYpfnoCp/7SXs4aSDtHXgK/DX2Ckk//6ZC0xxPySTYd++qg8t92VsHg4rYDBRaI2s/9TKdVQs7+wT+UefMH3lJcrFaxkTqrdUeMxSgvHxN97nzGmg3kiEzwRRFJnnUAGWY9NT56E5jAeuaZeDfdO2SpcGuA/rBYCjS6vnLp0Wd073umZnig+nwxVqF1PXNjEHsU54P67C31N9zbRkBcMPsK3uJ1XXxcZVi2P2gIJtW3QoKbFbS7BHOThARAPntANjTdNkQgLR5GNJ0AxaXhto0g48QTVjCnnDRNk6AnPM6f8uiOZ2YUSeLipQCVFAIK3yg/9Y+eDDYSH842e6Hv5J0DsXiLIsyu+wD3/UaRC+4uNlA+pqN7kKzAFtBwClk1URdLwyAaZHfkWxZQ9RJzYXu5uK0lIGQrczT3ke8G7jQRsbe+r8Z4estEPXeb3oTF4eVhz8jnruzxzYcJUIWFC+899reHDxFqCrXyuSI63f8SwB7h9UHd0ZeeyY83hcXTkXuKYnZsNGlikfWMay1QxtIWm2GwKdI4SS1aRPtngm2dnWmK6rHYIJt+RIrwYltF0xbW+rIickmaVeHLvePBEhKI3hXE4omOE+h3UdYL4GG1BqMsSewfX1WyHrTbKQl9yBZ8pKH/iXmhTKOIgGVKlqkYLKWbm0svx2Tnb1Y/NLVWIWd1a3prIjECxaHJL9mkVTvqdqokvzAWcMDMNK2Osqao++Z5CAtyR/agpZuWBpeZWt7xIQzLek8Vp+sWs7i8BdWkpHoj8gHU0WW9Qbz6QNbraDWgEV9GBmHQpIsmkkxhMvpJrzwi5kELuNEPzLN86d43Qsaun7VvjkCQlh8O0YVsvq+7BiwujfuaHl1ffQHmXOp2W9t3Ns7xIU+GfJEZBkd1gH2pOl7ZswYlb5LzMbCmMr6+9H1+fmpkkBNygXO/jfRgDKoMDltP5jNz8t3i+v9zC7LXwlBNuzOZAZfip1gvESwGJ3YHIj+LNnvdrKS6SOi3WKJ7kRHdohPEVoK0FX6aFEQkqD0sLIVk4SDDO4MUW3yPCjo4dq4J3XMj9g67qt99Y2T2+RBQUW8xze6HWu+aNIuB5Yfcc1anWYykdgmRUFX3fRmKbjWPfadHMw4cRbmW38WCuday1nkyHX8e5uJ89bmRHzOgegnMG1ZsCfX22d4ocwNWOz4CIz72D6gvWhkZgzzoi0IHwgkmcRq8hh/DIUWKjSaP9GsfusB9e/I5JGxfdwtYBbTTGseH8ktZin5yEbKY7hQ9EcUYexdKc+ehrfRDeDKjH5vjH07C1EHI877nun/8JLAwOQMcDzYLJydIW98JDMBru9R+PQ32FEZdBVWvoa70UZfsdAHmCXd7Dt/duBt9CU7L3Zf45tv9v7D+SIqZKtAZAiozd77PWaUwl++z42KbYqXbHL8auVKwThEmg4HAzxFm920/3seHK034f1bgSGIneIg9FRxw5UE0w0xGtKV9qSYxklvty5k3jgCd+QrLkRVtDbynQAfR4WixMrqTnxthJq1PAYha+yD7r8+fIdLHMZlf3IYYFG3fUCBb1I6pb5bxIZtyyW+W65zEzhowQRvK8cCOUZqQjPElnQIvBn/e4Cbcb99c7d007/hO4TVHIdlyLvBuYpGI3AMaTcCq0ZlEuHvTZvcduHHfUEMmdJnSrI9GIGQ1IYo2cg+yoTtIl9tU4N31/wC2q7JvtidxKPIEjq2+C5bIu4Fd2tHriEN6MW0tiXZfUN9UgYzmwO0aT7YTSlQdu4Lkrlpg8/gEDkn/wNiohev2wxPkRTTpvyp9LI1a4BWzmClh2rPINneNSM+Fv+Zjk3mHSfxeczPXlZx9RCrygaqrycp0fR1j+x54z8Fx66oRLZCRFYIrZx4eWvFDQddxNUnqj/CwV9Rt+i+Y0YCqZjNNT4pZt4k3lKIrVlvfg+3/aVkSLt7QD3TYPYMNWBDcEWIzR+MYyj0Yi/XZCRBOheiHYo72HhURhteUJuOCfvJ+WmsUs28qNnLJ1OlMCJzd1RXZVQrDixve5Xkz12tsMw0ZIKsSwEIE/QD0b4OwQ4YgMTzkzwMKg4Oj1rrEoGfvqugm9gHI2eaTZ93t6oBkzooR3rCX5fV6Y+9R1/xWdd9aItP0XpoqQBarUxf9VOh75pRLEP8H/uxVnd6pRvbnLby1TYhlJU8tJSgPRpy5K2z91CjiFRWvt7qZDo6d+XkU9tgQ+gbzO7DnlmkeX/XzFAe0AYIkcuRyMEmmfUPtrIVNPQUVMxRBm4pykFNE0x+5FMS3aR3+EsXj2ezKCbRQcVaSxzBItpKdXtVYBAIbbX1aOq1QTlkPZ0UstUdgLLWIBpJumCE7GS4fQU4q/apXsVfEM7uwqRG3TaTJk7ic86lNltufn1U5Ner/xEpC0yReMKZVMpz6sKVX4QIe7g8JBKpu+NRAsKFENcBVW+d2atXsmXVdi4HBW1v4ZyWKgfTNj2+LHBIGD3i8KbYqDg6i3rMmlPkLIPdC3gsEUZ+UkFSXwFzcKxHMgzgAfPzGp3FJIZhJmVM0ILfp9h9hIZKX3MByn7lqXpGIjoBe2TsiMW7XHxzCzuDDIbpHIuZv1ooTcSzLR+e63gn3/BwzbMUBOgXS9yAAngTBnUEhnAY5wcLsIOj8eccDFTY3d5ds0vIKcg9PEBmycgQgXdWsk7vQaDCl/5u/J5fu550AyrRBcfsXm5qSU9fBzwisL6EbWPxH4NxgglRTF7ttA/CE8UEiXlm1robGmVbCcU8wPL5bBrQvLm4k869zs6ly1ebjSVaYxT5V8jT+5QW4Ouw5tmJ7RyINbUsvrtAhH5nhIs14BkEfom9TFCyo1gdwcEIzQR4qmtzTU1vStEtiGrT9CYvrY2avhUuBYMFJXPJ7IxUdqcelB8c4lfEkHTXFS+xhaO7sgL1d71mfMcED7rRYRZzssw7C8g98sMW9VzsE26JLj+w2aVdkoTsrCKuteC1SAv5lZygGWFy8rFDzAhEZUZoeD3Zvh+6/zaYykIZQVcmQvfyep1OeZNbJHiNskgY+nd5wKZX5Ofm4ybSM2u/gm7zQlnEGwsZNQ5eTIO1/i9TWdUF6bB9deK/Bk772BArLYv07sTaCTrx77/Pm56Be4/u8RfiTMblROiLdF+m08RX20Ohswu9vtI82JESYZCX2PNqqwLs3hHnF/PL4LyQNDw/YGVTYQA5appVAD5PrPoO0/xeNsKTZ/pL1uVl0xaKAR+UuqOJ21FnjHBJBVvWfV27/wYqwXzXZHfzCYOpPax1WUx0ErfNcmVgjZaINuDgW8esasDIe4m+8y07bgtd6evVSYvakDmrti8Ita895wCAxai3xx19NiUqkVoj13lXMcFTGOj7TMz24KJs1u0omF4HuOZL61Uhq9WehBwuhLkYMG1DKhYmtvnBTcRqho4Rk+jfiTweg7rWw4CyHqjfnye7Uz4zmHgx11hBhiFFlEpjkeDOlCxV7xsPQEI4R/7vJKCdS+hPnGkZrl2/PhPU2K28AtKp2v+awuMqF3rxNQkZmDJ+/qt0oydXm3JOycaOVHQohZIgCN40yjmOAMJvYoyNzADBd9OwEC4VcDEIzBoyBE8SEftG30n5m2ixbFUKRLhf3l6Q1dWfZi1v2Ltvn+c7IKHRgv9bqSERuiN7Cv29Z6wq+4SC5hRgXLenmpUBI2+r8tWbEz1w+8mcecXvJRh9KjihVJFmVm1PFP52zt9PzdadPH8K62zMlpOvO1RHjkOAzGPFVD5bLU2LP7shu3ndiEX6dHIAND/0MFEXRJOdQEXVd7dlpe5dFYbCs+KlLrZ6+DyeyE6mnNYOTZTr3DO/xVi7OF3CpQAEKKyJOnaHTm1YVuv1MZckRzfk0SbHJONxVQ/rZlg9ipfYu6VJnAln62U6P9Bf956bwyrbQJXLBGKOkRQBqA/8Rj4ZMkazdjX8bE9JoHxrmar1feNOKA0EUPNvDb3yLgkjQUm5u4GJ3LS+Of02Tlsn9liPTu/MvD9nZHr52bk6uS5D+9HTYYKYONVx6m5UJmyDm5PcYLpJyDIH4HI8YiZ0UsC1mREJXnoJShTfZI2XbMzp3dGB1tDrkPyf0/sZeKYMFa9us4H2rpheD8wWdERqaPYIb4sjCkUJKffAv5+XtlmglRS85d8F4Y7c1EVbBr2xyZhJt+kp77sqarfBk4Z3WuotRZoISC1M3TYLCX+rJc7UXH5WwsgmzEEMG3thyPOkAGkmTNHKCKRKpPGr3C2NFQhVqeSHAuORNwVgOaBrbIclWmXJZ+2vBZmPN6YacR0n3TOrbc0aSRg66MPZs8UBDn3YvHYRa+G3xW0tmjbOZWrVjFv4oPJCKb/fE9uLvopmSl+gVTUNwMTSyTzjKpYqw+rhxxpRRPKvRqW2r7HoNawgsgAtMdILIbHo8wEnDJ3gov0IUrxT0JWeYIwVfW+6f5ebVXlpoqLnguADLeQRHCVW54fJAWE1AT5YbIQC7Db+DC+1Rt4FZfcZA/PKK5HayoWo2a33STGTOQoC2xB5PnrRrIXcxR9LNHOcH3V/6B/M1FA211EbVXvkvXYESIdMbkV51EMEywGG1AEr4BIe6CZ0iEVMwjr/jnqHmzae0KoEm91eifM8U6YEZWlB1dBni3gt83ZBR2jjP5bZZFBbRLW+iWyP6H6WFqZ0n6/A+zhzXW3PvRRqi2N+USbLozaXPlJi5sCGSfTZPjGY/PsRfZEKIMk+2zcSGE9uv/LVqyaNnPRLuLNpDrt4xyNO84TY+HI1WB3FQP7MjmpGCotrrgAK1PI26+dB5cdHhjSCFt04cLEn6jGjaANt2kjztIiI14n3+dj6p0Fjk/St4Lp+pKkX3QvISoU6SHb4BJB0uXc8McdIIvHZSPQw6ElLALKKIavXkVwnyjCgzbAAszXKaNyLAz6p9u8kDbC3+pxxUbKlv0TED9yMLue6s+gd4kx8IuuPnRDot8baAuDxUHLMVwY7G1IJFUC7iEQKCYONGWOKHBOG/7jn90lV7WTiXUv/i6kBC5fSGUwum6d+uXu3+uClPFw5FolA7ikya4ece4rRDv1fDDuCsAlYWe4Kpd9mOuRDxUbCWIFQk6WmYgVFJdUFi+ks9wmbA6qXL5cqcFghhCkpHYFAFQ/rV4heNqZZot5CjD93R1jQQmcO8qn/D140ZQBzIAtjd8IJ15Em0g6qtPQvC6DqiZkTllOT6wTzZvWUwX+XcPvxREOu9cEyTcjwKF8DQ7CF75iHEkiYnj0PrsSal/vs7m5LZixJL2rk4U59k6gF4znbZyVPV8VpgdNtbYUAO3KTeKacbxi9EVeKI8mKDJ/lqECxfkjUDmYXhLE1RfPdvsCgwEuvQGNIMCjDxeN138hjyTh2m6+hEqIao+oIKcYyvqTG8+g4WVVVoqzTW0mWigkMbuhDCD05SRNIs6INhx4FDlCBixgWjTgvU+Tx9KjwdlLXpuhAIFzPzdB/+u8qEPgCJeTKDl4y05RTS3eS4yX9Hgej4F3glH5irPJQ+IG2aPyJ2cbi3cRkce1dqzFw0E7UyC5zL9Su15PEPHWPxhJgHk6POQSr4At0INI6ImLAQLuwvpHFm43/AKjTjKl82lKxWlYqk2491X+35Z7scSB/nBBlRCNIO3Inli1PG66Qz2Eo/vQJ13l94EfLa5oSPSAY8aNndcBd6ORr+mNxlO5iCYtBzz0vtKZNpwwLx/G+Z+ocwQ2TBh8Ekm0l0wo7hIkA0Xd2u7ir8p59uM/zZXKbeLI5oPrZ3171h5kgvzeRwOLTGRTR/W9RArbdJ2JoXQYlUNN5BnBgsSbHJeSsosklwKl+Kxo9TAhi/hQzU8VVjLDE1kqk+dR4Y+K1wXXdOK8EBUd9nTnCPiUx9PoFmscn1BZjLU/Q385xbrRDwa+zccG//ksZW0Hl/hDxYt67ZugrLWoyNq1y2x9zxLSXrysRilZXVwIQsYfL+ZfBRhADWCin1C198WDcrFHYfdE9Cp556mj+jqeEgqc6Qw56cyP+ysvqcWL2V+YWKknFklg4eZ65GI65Lk2OpXRM4cpfKJ6BAAaXfOsjOavxOeHZ+suMVgh+GUdxIU8QnjVTXi8TnN1DPOAALxp9qQ5oKZQZy+mmrU9NfDORd99445hjgQWUu6fgZ1Fz6tbLov1VMVPJJUmYG668TMsIoZm8dpGJH9QL2p2vfsUgAKRkInHH+otUM8NbOP+VOECKq8tLqtz3RVvqKPbKq/aI03xQtrGT/pb5lIHP5EryYkM9H5R9tipTM62v0iUdm497nEGpvmT7IY4ZqxIrLu7njGURDnpeI3BJJuWrnnUrsMTjsciqUPvmH1hqEDMOgwMqmThOxqTOOw9WUGwqgU19/xx9jJytxVEy8ZODWg02B3nPdjeezCmAjNXYAzwUnEo8E/9uGn2qB9FcWmVdsY3ah1hGMxtRhL1/PFB38v3Y/3FN9dw/WpA8V2jlWfLCPd52oJKn9X//3afW0zaOFW5pnlstXS2gtm3fCY3ZHcWrgYQCRYx2G4HRqL54Orf0HLBThn8zBcnsl0xFYK6sFUEUN+7TtbKBvF0RUVuNB8GlVftUK23Pft/f8538ko7aT6MJpd/si0AWrVZ0RhWK3PVN5CjDpte81kSCYkat2MlkeGmUv5Ku0pdF1QbVyl+8qixpcyc6JZpCdAlv2eI0KXJXITIEtbaw0uCsfx7LfZpBdHjw+ML0hVgmXhTd2ecpwAORK+YgGwF/9TZ4FOtho/NwslsvYP4Zzhb0tpE3fGheunLgT4VuzOqwWIgIPiH1Lwqx1G9G6xElaixoW/UFD1jwqmLzwiQyPiroFQTu59gIcrDBIzN/wOg8siYjWYl7f5hoicrm2Ir9F4flNb3kjMuqn6U4BFsUQ4YeEmbAi13lo2+P87P7KuJ48U4BzD3nyfanGAjtGoeT9oAigjOkzjlptK6uikJ/GtONLzqKBCBdGEbrl7r+NhFYGYShAZZTvEfcTr/xXEYG6nRPMqjHRt7T4kG5ZivX97H42JTIj6aZlZDivHUzrOyqa3dtdnMD6zzMloTxM2Ng4oJLsdoZG4xrrPKrz5tbigUclFiIukg+D6TXRrkLtZmsnnprhArMu6hYvkoQpJ0gC4eKkRfbFhL7uVYvlIrhTHSwmleTvMbpPQ7Wb4eI6dB1UPpUkQKKQlBZDad+iJD+Qj/qeWsvJJQLpVjoA3y9iW1amkNn1c4lmg3LIrK96eFzkpMY7PcpzizUsbh6ILht9sFrZL0bJqXDOFSmHw1CQA3jYuZFf/bnprhmaUVXug2745H2/n8Gx3XZK3YAkt6Yh0F69IQ/7QQvINeZ+zQ5UUiD7G/K1DSjDS51D+/wSsAj4LvPHStmRWFKMQwr4RFS4CK0PHxjsH2OHG2oGtioRvhJ/NhjCgfy1+EXBipZN0W4b8H4fBqI1w6h1pg8AfsWDHND5A2bhk3CThmYAJabdLvSa6Bg79m4Jg2t0kn8PaWsIOpfvv3cwJqfWz8br0gy+NzSaEhOa4CsvSDX5KAFjM1hJ6Jnl+w+tHfB3rQYUuWEsELUHdIBiyG5/COCFhRrVcuHRmpy2yIlkQDLQRN4E19oa6TSd1+aLa02slh7JSuPRHXpXzsFBIYfhLdj8SIfjggD9lXUlVnUL9s7KLSZdfwMgswWgTY2osNw+vwkWVOkzokKvXUBnLXEfwLEChCGEoovhTio/j4Mm4WMucv0EeNXmkZwJKDZ04mKb/+cYRpcQbRILA4ZGhusiyWOWI2DQrJxYKXanQUAvUaMFRYQQwWGfljAU8DlHgomEso24SsiHZyf0fKDoZfsiijwq1cgZEC9NUPDu2JcjJRNZkWhJxpHkkZrA4F/8LTro+G73sJ2WyriB79k9cQz8letkD4ecbTF1vPSOBM01qLhsXH/Vdi5VsFKf4mfH6bllClZwl/zYebXcyKf5ipWmuadu4armBtEFqNq282bj8JVzJjLAKfv/LA/cKK0Lnq+VS48Ye3RA1/h1hVhvc0dZ1+KP8D7SPQ2gLQH2akBwIxLNKJ/8+IoYw67mZgiiloNzpHmk/wBTFt8CEgi211mK8iHrA4dhllKPWJ/+rg2dvQHeqrM/SKJdE5hCi64lbgQGtaP0kom/3hkCBAkrcwmlmGOjKO6kRN9OsoifujcN4+6krI0GbTqGaGRAC5NxwaAKI5oVu0mOKzrl27IJBIYx7em28w2wK8aTZE1HaGrQqvCS7FNLnuQgFUbJpUMvxXjpnI9EPKqNo9SI7Lc/R5tLX/EBA4SGaRRf4hAfV58fJboXhRHTZ5GHeXg2d6uRZ2zQWFhERWkgOcBF3Uo97QOd6ZSCiKtENStdNSJac2Y0ykyL3QxmcFkbknydP2Y8d7v6SiuFbghQJy4Ea29jRH93rlMEsoKfyo3nZBj+wzsjVIlAUKgMNPqasROkNib1B3IZhUPKBeldiO7RIkgfu9hBcGKa75thoin2ZTAf60Wxmyik1iu9+tYXrS+0zyd+Qyf9cbySQ8DpS/+Hw4pi+vrOB7s6pi72xcPvTZmYMVsSDorlaXStVR+x7hf29n94ejAsl/77IZzDUTIAQxfkzQMF5NxZgr6TTOd85dj9tWmJWfDqC72KROMzMnF55HcI71C65nzgb34/uojX8pcRNUGfzANlQnFXBc23oKjpHe9Ps2DWJ1YdzrDUGfW8LNoaU4vh1Z+3BWP+bXv2k7tWyirchuTcGxNcDhi5324qfhwQCYKN3CxPvmQlNV5tm3s/0g3f2ogQu6SEdHWTrQw89NTKIKVC1T+4Nj8oNtfq9ZLJpY+ic2wTDSV5TYz4jwgH/0sCKwrjgthqlRiWzWRwfVbjG5uK7hvmLQ/altcI9IPY8W6jjPNF62WoVyYqy8LWgITwlRFkxv1U6R3aFalETyLlzhaZAZGAcmwDZRc1i6OnHl//WAJ2QRrz0KZxhYxWmcmmWLMXx9+tmqctd9KfkYKRwYO65gQ19jJKHj49K0Jd7UfAQAH8ZPSkXoTkwPiF4nJYTZ5OUA62hGAofWFUgL4hXw0+GdCSmdrvCtwJTgPD9ECWiruAToOIQSxWuByK42lvhOsVu8vMIhKDERITHcMcpkjzjfom9wlYL9yJCD7l51H8fqjadm/YUSzBqBZJzvjvOXhqqIezDPXbqgJTVJrJgCFuWF/0IAzqx0YFAnoqav0HTIjHiqAQfowSr5JxLYEWRaBrr2QzGzEcjqfSeT2JN5FblTlvmmi+jCLpFyaErU/0IkxdczWdrN3GIEaCgW91f3Tv1+AD5nYkLTjUi38fxMookziVxzlROM1zZYEBO9WPgWngBWYnRUwC+pJy069yVwvEb9vQtRmBQ4a3Exww1Xg6Kf+6lvCF5Bg642WMuHQ+W78+AsjQkWU0v1j1wi+M7I2zxUq0uZ/qPb8TGwRQavHkdRmtCaPFcbt5l2oxDUFb+kfvgShLFyNnMgovaxNpf5yC/eXdc6BC6cj6t4d+HtCzLFK24xuHnwWc5oNGTGmUHGU3vCUatnc2s7QeVEtLHxoscKrUUC5mKWvSJuuXl67paYHMzi2PwNcr9CXatosHQC5ZuMFUM/3+YqFdNwbBc+HK577T3J+RitdbumwlvVtGRMComgNYwHgPp8yoQFaOwd3ZHjas3l+Brd+IG+aaiiIRm8ExUF0+S3Sn62V28slOt0grs+I6l9G1wfkpHl+PXDNqg9NNUd7rWelLkY/VqrSNa6mnlCyq0fTlqjztowCE2yNyCNdPeENHuY+Okfjn1kz0/Tc1XOctk3zK3Yt3UbuC0Q92djKVqsdXFjo0rkm+HdHfYhDIOH6Z0mG5yM4X9i6O7HsFfc4cH2J+zIXV7MYgmuD4zE6OSyrnM6M/sr6DoZke1Ea74wkJTUmaQ8ydY0ky6ukUbXTqFMyauwVumPMnMAVBMcg/xwxAkcZ0KQGfYWlggyYU5ysgitBZeyiTnBIUr9WsY5HrsIZ0J1IjN/vMDkg0tcpH5XAUC41krRZwizxlwILYHcnmRaFBJ1k9r/9BvroT0o+xQBzjesAC4TjzoLNo4Ro+XU09o4cRK+R+9aC7e+Jizju1ocGrfNtwxoFxcmxmKAz14Z8o6UclZDYNhuSmkpvYH//wLWbLWM/vOSQt1Hq2ElVsH56L5qFX6y3/i5bMs+lv8MyBKKe5yeDjaOQi7FLtNMk60nM7q2suii7B6y5VX7kOaiJ7Ff+gACxKs1QkS/A6m1/7iizpbZgF3UvgSXv5w4svgQm9wokcRg887rW7dp6ugjiAqVF8WbC6MBFPX2jY+FUNjC1JWDsxM7jTgSgaQoVvK2yUQS79C8sjhPnhCbStA6zNBP7esMvXrotXhdfjRkhJvMZm/vfZ9/TaG8ysL+mkgj+ENrOuqTzC0H0S9Xm54rFVMCuo+XvJEm8iSVzPky52LAPF1ZbDhNOi6WZL+Me7Wou8SXDo2DZtkU5ZVyytVe9erAxafd/jp0n4Xuxicz0gJi/99lTFnQUaiIqwnS0Vl5u2kcJLfzBnzFnVF48EwWR99z0HEJAFNQhRTXZfHHQ7ezAIVdVRlloGRYljhCrrM4LQH3Rzn4JMPhS6cYBLiLEmb7I1bwQjfN0ANmjujE8Jw7KHGHXcd5v+zqpwVLpOnoV1/CdgDTSYHXxRQy57HTFqd8oYAHx4iuz/abtJ8vDR5wl6dA/qFXCxFO8qwVRgAlr947RwgE4wmvR43qET+yP5SjEGPzIkfbc7tgjd4HswGciHRMQ8+RUNKtltqsN6cJZYwXNU1lRHguoJxqWgqlzYND6Abs/DohUkRaK0aaU8dIFpXRoA5h36Ff7j8b3LjtFrhiCtZN3Q2sJYAHOgGHeYL3/9XuklESTszAqy9U+f6GkRHbklcaaz8b018WCe8KDO2Y+Rudsn50u9+ewFMMzkP6ita9i98w4dS4sTo88q29VIP+HUzqdXOqNritIENwES+ahSdjiIgwJockgGxXfZgM0I7nS7Qii/vlCulEOQ++fj1HS2yZE1wkuVrP029XWnj7Bd4eNfseNriHRjI0hBQLTfTyIaVnnASkSDZjzgHGvCUnIbCPzH5d0JaKKS3LUL53aJymBumdQQmukgMSDJzayr45KviUpbFkxkpINPrxa6xo8vMFePjp7+O4HXEH90VPlpoh5pz2cFm7m/epS/eiLrWnaI+n2wXn6q8AeTn02AzJflF8D9cnb6weq/66L0+q7ECZGAeI7vyeyJacXn9SUGCFXV/GX6IrqxjMUx2xAQFO/g9C18t45q3xcZot5hf9iiPlIyJPCsWrLWJck+PYbzbMBas5xuJHsLIXuBmoawckmHDA9pUjj1D01n1ec4r+u6gJ2Io7OEnl2ew8BqKjXXIAjomvKDAStJ/EF3VeYQnyq87GKp8Xg4AdpTV1v3UFbVYU+9M8CXETqOc7rRMyfhMF9IzFW1dKNYjYYih1wFhoAuey3MTNhNUDrPW57Nr8hAiV7/IcYiINzZNJX45MI1PwTMzRGEpujhohbpnSHJsdrh4zhFBiG4rgzwMJ2oL9rBrSyfUP27Qcq1iN8Imk+Z8cKVvjHXFT9DQa9oxscysK9Gl1CfgB/L4qn1MdP0RYIru6h8TmyO6VIgZQ6AAWtKmsVPiPpD410flfW+OlAZtU3HDcnSRDVtGamZD/lhcIhdk44rApzJsS9h6H24KC784uhd/LaTtH5yYeY1hhSXHRg1uNIGk2Ubz9Ps+Jm2YiE6hP8gWsYj+7mJS8Oa/8tDOZs1+sQ374Uzg2GbwDVjzIL+Ht+B6BAYQO4NzQCkdRQDJ7pL6Zbjbz2GFaqVLCN1wIWS1sC2Qib7QflpPJ/UgtZSB8XqfansVRLhTLlj59EorrNvbjVLiAlWF0ahInWrUuzdUx8uoX59KqtWSPEx1mhQrnXIlD2HwWnpEdHNEI/+8hGWEsErQrL9t02+NU0O1wBy2+WKJNhK5nsGqNYAWecqdsW20oMzMA5wrf3F/nPzsPKiR1GTaDkHe5He3j2KZeW9YZg6cwmvgoA3PZs1uuw9NkohVBGU+cr8ePUwwI4g/6vytdj0bGQgb99bxAYNxlJLOluIm/cEiOUkevogp8F7baAm6lDNLJqAOgFvRx6mVgu51roQODqQ7LGckx8stDijWYSta4qg85cyH9ktWD7FqBnp4soiLA4jYLMqdfa9/S66U9/Ub9hLMoZ13EPY3GNbiSYpsGO58IMh6sid6eHlKCVpwlGLH9g4aCs9970rvgBcgVM6HdP3YeEYMI1o0NKm7FeqluqYpM8z5XFTeu/RODjIEBUTg2Is17rs8xvR1dxBAw/8+KN4LTDbVJEBMPebU0q8O/OVxnRN7jUsXNUyJyZl9XMJPCGTj4f2AIvmy6KXkTPn4/DbVrPoKy+vvM33JZyuhYsjlYzG8i4tG1r8j3f2AyoVJM+kKsgzZg0aiMP53oKOZoPZZUF7Vyc5lE+ZOThUbRBH/FAbTaiEuFJ9nyO27hiW1KbctF5+TkzRu01mEDOM40ZwHcVtewVGGBZ9uDnH/em/8AqA+yYWhH8I+nvs2oJZUHHFg7MnMUD9nVDwicUDl3NCPjNF/n1Vw8x6g7NZhypTyxuDeIu6IXjCUziGTdINzfKGYypvbG1dtUyqP+FJX69vdmYmb4I1HMMhkytdfzxhjWHP0+vkrUvZIQDiyhTM5foPaTeMGMjQ4K/vF3QkdehsBKVNb9jCAgmMuRXYMSAb+ChkMtKIFylE4dlI3nKOOvPGRLWrcdigjLTSIu4C6elIsv70X7QejY1XCeJCE9eWGL82BSH9Rxx6IfOOFDB/s61kLdDXLtmOHwv815pdRy+UlSp9F0k6gy2kvqvBIDdE36uDECYXYTzzWqRv+3HI+FlqzTl2C6EjaxzvkfC1Z9QyHivgvgV3WTsX1VqXZHCt2k55qd+JHVqdUACFwss0JjEJkDnzj/vSd9OFNhKWyWXEbr9PzqEFLs+JSYR4rw3gIGfnUiFb5D3/kIqQsbmgeNp+qiYecMau+MkozgWXgMHUhpz9i2qTchsCU8l4w8u4hYYB7ipPqu2HUuS/QXeS+/e67ZZ3q1VSxkFmT74CJFZzINmIsvvZi3ceolktmHAPtuszn9LFvbnL7aNYsq6G08kPxLabSZ3CkeWe/kd1ShoQvd7eFzhA/eSRUTyEWXC+tSQFBu49GQUGDrUNc2WtVHTFtOfqNlsV5TRX9KODKUM3o1c0IsdlsMsgt4htWtpJzDgrTMNjsHtGciclTALB71+NRHpNvOGbzi1ik9cx0fZ4/X5jwG96NqY57RAEeu3wpR9hqTTFnUc/MYGvDUzs+ZuQow+B0yQQVxg9mIHqyzGV3oPjQqMzfbdVipBEDbeyiV75IenVLSwCWKhbnR8wR2ESXCfudXBBLRGBRgIOaH51c6HIDagnig3PHwrGCtS70o6NwdkojoTq4bVBG1BKXoRXzMPb0yxrzcQ1LsFrWz9FendTrIc9E025K/9OzbaPXK/A9fRSKoxZQQRgOeyaffBnRsNatRPojdXwlYGSkWn13R4kQguoVR99IN4L7M00rGz/JY3kVcliYpya5HScUnIJmWnSnVD7Uyg4Vw++u+DErRDHkIxZGPAEOGzXLFgwxj0HzoGkVkyGw7YiSK1Po/tJPyNFhlFaVJ6M2ppZ2SQ8XTmRRzXNoPJDCY8NM3QjC8o4p/tUwciGI3MzDCwomkB5xHBLhJaMmKKPxEKAc2bMutenxt5dy+m7tOFadiVYwZ8PyPbeR49qdON7yufeI0hEmBcEE5V3SKjX2nGIJiwCPTeEnQWdgvZZ9ql9kNtGTmGcObpD/zwrrqkWx6rNBKneofP8OHW0oh778W15j9AR6zt5W/1w9P3okotY47u5+U8bbRqelSSJZS4ujW+EoofPriuQBt0c8WySIMvHvVIWyn1PYVR663HM471MTdfEjS7/9FzB9zaWnGvLmkTG7Ms+LnRhXuRZd3KYaFU198BjIHkl3KZNbLnDht1I5QC6jwU9qhhAmmG8x0FYUmS+FR06zgMV1CpCL5jbx80QHNH/d7gJeSNmua6rXNrHf8fiiO5gjFj5Hm0uQB6WE2XrAniv6Ce0Pv2ZxlQevDyGjRZFN9Tcm8kGHjzeFpC6EAyL97/hlFtOiPrMfDXXg+w7wwn1dx7fIuCnzjwmd4RDgRSarxvIrrmQnLa4xZQ6K9G8Oel/8s56MIUBt7WJM5Azpzb5ndmw2YMqkBye6N9UjCGXmk+wgQG9OSuR0z73/D9CFqH1ZbYGoBAipf3+ssv7cTeMb2GlMeqy1dkspm3e5POFiWqySpKwSIV/nusLAzpVMWR74bNaNXsWS5pr4W99xLDQCqRsiDdOd9fxIe/bQQ7SDDYvaOMcRo4RjIl6eY6fuZd7Ydf+ziTURnAfPX2oEwI8PP3CcM2/2D4TMuBOIaQvR2LSpm7PF0BFIP/hCq2gL2Bt4l5gvsP+vsenuMrf0qVXk3QPioZwEcmk78sRfppjOdauNcgpmzmAxDY0j4mV26AczFYhjFb5maBZYhRZ3Zf+2FOfqKgpsbdZfMMsZhkPh38F+U0Q6uVAJasLBkMm9CqdchCdiLBJMRfyHNmtDRNN3pGms/rEs707QoAaPjnyKlQUgcLsJbwlt/KAynLSd8Ng5/mtL71424zTt/sJg3TXK1k6jMCEQN/Q6M1lRlg3yJUwWS3y3aj/4SoUVYQSDsDQ4sCo0ZoZPAWgt81s9yvOf+oems1crusDc3P2jiAssyjXioAeTWyeDyOPbZPwsy/VKMwWWgZpF+NKklnYto/+K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55930" y="1826260"/>
            <a:ext cx="8232140" cy="487934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1447800" y="6477000"/>
            <a:ext cx="124104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latin typeface="Century Gothic" panose="020B0502020202020204" pitchFamily="34" charset="0"/>
              </a:rPr>
              <a:t>Source: Industry data</a:t>
            </a:r>
          </a:p>
        </p:txBody>
      </p:sp>
    </p:spTree>
    <p:extLst>
      <p:ext uri="{BB962C8B-B14F-4D97-AF65-F5344CB8AC3E}">
        <p14:creationId xmlns:p14="http://schemas.microsoft.com/office/powerpoint/2010/main" val="168064924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/e29Lp16KIE5YFVc3JJutLLy/A4roDhdVn2Gi9I3acbOzqtuPOpAkXGbqzgVQPee5kG2NIJjNMRNYVkWxAJXHirbMtobphs8OOqn4vrvloGbXOUJFwid42Fj26DsRKFrf0KqLVyXIUTUU+Pa3Za4BDeVO5Mdr5oQ8DxWGRM+J9G8dt7XFuqGoagaAdoJqVfV01BbhNbQJuzlWN84B/gyIEGcBaHtDQxuVvDcv1VB1v5cSdsdt+iD6Jf8g/zCZFUaZNYGWJstt49Ptkz1W4q0a+4fhol+Vev4PSvTs8DcsNI52GmNmXg6PM9F49b+g80Lug/cQIO9BfEoK/I0YXg9afSh/VVFqlomVrSXqJtc8qCFI7h0Zls9TpVWr9SGwboout3lHHVJlBdkRlB2Y95Z/DwOh6IgYGzcp39k8H1X5dmieRZR4Ti5KAJj0hfJwXr9oDD6yma/cQ8vsXPHqbT1s4kVxIqqu9tFuUX4INOyrwqzIn3UCBdiNimReSl06JyNIYnDfQ0UF5PArBLW2LB0QjRmdHvnvNBy1vPYHAuEYyIVTxqQYAiF9b1d3UdJtFXod6jHmt15srQq/vuGqh/2WZycxom6xcz6cVEotS8htaZGu4pRMi8bZAppKMGS7W+Koszpa0Zvjj5tvNBGiaIKYwFx0+g0rkc8TAeZUMhad6+4C/5Dyu4cnityANnts+zaMQjMiHV6qxfxXARgMngTPemrMLJ7anTaYJWywHEbNIQ17FrkhMgK3sn8glVctoxMkEemToQzvSS8mUC4FARP7FRF/+kKBSwTzeIPBozNJku4LuRUEwuaSQGCvGwq5Kz8vDnPj97/f1PwGJXTcN+09+nWxoVUa+5acizwGzGzI5XMsEt+urMzvDPf9vhW4RlRLsGVd57ka3C6MD80khsRAvkjjmYxs3yf0oLlWbPfE8MYHHlxphD8XQrdn5lfu+rzaUwRPaeAurUAlFodODzE6f9sYIwQxUIO3pkJi8mfH3DlpEMBCGC34DSVE0YJm0ZJxdnWPOz2OwmEKI/yI4eCA20Q7WpfCSJpmRLhaQN2r1QTVMzEnDNepi5+KimLj7vxcqdxfKLGNsXOc5+m2f6MFFp3EPsKvDY3DUDnpIENpcmgkTvM7R/9I7HOTvuxk1o6T/p/2n1OZJBjjeQwao5Wk7tS6R8a+sE41EAII+9Fb5hInCbYBag65TBU2OSKIxBUa9/eZcK5idDP/0zkzsE5sr82NKDolT80QSc8jOQeOHQtG6/7sPyc6tLCpXOIZFH3AtyTyOxF4sp+WqDEcxJK51a1dNiQ5OarlLFy8sRsLnvtvyB67Q/32Gq1cSYiXg716zhQUz1b0SeUn0/ge42bV3oIvlLE+p6A4KBvOSXBD0yxVQtzF1Sx9aE5hcpwFWNuCZJMSkktacFR71YX+rTuwqmbqEGi2dBaLW3o3yF8AcNtNLK8tRbPvFjPRB7xerwA7COgN3UJrqOAesrFXbfrGCzG0nZ/NsRmgXhsJEKcjmxd7YJraNhpzngJLqa5OSDuzPybawt6DECPhdU4r2cxAXxdDIv6vwZW8hderzXfSqqazf75wY2vHuSah+ja95iyE2vCD/H4UI5+CjSkbBvvC4KYNd8R2z3Ik4pKA8mRwo7Gfev5wvYDu0nRQRV/sbDF2ek3mulQh2OP+UZKbss8s+qkW83v8aYCktUQsJVQFz7/C5K8luAV4H33uasDsXHRpQAkuQm57m/YvdJeFTHe5kZl7FiokH2twbl9mh+ZinaV/DcL1qo+iM32iY11fFqdRo9DdkVmgGZgSB12wMkOWjrWDJR76AS+T09sLrzVbQSYsQow76pO73OA7E3wyphbKVj2hWKJNK0zHc1LHSXsjWmkxyQgogYYkTriupJUoL/t5Wgi2bsWcf+T6LXc5ZRgIkhOHVkKMYlyCYpig0dre90GtSSSnqVws8IlTE+qpJ8+iAprR9oxoSOYbIzJ/mNGEWimx9QmWokKe+Kg0eKX+up2GZvf6gCLgLhlTFiZubR3FDuYiKN0iw5FEnD2dj7GSrTEvjm2f628dtvpVzQjjPHylcvtXfQnHFYVd6D/tqavJWKYRoBEyLlOjASraaBKkuDi1d+ymdM2+Nq6kTOhAIPvBMHSV2DxRAmdyUcBWnTwVTNJyfDQMsJwbEvqqd3ZLkhJ/9Yl9v3JEGjdPvNBT+9XKrKo7S/DdvVxOEC69ZCnZUQvaHXj2li5QChxpIPhyE69AabZXCme8fEUfFC/6zrivhPzYCdEHd4vyvHpya8c2etMLj+XZQwlECvUy1s5no59kIs3RJPfJO3Fq+MiuhsmTEN9iw2QFTP0L9Z1yta2rsr2RZsvVede3aVObfjdaSBe1k62k6pLtJlFozAC5+x6mEjIxugAENjDO9X9T1kZmntsJEV7Y1GoCaUKxwEEFJP8GipEuWbQzrNjhaYK5YlXwk4Yxk2rzoeO2XYGXkXDaebSWaRHRu2k5pwZ+y8hp0Z1j9eXpNMqVc6aAckWFj/FgkPLcXXbP4gHzB7pPLXtpGTc049917RdWatcckEpye8sbvQEHF7b/vlOHiRZXuKtUP5XXfTJBNssb2vJOMHkYZHZmqw4G030wEdvY0nqb9OWUSiAaQopioTMOmFGww1+8yN4BmRajcvC1JBxVURUPGLnD9oD7FQ+2OpHH4f9r2E0IsdPtwoS+biIWX0Tn6NHpkZEvUhX+dsOTQ6bKSuizBxQnT3FGzyYLq5niC3upehuivTkr3bbBo0+V/ePaZ/v3wxnLR7UMvNPTMTaVNPFerAjeMRaOq//9e0yAUj/cmG3v26YwfxqzOdX0SBn+WBolmbKVctjveJLCzYTqP/rU02EMYEDkwmd4ZkJZU81y2oZf0FtQBEFVl61fuA39avqPYugzsGZJ2OMrjFPjPOW+O7E/C+oCLpEjvcCpgyej0j7qvoKWF+1/Ml5I8i194MfyZwp6By6TAos0UroHSeiJxUtbnWpP7Unic8FmK04yy66nj4AxAjI1WSbTs1Ur41RQJFtiVxkzaVvR0tiVfndzGnaR5bFuUJRF1pMwJX/Ef+BAMCG2IAQWQ+/Vp1zGZbxqCJ6YcczVJD5r7AuvTgETCw5w5OR2+rAFfo7V9M53Z3vNmpKw6xVQFNyTWfOCF3fC5gz+yQB02+IelXJjsX4tUGWs3NsQF24X8F9WRT9N1FYXcZznAFYuivzdf7rPLbzFCIFy4W7CZB75JP8RJ1M7SKiTkIxkn1WNDjO09ZmbE5vMHw7AfPoYMZlRbWzwpkHiWFpjknSnmECa08KHN3B7kOkyI+J+F+SKq4uWZK+lIw57Ln4Kzxa9uWMtTj8rvENFibC098lLnoExX+o/nUrlbdFqtEtINBdNZxMKnRo5OmcC/AlUUlRBOJXryg9e8xCHNDDCymcRwzfzhWUygLW98MI6kPAutMkBmIoSCzWr0Zm70c3ujlU4b1lqIbUUeRjrsJ+QL8hIE5EByYH5aY4y/4VK6SblwT9Mi8qKxhhdxd++CG2/bJ0uEiQYD/oDFadNODCFsHP35oLRSY59cFYeebZgr0F43nKvV/hLSZyfrCba3lxi74QXBLjwqznsSC0OduOeipAbXaAQ3cwpV3B/5qoJ+fXEWuwxdDARypZW1Klf2L56xMkpXvsxr84GpmaintliI5rizf98pkaHgd3FGPWIl42zQiAK5fHS5qwC5EO0n8bBwvofPAcTKB0CSYYMqARyEITRVa6d5cCQyL58dROXjbkU9TaXNWDD2MAVFItrBXoPVt1SB7yPAdoy5ckSh2fTdG2GQgxyo6sJF7/rnjs9vfm7LF0LjLtWZeLA5NL1QZDCP2Wm7zt3S5Vy5rUziWQpn7vDZQsQ5ks7F/JUNEZUMuQ5ojCZLxmKi8ggAVbbUVvFf+ixiMxFo4RtQAXItYBA1UaryNdbwsVx+R1gCgWbFyj4g38c3P19cxILANK84fW9s0Mg4s11oEfW9Gfll7iR8M5VObKye+kFRvu0sBjGE5locicQjtyUFJf6CnXiDZaHsEc8865ZFq5nYFC5tu5Zl5iIni8siiZWC6a7sNnV/58bkHWk/spNboAps3VYzxfE0Wqeohv/5e8BAzDff+VT1QL+nvaoElx5MLAtxONFSlVZAjdJBYCNtLL8IiBiQo3PR6tWi/6NMP1K1tRNvPsCne3//nzEkh8aXp2F4lYsyNPdfoTTVpvSOIZMZt57wggEv5pCvQL+BfiOlaHUItAyl7IbbRzgXWq+bfmSVdYEAzyO1ohpDzVVFGEKt2KiPsgYKmGMngA7N/zK53KDvficVOFhU8ivP+830hxoLPcXoO+UN0n8tw5YdRhmCmDqLothvkXyY72ZPqlMtKQ80TWONmPQ88Lpe8N3h2RZryxk0aRtdp/yPkNrGYtW4vwenQViqo9usM+EYKVmqTT5Og0kVra6bgmfwI50DkiPdqbVwXm87TeqFRsdepZ0QH1yXCvGmLAJC7Dniza1+MWslfE1fTBAGw8KNgwA9zVON4lG/cNQh5zntPbIOok/MJSB6NKX14ogs7RkOZedu2DMgjdAwl2wJIdSvvxQK7IMKdL5O/Reyc9LLMAC3hxw/ovRsNsjIYWB+pv+M5TVG5vOWZLchFk+K3NtbOvXK5js7zd1W56i4s9RiF+IZSbF3guPpf2UA+uuGEkyb/qFx0QH9N3PQNXerP+NqyXojbWbfQ9gPsFxnc0SwPimpivGKYOWXC3c3yPbeT5wvlLoO6W8QfXiSVKj/93EI4gmhyEcwKIzXmDKre861TQrA64ivyBclsbIRYXiPqWz4VoWd1KqVM7XGz+Mn2uRDQinDJMWsLcraTzk1KjWJupwMAOVd7sp/uZ1N76xXwuWeihTfAeMP3VSaL8pE+fYxIrvpj7QtdMGh5YjuzlEYSsa5qUAyDfunUp75WNnMi+X0DhWmeJ3ZPoK9alkpVGtjWhRBgJeDRBFxHNOZrSUP+l48lmWTO4kCc6dzTJe23M3GlnAjel+ncuFS9bHEVPNyw8vkmI9+T8rrJGEnZ8bMWyxIlUJNRK1bY8N4XkKrGrB7v9z1+mK04bbx97kQqZYhqQeqlMcW+2nZdwlo1oO9fwNzwApzOjR3LwugL/bsXD3A4eVdBi+atuGXCDPcWnSnQ6tAZtnf/iso+AxqOc93vv8NIBz/1yllAOtgAw9oAY8hX/A2kY6yNVB8SBMTeKx5T2OCz99/Uh01JDLvQW1af2JoGR4+ZDc9Nb86X5lThp1TX4sBhy/m0kJ4G6KhkhcfcYq/60oUj+TOlNj9dmmYs2evgK8uolxRGRrH/S3hLh6W4IjJj5t3vL/PquNlfya5d5pLlNMQSOlXSxZYEJVp0vkeqXHWPl976GvG1PBOM4pbQUUr2rsR3/ZHplubTXy/qYzA+SZV2aEx96E6n6eKekZHG0i+PB5IQYFizBGmMdnWjIcroL9KxgKq3m10mvJPoLR8JMqlQW+oFzAsHQ9CMujWt3uxEfoJ0EDDZsN0FC1tCOE98/kiXreJX+zPW7gNpnefH6Iyry/ioAelda3OoQM8wFKqdWdSvJs0dcO2VZgCJLX6CaPvZseIMad/zE1lRI3dxaz8ShcfSXhRT3JxYL2bnFnGK5ct0VDCNxl5RWe10pCbWcOetj3kVv1M9CgVoatTFb3Lj4/YUj9+kWVXkhUbUDQOxS2mE/B3/4MaRvO1eb9VvGcmOQVqLWdUdZ7I7zFRgTCcf7XWlBEPhAOougczNvn7a4NK/ns85PGyeBLdcPzenF3mwUJ50DA5/p26mXe1T/ib3oGYCKTgbwhr7jzQ2b/S4Zk5lcysL6cY9x69cV/dF9i3s5pncOZ8WJbL+EMrwf0MLBnqy2MyPyvGj03EW3SpB8U69brb5MOMt87ccoPIWXy5naEstrY0srvqhfimb1MN4fgqM3DNMCLro87amsJPu6cpncWiNrCqexsWHJuK0bHKsQFr2cFE+q7vgqyOqWOiwVf2zNWLMDuiZs2VcmldfrmQwUKry0Yl9LYkHazVotZ6gl/ScaKhRq9pJeHEc9x21PiptThUcu/H2lubHNvLm41ff1uKP/C5dKEn6hHKZvIQ8KKWYcWtNBXTJuY5zG5EcCi2hmucACaltfy/0gDqplMN4ZhKVMzhyVC1jGv6i34XJZzj8MC/XE3uH7ZyQL8KYfLLXhmGp4ZQZOpVgtB1Nk5e87g9bGMOQuRD9YpmouZqNfgpIK+MhhGOzKS85jlznSIxT+rgzoObV/lu2h9UbuVkme23ny056S7TPWEqXp0k+jfSUHiDgpq6I3rmHsmd/g8pzZKEiPS063U+DkvhDIJ0L//ChQZXO88yRL2iVjBu87o8VotZFLn6FzwVYznfBFREckNNMLcQVWpS1PHAH0O6TgHtcqAlWc9tYWpCoFgbXQGVbDz47NlAWXVg+jqQVF8iHJFWJdCwRfbCsbC4qRpyE8QEN2jua1DyyUv6DmShuzkegTP0z+DQoTIJlFkDUOzyqpH/Hv+WGQqsoAqHlCpUgmFBYwhUoCtbjAP6WtLZfhjRuVtq8qmgd6bh3jmOlbVjfnR7+K3TDkkc6HSvoQU5DDgR1oZ39vMGTZEaH50k24++gBQLuYcdGj+JDq6G6S9dGTSH5IC5n/XImjiP/I/YY9ylMB8FzwO9yaWEzELIGNBwCJ6ZIq7ZIVZoKB7tnMuHj7eBp/OdGXi9C/1ADXIhrcPNKnIxLsnKru0i2BMHqg2WeICfup66SqVZOy81ALeNe2eeZD2lPad/2dfJTv8nl9hM24V8J8teq8z82fG0/IQxR2yMD9MEvspGTRHmXt7DqY6aSU0WMEGxhAHvSlTvuhFBuWKVqhPBNoiHjKZLn9iM07MdDP7UNFi5B/Bs160CmqYlVHfxiLfi2TQ1/08md6Fwh8roHLBkz03UCTBSEsDfc04UB8syht/tMN59NRdb1exEjMu6q3tX3ugIW0dQ9UBhCzLZ4ojydRJkgIz1RGWrphjju7gwKg1Ru5qGGuXX7dXDDQMBOwI8pmRX77FASe/ghP/3A9QCLTdv0t+Zl3Wg7JhUNi8OvQxh78m7CludwxvC3jBS78PurAAeOjXTOKvQlb6p+PYFgaf28l5YxopvIro1JbqDkl4a0r+xGWJVs3WquR4By0787Jlw0kWeDBUVti+Yw5CYA9VjdiB6fYk0aBJrkkEp36Q6m9r5W4fu6/kvr5UpNBvC4eYvtDcOlbd8llAwb34PX17nN/5tFzNnYLzZsFNP0xDVZwethv9ilxADNvp5pGeGGD7LlFON1dY6TkJBCg0EcplMl6fO7kIeIKF5moefXO06HUS3tihNRsOrmHDXyj9sATYvJVg07FuhBwKyAs5sY9BckJhgcivYILu89L6qs+xM7NmX45TMjL7TMbmH0M9FvZD3es5yMgRLeIpWxW+OpO4r35lTWLQllxS8pIAqOzcvtoIw7TIOb1P6dAZgP5fwxT5z1C1zsiSzmqd2ywBc2T+O9xv/+Fijhw5ZyO77/9e0alZAMQJXvWRXg4/cKizKqPInSTMS/HWn3NZXt0PJFapS1nnkteFGd+kJE3BOqhJZDo5J0q/pEHbFNOi/lWYeRRlobBoEB2A1YNPjJHeuc2h6b/Gc1TC9SJAq6ZkR2THEpu8227WlWl8bJFnBNPESZK1F+xOOBozagumNpPbBCy4CklKO4PpB43bJXIM/miG1/4wD/XkTbsbILcoApu3y/e2RWlKNpbzIQNGVPMnbE7LYNbNBm/sXWQ9l+3JDKO5exhYzqNCVcIknH0wb4XVfgPJqBFj/UWFwg/hsQppoU2VRSXILwLp1OwIFdC2XcpK4OiaCnnj2eGposQZRRkBJhVGT1QsecutMXfVsELsgm8owaF8wqENsMf6KvKU/qI9woCqcNU1NZNrkogsqgp/uU/5lUdW0wd8UTJoaghWpBK1NxgAhy4WNUD1abxtsUY+eFooW0d6Qz+DRqBTlvRYXSIS+BLNV3S49gFoYv1OqYedBTfLSca5B7o3/OFicPOCDF6/3rXTREHwjGHwZ8+6s30WOCWxrl2yfYgaV2+XqT0fkJcVpA09L9LofoTjugUyR6s+FmdrelntV+W7BV+D2X+CVIV3iOYc8yfXeERwQn07l49fijGSZ2mX3QmKRQT/k8NUfLFVZt11vpC8xJPFp1jzBxKo6Tumxzxl57Z6g42muCKfozcPeI/zZRWKn+UahJCCBIWZ1GscZsCteceKRgk3ZTQ95cYdAOVllsovCin/ry8a+zvqHL3m7wc7ggm9fSjngMPRZcM2YLEz/hQINRJI4zBNqkGANHn1ezGNOhwzWTRv/GcDY8bThsejmVN6sosMZ22AlQ/UF7nUvtzTo+LNTGMglMLKFcszpWplAy90oo8eIeRecYw4jr/Bf9dG4Z/4H1+/EM0GMvnnKI9iwLSWqORj+Hi5ka7eS3uzzpAQwAurgiyGln2evT8LA+Z50RWG+7Oj66Pkw1XBeX3vCTmCr6fQuKT5b8czm0HPbfl9unIEaNDL7bRCftaBxV5ti0B5HsHy3LOqddDmPASRtNLJqVYjuwKKKzDbZEyz9mI41gT1LcklEFyzcUzYIiBgqR/N91C0JBpspb9Aa991BlUdIv6mHjR5rqWA8ODRdE6zHp5D6LTgc5LuTsf3sw5vCVGnwleZn/w4e+x7OxQ7ckizqEeQ6xiEgJ6BJ0JiafN607HtEMpBPC7KYKflilSdW82VyrkBo8n/9yHnEHGLJxIrNQIJQ312bODXXK9Y1VaWD0KO+7whiyPLymz5rfWmRqWkN1uVP9auTlsYLNT2Q55do58tIpkq6j4aiHhBkigqItHQyxcZFOAk+zJpe80TEUACA1KIB958EtDfEMfFCkdPhK9mwZ+RX0iT3A+hDDankVYBmWFHW9z1V5GEPen/ZMMb+mT/K8CQac6FSM2aX7QxkFuG3l+/JJ4vPQ/IhEZW3/JEcBaKCM/Rp7AppcuOiPYT21N82YkJg3F4OPp3x3huosC9w6dIpbS3o0XF/STBvWjstX5NW7qXMvUQfe55oVx1VI/EtvHnCoLY848EUTTo89wfcgDhEL3wyA2UeyxGIS4yiQjIUJ1Yr7/o76Lx0NcmzhQ91Gu4AGR5lip3OlBIW0NASCIm79vzCI9LdlFclMaTfgfHuSELZW2N5hh/TkHB4UYgyOaTHaNdG714ave6n2uTYMpBAj1kA8agSiJFMW+nBI9LbMWW5hU+eC3eH0POfBR7M6UqGW1XPhxzBLG6ZXDxDmIl15DUxaecvgOS6V1OLJ9I1ekOq/rbXn31eil3xtfD1EqHhrQaUTAg1K1dgLfjz3pYnCxgHDi1kmM1TnDjDRCMk8mXUJtp/qwcrRNipJyfLtS3zK/4WVje19RaB15Yw+IXWsEFBUW/mLm5hzQRPhumAVuidtYnxkM23yUPkqMfDjpiR++HjqZmPvVa5n62WJ+8+yp6VSWO/C2ZH0+h0DaecmCNOLM3vW6DzE+imCFt9QbeH5n2ICgDqrXMinLOwTKR68WHvr0gIyH+YtO0RB0zKXC8Xq2p2Anpv7NsJ+nCLiotApQ3YhxbciGnxgfrpCpP8vl5WZUbtzMH/wjjPCgceq3ZP1Za51mn58I3SQXQsae2e4kFSTI4wu+/RD6W4v5VQkNi2B196Aq7qCrhVwrCBc0kbBKdtpUt/K4DzrZ97nCISxrwMQELhVJQK6Ii43z/bzpGkE+La5EquwBFgwe8wPtUHu6HvnR8GT6CKu+dO63UTdJPtPHj5Ckwpde/REdngaIqlvQRnNjg5QGxOKzvCYrHpZ2iwMumbRtix22Ay8/CduVyuTMhFo5NJxc6Pt3AkCYA8a1t+KNbR6PGX6lm+qh/8GUKF0H5E3koGNh9Gu2yoQDpIY++ZM63zvs/O81VA/Xbk6SL2fCCmRw3NWPFezBF+U/p/Vz6DPhOUV39zpyCdg7cKOS15i9XamvnsETFXHejB3fAQJIDGtF0TD4MDZFP45ue29H1R0rFphPZs0bOOTIab02y/NX6cbMjnZgonUfEQtBLIPLvoEUq/bIuGYjd6OSOnTQSa3XSeT90za3WAJf4fsiOimfR4RVzGwVGN0P8IiMOSrSgKuKOXVA0KAZeIUwPN/bHglsNoSriT2TMuzh21bhco0q1fkUX/VY+mzsw6OQ8g+2aghOYNWkEn0gJyiHX6Bm3+e91Qv7ZkQXov+BrAg0dJ1OkxpXq23Z7A8weIO8uKDFUehGjc+F4NzFAChu/aCEuyy+qwV+k33Kx9zUY4mY0H98OjDYaYDWfMEJFa7fnFg0HZLw68cCXVBZDoFSd4x1hDGegXiaoEyvasoRNvJwecE08++u0L1Dtux/by4ugHd709tadpJBXXP+idLhzpXnXUI9KrNf9bMPlfrM/cGM+Ej2L0CDtDu8a8JsfGbD5CRSgL/zA7bO6bVRcUlxfTYgx9Pjv2JI97y2aIdymvr76PaNn4aiQu8xiI8afN4XYze5EMGPvDKPmLNrwzhXP4+jF7XSh773hs3HuM2gFKlflrWZHptjpkSqT8OFIm7TLefBU1X8FqK/aTmusZqYmRZf1Q6isWh85r5oE8YaZrUqosNK2BH4c4Kxv5mDV9UEiNI1JEzDRvWbv+bDa2viTVCSwViCDbY11VzOnSnjVfAQjauSAOfuyIj5zKdMr6RPcpxDM1eAR1NDso6CCQDyeAroBgZrQtdSv0ILU1o/+YNNclylw6v8SW7JPSJl8QlNmzPPfFYf7DlmcX5Sllnxr31JWTNQO7rbrwqDd8wyxQacB4sQdE37KPL4NBc/NeBNXO3OfGoTerXXQUp4i21/ChPL+MPH9jvD4Mu0CVML6k6ldCIunvShIF3l/GTrEeG58Bbauh2ew3Mmoj8OBKkQaYOfGf+0FnbYRa4cDAf0skfeV6L34BSYV2M11HirRqzC5PHkvUpurwk7dvJw20On60sE3jpo77KIZgOSETC1L0EoWjWhwJV/FcZ6TTXg0xJWSPsDIutZAeVQ6OmXa83EQUr/O3l/lmb+iHUPQx/AsNdX9JNOE2y9Mlly4YS/9vWdzp5wcJbZk9HO63zjzhEBMMf9SmCxUoPBeJsanFwi4fZdCnEp4FkyoBde0SsuzDR8LYEh7iXr9yhoNC8gyvCnFCRFYskVPD9rgEQqItudTbBadxqMOumZSknEHwjQ83bACcTdQXnAS19ewIPOpJzeaziPQ3cdv3zTKYBXA6AIViLso9ZWUCGlYhzaDrZW7LDI3GeR37EITHIVvXstHX1tCLJ1bl5hgjmdJhjW9e+4+ouGDBG7s+WsgqCygwlXDxD1ODbxROMvIc1NmAw8Wm6GuvGKDJPOpzP3SPkO0+mYdR2kfjcR2hpyTUiSx9v+MJTlb8TcTuc58P5DNEMVf4skBpSjeBZ07pGhp3gCU3jf6+bIQkJiIZ0/eUMS7/zLSfG50aYWs5oQQEPEVSIXl+7w6yl4d1rfh9DgOG/iQ5u8lepFxqE+zJxiDf4chbvQck6h9s8+2Qw4TEvqnBDMkNgOmE+a+FWa6wGxWvg0anm2n+XAacDyag5IqN3wIxZTd8daJI7KXaSPLsbHEYKas0+7jmlRCFNCw6ejIXoXJ8RV4oyfVkQtPIzFL2xELrncUybEE/9bpOqywAfCQXyJ/DeHlFZGzfy2mJdclji0ICv/+uDvYl4E+ix1naDXMVDWH68a6QddewCQWCNpMMmKTm1n9ivpp78DiDu0QE7A9eP7vJv41GtUTCycuF2rYP8P4ouD4IFsw4KDcynSeNQH8ARqMcsX58ZSCCqkoKJ6QhJ/yNw4M3cK/+vcFZVeJPRnXxwIAPDg9lquYlKRkeSsRU6/BuBxPjMVjeWNq7ivFy2bMA1LqP1JAfQOr+RburdcFov3NFbdjkh6jY05ozcmsDaNa1D2f8cE23SiNV7G4TLUkrfJ97BiInUtspfJ5Ru9t9mIY6gJ+3i876suVWQl+IAj5+Gft3DciMXV9ZuYdNlJNaN9rhSiw08iCnT59vpFgXGhn77f7vZ4sUW4CGfelgDCMvZB5ur/9+wOjwLj+tWu6TPD2g8mjvcwcJXstiHNOMSB5BrEcKTZS3jqcXkcOGRU4MwQsWTYJQA4kZ7UhkuURWfhW+uIRJ44zR2irXROFghKptuhGwdhe1UN3NPTBN+B+yW2h4vdw0USwaWu37+FsVz87fanzG7yE9TxBM+dVLdM6zGco1I9glNrrdrZzbdO+TXoWpxpyIyagznCCDvsTGft2YcDiJNXI7bvW5L27AceXms/p9ya4pOJc0onw+bP7d3afW5YA0WeCzdVMZQJphUoAt65IQbLLoBls732yA7FqBwYI7X3Wz4ZQ57RipPwCT9Wgow6Pw/UL9Exq32u3qyEtuyRc+dTTbrVwy2gKMA2wxqFeivvpO6K1uVhoGB+GDZAiNJ7eHnyxg05aZLI089j/iXSRk531To97sXsIvMcyfUr4z+2eyc+uz6G5c4sSlytOiRWo8v0yjoUZr1JJgFG5EJ4+HgMDKiJ3NjvrZUPgSmO1CpXpSEu1fMT7/7lbt+jE2Lhqv21ep7ALGsyN+jisP3iqqQlNp5qa3qQ0UpGKRnIZJF0zOXbbOqE1oPASjkZ6+YGZLM4E0yWCT9CnOmvIPlbucYcfZkQbSbMxfoWfTdqT51vkJg5QQc4bwx4ODydm9WQgTtyduuqDMGduBmJf50rbgBDcVRkN7fFHuPOPDHMM9IE4ORtvU3KEn9d+YizKS6Kx7ea012AiA3GF/ZUpZKQQJ+FRnDhXFbq2GGMFIXDAqYiqlxrfhS1skdwGPymj7Blq7D804d/aTyJjukQ7REAdE4yBcX5RXKH83egNm0TbXQul6Q3QvOsjRSB3dK1FfvkDZrZ4nM6DIwB0NJiXEpO6aKkD2ACY/tJrB3Aimaj0Rm2O0P4kQA+GG5OM9971iB0T26EzE9lUhjQ5G3dwGC+Yhx0nF4LTwYCEwOIf+Zb6rj7Dnb6HboGbQnG6eF9QKv7KgjbhOmr0XAEyux2dP54MG71OSkTxLdEAmMQka+FXy5r8y7TreIpZFA2qs3IdCw3JmUga/k1WZBWRjtkX0Y6TE09BCV+Xpt6qMDFJbkn9VAWsaAjOolQ2Ne26H+fX2qBd0YVuxyTGfLnp7ZvVQHVZkNXmLV/xNHiw3PmiZGcz3M4jso5n4XfCYmpKZMtBh9WfkeZsQJLezjrynvBTiUKurT7VckpZ0GYElLgh1ptNKVVd6hqGJkSVO7ZDqPRQhC+V32sxvy6+zz0oammZQyrpm+Gro7ObRf5lDpF4jGErA0l6xt0YVRz7hV19m4EAFdi0mQmjc/TTJ+qMdxCl+y1CLsn0QFDeWg5BTtYBIIi8c2GKiM8aOVCRQVFKEYzdCJd6BqLXnFDlVVqQh8hNmDfvXqRdjK/xpQVww0WPWZQRGSRhwSCZtxPdhZaNqmEsQWPewzXzR5370y8XB2MsV97EGTdvs9tcIcszM9bpf+RCR8cpjXZRuMk+D5iM/3e6Gt1waWPH6C4Pfm7dzgKNGOlp0pPuyXK+UiFMfBXsOvmFvP0Zdjkr3s9jqMwESeEcPBnnmdOCyQ7hO/F+w496ao3/rsy8zFL4EIyN/TaNKPfzwI9fJ2vVwwf4eOh4WoStwQIGgF5mCYiyfdE73WKkib1soKBN19JN+FvKF1p7sPiFUm0Y623qZtCl//1HEE7sGFnmiS1/h7AS5Erdzgl2386fxZIqeBvjZ0VU3/s70w/yK9+7EryQwzdxKyINtk8RSvKZId9UkE/PCpqagiFbVR3e/PmRfIsqUMwCepH36zqHCUiBMOVUI/4XyW0x6/XYwNStM0vkEOrKPfVQQeJgaqUofVrf7+dN67ZbvrA64IlFT+MRUAWwqyKjGwjdzt2E4kS+ojQLAF/wijTTvJWyQEZe4PNWCTOVjQS3UxviH0D0LLQ64Oh0hnor2cR30wq06c5Ii6Y+ufL+9YHBsjlUXDsKqs8hHSBlaDNkAYnR7IxhawVCO3ZibyzWUtZONAu7ZH7XCdgRi+JVmqYAZwN08/XugBv88e5rEUSVfBGkoh2ShLnTLNUG26BEzXw29ocIBkyjcHGBH4Rj1XujGZDWrOwJJki2AFt7b+75v8ObwNgsoM22gVndzjkrUfkyJ8PHrx/g0L+NImq/PsxwIm4eMrz+W7lk2IxcYuc8A94/wfy/McXg+/rhfocECaapEQA9FcNi/SafZTkt/U7Hu+znuc7TY+oodLUmSNVCgPRPVZPCuKDoIGKpYOolsyw0x5T/o6nw3sU0ReinRCh5rLm0yhep8XKBa30/YBmFdI60i9mA7n8fs5WkE0yYs/Q1V0ZoyCp2fT0awEzDAyhH7Zlo1xByNOUOvdolFY14zyWzh6qrzZxj58ie/AC7/XgOmCoMfaB1blyuOFhviLE9C/aAo9b841JmRZwJQ4SHRvgz6RavW4EZRwIhV/558BuJje8DOYTbhnpkJ4FazZa+dtmNixOfNMg47K/MQaXQltidkC5nzSWue3q4mGMhpEIvwE0mcfOOzLxwZjgmpCqT/cZowzcGSZqH9nuNlL2JR8ysS4aaz6xPfljVnGW2PDxgSS2apuzdwGEq+0hCrIein48G3S6cFgVetU1o3rF7Y9FjWcnDRryO7JuGD5jqiAkQNmFxm/YlPmp9ow/grafZEm5iudubxjmQ5ewPoDO1cDV56iPE4D9nIZbPro5Z3slUGj4ezZ8lHkf1l1UKkLmjka2unzvQbUlXmeZFNLw4PKRQkZjnF3Q0EHpKZlZLaVcuO3oazFoX11EanVbOevZfHGH/2sZ1yWsVZAFwoLb1uoDYVbcsXYnkwVfYtx6fcXzI6oItsjtwJhSlg5TrvkqniY/t29Wp0s7AuMvm9F2uCUm0cWsCc670gnO56soskY5F4IOthwRqk/I69NThDatc8HiIbNMyXiebWmXWeEGJAQqnCwxQKCFDX/naUateVZVzwYJ9ukAZ9xajbm++Ywt2tyDmIoQhnPgYqc4OzuohdMLQAWbFY5mZKlCUzhVcPmKrl54NRi1+LxUPHOGsViKHoePU73TjG25yNulxRFsnwh5FDOvKcuGlOMv7GmjEOlgq/HhiZdcuiwhjg48zVnsBwdVHuP8J739lMpNQepMbjkGjiQ/fXY7FXTLHAUzMLNzploID5isnSBIUcMOGlxVmrValIsT31OpVTqqPrV1fA2mkFGbr8DfHslJIcTYKfVNbCRbk4Nt4cWU45J1YcdH6NTm6IgzDMVtrQnGV0LhXphRin38pCjVooVNBFyRF8GJ9bDWCj00vcJI6AxVgHvaVjDnMtzl4hN6pDlreEu0zdbY0hZq61offwjQ+VbMnjQ77wMFtWAZb1aHMYiRQlPoCzqGELDsfb7StjwnIAm1iyBpbxmWhrspkN8su8zqHFS+1TjMR4NmcfyIeCuorT3Vpy2qAojoREG5tHLXKpSrkolxG9WYBMaHjAuPh+IH2UsMOUfxs4V2BJ7RNsUz3BQw9ytpo1ggxtBA/67Uac7EshoBzGwvHJzI3/HiIATCtb2rxqW5j8F8xfas47MJhIu+PjSbCus+W7VbSbaYHV3PrUX4k14avanIhc3ia/wGV6s5yNF7S6t/FvZeOAzmQ60JmJK6KBJrCTtvStDFirgwLu54C1rbXq2riatn70FMD9HiD2dCUpWIdAM/5CivBSwPytwBZBn1mrLRC46q/wZ/GtnPPubV2Jcr/K0Opo05LMNwrhjHL4fLNL1qyaHO38aTXXVg39YROA0o/rvWjZ3Ky1nOKir7z3SmlEla1/8fMaKhAqEuFeArcD9JcxO8WajkZAV9dgj8prudqcDo4r4LiKoJJzBFLcIvhZyL1+UL8HbN6foRW7UgudQhQYzFIMCIu68AEWmQHhBrvEZNI0b7UdPHYH7G9zq8g6rbW6JAs1+nfsRfEaHsyRDCTl49VPmipaYUrFX+n3Q+9dD6v4JQKHYiA0gJdiJAqtIyjZyiI7SUdgTXuC+QoguOrA7l5WJsAR1tJ44/1QeLuBPWTrzp6GlwMMVEINgbSrDP7oluyHLeWLuzjKfyJDGbJqZzmPsuYLncE+7u5dHt9t6k5b8C3PPu2w+exSdE59f0It0Lklz0gOYfJjIUat5nRE1RtNRp8uCQXXwooHqvfpvfUs8zNGZBAHIExlAoy6C0sfJ8UlzirHhpB48TuIhPtfyfEq923gZY2ToMQlU7ceOmeiy/Hjo9gYufZ9X2J2Bzrex0vkFm5UHHofE+pSZAnIy4O01bfHPqy9C9l5Nxs0vZ2Gl3BtcsywpoqShPtKTVigrz1MUlTiZekblT/4oh+FNaQJcxOcLsqHLHQXqLkAnwE9a+4tTi/IBckzrfqxFJ+gMAUEGN2l8bc0tEYU83tEl/WLCWa6LJs6sckIbxOAZnVIpNRDxEJTZD813UtGDheq0eWDXU3fM4r8OWH413tfuB4BtdbbvGvGND5Bf2dpt1EVRPN5QthgfKjV2GaTHM3tTSJD1lra6UnTMhp7dU5IVzWSdTXwJ0PyyQB9eN8NLWCWReEjSqCzsmrg8n3qgNHaSObf7DsJIwOwhAdy4UYxR2wuoGhCz6JKvb6z6lPV/S7FVMnMlpcrh0wSvE6sIpLAJBMS0w8dO2EeVw6TiRLIEPjwXAv+d0OumzQeQaL0udx8Rt99SF3z6RP3ZdoqeAIOmZss8j7a6RKMQiGmI/cJyJwcIGePfEeveqVeld00l7l+kko9UdS8LsTQaYRuCJG9R/mCVsYo6WiIQNzUzFOLqVfm7yXAxIvYNv5CeKwtsE2gnqnNUdPsIE5d40Nm5gx56ccYBGRd3k7KVmOPnl5z4KkWFTNfDNlEuqC5ctIgWFiCC/Ef7zhLGB6mxn2L0uk3JNmazqM0oHViBELm+thIqq8pE8K3GdyQl2nMeZQBVXtaKzkl33Xc1ial/ANdv+srT9iMWrxUsUzIjrG9gYSjIPsa8EgsANR7rEBypKCLoonswcMonPULQnt6nxPNJ3g81B5Dqd9W2UIdlcpPfgbyAMvpOSWPLj6XhWORRMQsIlEA9EEWeBZdJFWnkqEBaeNoVaq+Mp4PhEppkQYTqp+3iumvuoNGB3J9U6IzLy5Iywh/rW46xZ7PtujRORq6KEKQ4yhIccj0KOzBp5e4Pf5myomvc72MxnOeNu9N1Wz64BHY6lb9YGWxBFIVQ+KnP7k8qKwkJ7xVjLuIvkbwqotjfHeTMHBOA6eGGUadAC7zl5XwtR6g22p4ESNjIhWkg7efAbKsRDlNaicbiv964hgJ5DoJ5zo9+p1JsPgFOQyooKvaONjKHill6HY/2EQJCX0dRCQvcYIjyHttcl2fHpurmA8LCgKIIpJY5rf86cTPGATqPSckdIc0AYCEd8ZLfBs09yTw9VP2NeXCqls+dh0BHIcZMA2RBtMpVgE3mOspQX/L1ZYzP9pM3Syb1SnZxSNd0RYv+Mqur1khn3nFJdcGAyp+4PAb9cg7i2GN/acYA3AYFBV0L0m30OWCn++3NmqynriajPaR5uko2LNauE8jkshbRu6dltRUKA/FB9dxVDY3xILwYeNcnAXkqnxECJ8pyMvDD0qMB+cKfHagbfejpMr8SuZd7z5PyT5S8SD9K6fv6k/6Wd7+5EXXY5qJ7vpezGFmzf6MeZ8KV42LHcpPV31snUTJFfAwqW63KydzY2il/qm8MoB+hX/V44dFevuJEvtIvGI/Cd3Nq4s2ukro7pfTcXlPFi/aoJuBrD/37j6/xNj56hAfpUv9q4YW6+fg/RjGtkqf8AQJ/sfzv4JyKMaiHKwn1rt6yA44yulCDqz/6ho8ookvkyqu8HT1f71HGAMFhSY7chJgwEbf4lcYw7DWOh2e7KyMBuzJtKuFPEn2hB0oEIXAnmt5m0VstcG6RaNNiX1QpGNEq5UT2XHrGO8mggCcqocjwZsRBDvLo01/Odgr3AtwiHFL3OzHXUyC2dBa2dnveeOa8hYq2gk5Mk4qAOw2sAZ+tVwKPyWa+yw0kfLPX5Or3t7MsFS1lQ5C82Tf7gRZTbg6bssQdtcEUkkgB+wsGoJzenoh/h+GTXzD6aO0TUB15IeCxjkLrZPimm0mQd9nVQupXDo3eVtXh/bQtweZEkwKcYFQTeAys4F/msS1giicGx5eQcmcP9qmox8NonMB9uY3cFyfPF/BNxNwLeKvt+SHhnkFa/eQOlrMS4U7e+neBuFKZleAcXu85CBvqkNcCwWTwZOIvrVpgjzHyGfQo80lkUr+qd5zLNeWovEesmbM0gd0EPGngpgd8rYnBC3ZSG803DNnt90+0EMiBD6Qlig/y57n7plrG9CQUlf3sj/QlRPlgG1h16J3OrbMBXr3h6YCa2Fqw9DWdVRIfqEJoYJdd9kkjFMl8Pm8lo66ajmHYkNBBfCqrkKkoRLhYczOjGQxtvr7HP5u0m3CqpVKQWJzJ+OBlI4KbaSEoS3pVlg0Ecv4u1hSBtUxGApcjiFnZVmaDrFClp73le7FSu6IhF1wuzs00NOd7jEfvRn5fOeFa48YsR7UoZO2guSRdmgg+9Pect/VsWtbe0XUzpdaLOggVvtA1Ihp8PV/hhUwQR3eUi3BJCrqiKFDyM3oTRNzli+bG6YLPN7tgPO/DQtCQfjeoKZ0C8dlEbZQrASG+ZV6GuRhcvIh+MDhVfu9YhW7PBNGsfYljDnDD3MbLF/KX7PYQcFjuY8nhW2xyz/1r/WDedDH2rsl56evY3jAxHyCvDK38tbX4vMM4DWIw91MA9Q5YNpHOkNVHccKlFDgLIcpxEJJwMXhnqsr+7ukt2MHt7W4yRWjIXVCZ62MU92Rhwv8ov/qVMEQ08ii55HVwFPHf3tgEUZT3EpU+MZ6vzNZkhZ0PGyqXy9L2JC3ejamcDOQOTj89Klu4huFhYaIDUULV6Z2xfKFuWczLyNOVhCc1eWrYzNlNfw12eN0QkL4rcDY3Vn1h5iNkaQfUvVt6L7xhkP6CqRfHlH6x4JOP/5Q701n/itWPqfj7dTpTaLl7KsmSztN79ERTKBf8TXZ44Ikuayek52ezNhNG65q3T9kuTedC9YR854TbtRllC+f0WhPe6Onv3RMApvbJ6XIE1wY4D4hkowQ76wMNZh94wk0okmKZgckaSVJleZoKAxza5k2gosaoKMhkxs9E2KXA5qrpjipdr+pfZhay10Rss8Qvb2TEOdMx7y6+QzYkaawsvRXAVXx+b6qa2KP8/oXGis/4PssgzTDAEYUJ7iN8hgu4a/P4A43o0KLEfNbr1WDReqbom6acZW+ifpsAB3v5hfRH32SQB/xQaOLv/HBc67tgGREpo44OeIMqe7qC01mpSXejwt0YCyNlAKnOxf/cJtO60FLqz5CgwPQODSKNAJuiKX6wRjFNpKvqyicTcPyHlausbC+HsBfJjbxOrjtPhGOExZERqk+3V2tao8ywmW8yxj4mBAIEy1XR2iqUl+UgkcVy7LIKVhBc+TVwVMC4CKC9haA4GHyrv5E7RYd4F36FGbUObUncI0REthIwQt2E8zZSVf4/xTs6OpyjPOh5CireZmybcCOrbY5IHMrT8YgvQRumkD/OO/lVuw7r86qfeX198fhswbmrK+Y49hHv+TvCoPnX/eWofJ948f1UziO3xMEGYl9cvcuLSHdb7E5o3N76qyKzDF6MOpqqvawnEOjt0IdzTlFDGMkrhMbCC/vBGro50Us9uLFwBujZvtazdN/5GxCG6jTVn/7NmkrfKEs9GnAHtqcI76Nh8aMl2bdziqNp7U8wurQvrul7K0Lb1YVHLwKJoy4V/viYX2YfpI0j7XYEqfdB5GA8naqGNz+LnTJiUkE7gv/UOmgnVDUQ0iKmRBkj6a9pPUjm5LjHldosFWDiD7HfmVpunqjlQoe6KmgXKOCAgMi4pTSlCe5JwTbKTe8MrIHH4IHETWo7czwTblu1p6dPSYhgS4yRw9u4uAnpKk/XHL4aV+i4IFOUswoC0BOa97sbxuNAr/MuqG7JB/iNItohf6js5ANXDrkL+ML7Wl8I4I4U1lDB5qA0cgtWpxMRRPz758fUuv9WRqA8gg2W9+4GLLOWckPvqiDg2Ufj9MDH+Ib8tyYe7yyeSfMyKBpLyCBSjyBmkRIbQgWhPsLhtICqZcwti90V9qIYufbUvJXY6lByqOy7vVe/tmBHX8YlWgz6abCiUJwcKnt6A58dJio85WTS1lajrNyse6S/xTrS7/jb9VuPc9+v2mfufMwf91U2fwarKH3EqvRr8zCJLXYUPJYiBjWemgy4URlIB5sunVy2JBVgrMYx9E25Ida0fjAt5NnucT4S14i/EtMgdSAbVpdpE2iai5FohxCQAbO2fg0ybXpd0+n14pG16FMPeDCEDiH4Ox2WYA+Jh3cznWrLL7XCuKFIWZirSTUCfTbeohkzvInwVzOVV+OhlP30PxUglaoRta84ZUab3rxlbHknfIv4E2SPoh+L+Cpo+LiaCa4f9mQZjH/Gt7xOhwcgHy5Y72hP0eo0MVGQq0lUX1AoA3iSQshPDuGJ0amNMMca38M+GAoxAx7wrIlvCifzQEhtAbP+ST2Ne11MLOyTlWt9WVtaIJtQIirhobxa8AcGWcHsA5v1OyvUagfsOujBYz264yw0hXjoX3QMR7N0ju8XAIQfAkiULtgKk32vZ0pqT9p2ypWqkAhHfOrNwKgsiUlPFiaeyq7G3rXRhlDGH09R95LgAeUSSDu1+n+Lu9g+I1SkohqL99EKY0UI5p+1+KrHf865j7ja8Zh33yrP53iDBPX4o7NHjWeDfexppFPTNjIU8milaGQbgIbl22iNP9W1XIqqrDCsivAFEuy2R6sqek34ePbEzP0wpda5GC4uB+r0bd/K/A7wyhA+i2H3cwsoSckaWK1ChcB0J1H7kiUBEcR8y5yL74WL15uy71qWLABWpSg02mNm5nel81LIard3yOOiYcSYwCpvqzEl1VotrkR/4ThgoGKl4ohxCQDVXUUi1iQemZ44jnCD80Z5eOURTwcfDW5dvcf+sdbCtU6drxVs8WPvXvhDH8nuzrWLal/VPSIebDuVPjOolmUOVM0TEgUxV1Xl2ihxrZ9s+cXNHup1iHVE9EAgp+2JBXQ+/eN5CdXLjKNfJTnPQZtcfVKZ5xeDWwVSmhkG/or5rP39WevpsKwyJ0eQXQ8WBobMQHO+t0UuGbd7xfP4PQ8Q5Kl2ZImbxmp7kXr2SAG3+iRqzMCp0JEtHOJAYMGIVC6c6ajTEvvG/vbwjMbKrqM2xsCYsgenI3q/wsr2R1/n62hGpkNwEQhEnj82UqoCv2O2ztq7xL71mzPNpbS4bO+KTpkYlkQPVhMMDCsIypYDFbFYeuavYZAAAYXnGc/iMIhkBx9WptC43ZVMNi8ZP6xDnBeo2zXX57Ab4ZSEPE3aBUPBtPOZYSeBJIuj9qimR7wPAhcT89XOzlnsFchQpW21eonR9XyUBdSiDYt/cWxZMh7xPgsEUvkfnnD5hdYrFraITvudfNGKQJu34JvIhKMoHXUnhVNKkHpSmc7AAMx3vfzNqCgyuu0B/l52SpzpufGEgDaCsuoZBtgMs3J5CV5Pgu6ax3jKQYr2UbvqUx3qMb4YAt+pwwO2o79q4vyImkxSnXIUuztsYwrko7b1c4VeRy1Bn07SlvmEQ2UzuKv4NgophCLaWTHgALK9HaotyKA6TltqCELGV9KRknNJQEUkwOv/yKkgFqF5JPRPnckETRIYYNuhfV2OtoxgCZ3dVhnnYT1gR/G1d+IhdOqyB3WtmS8/UyxnBYcv23Y+5dMSrxiEHzv6+68YU0fsGMbcugXhnkbPwPAtCsRuZCodcigIbO5G1XarEFmN4DDHWhneNfbgIm7/hywUarKwWOBbpz5QbtZ8pqRmXXfeNKSCEDzfWXIkP3PAp84ZwfE4QW7KM+2uiPytQDamFNPnirDGSegY1n8/RL83dzUd96giH+bD24kcVfmXKC9zAzNCgAV8XlcQvB9klyQ+OiTgAaSjmQR/HeosrxyRruXYBJSLXuW1DSwmwSz7R4NypQuaHWfkeMLHgcPGuowGJ0ANYdLQczYh7CAqAuxOPfhzrnBVglgPwIS8OfLMZ1PK2mAoyiAu2jTS2WTndIp83ZomN1siYiXziOTWceQeC+nmYEWC17aJqFp8sTfWQOQFWwKXasbspF8uUtGENg5NzSJTQ/0pd1Wq1ftcPUXlnAOqYV+5HUrckSOLSetart1fMyTw8dx3ReCjgQH7irQxgZU7cYAUQUG2pmXWA3O6LjatQFjKWH6NE8TJmMdMSt3ZRPm+lU/00/IpENAE2hGykbB9CCSZ9md07JANcEKG+Mubt39GyM0Zlk2vG/8nbCjCx75r71/je7NqVYkpD3aYbgpeYXAi+s67fM0s07tG7K92nSyT09UqIuzBSHNAU2KCi+Ta8x4MGguXzVAUqu8ExWixXRz5PmmyO6OMneYP83asYumVDc+wsqlLGjjMwB4r9meG9baHHlOOCHk4xZZCVinuDYboLa5Lx+d+VdPxFAJDxuDTksaPpcBK+XTsZfMnhdXTiYjc2JgDmdvd2ijkWG8QqZj4R3aRb66F4vRUZoNfIUIcagM1YJcJT2wbIaUUayQJnEdguYAeh+5ds69bnwgODNDbWvuU7pnZiI0w86jy4GuCLGEuReQ38JjvJt7AB4nU0lhu791SCpj0p5/XAtP6uRPBOOoCjdkCTmXkB5xOCYeQ4Gy0Z4PPGeHY/+NTmmYf6B9ru+JvpMf2YOckKPwcD5XsSrdk0PYFducpAV0nOk5jO0HWPKZfALLhzgW/aFSESb9NV9SRR12Ct6vURIemnNuaWLNUFrasG9wlerqyN+KnqO5tTO9xbU8HMqUnoM81ju44QThPFQ4FFvOyfo7vLmGESAPkziqdhXDK85n+cAg3i0O7XXgouGe5XXDnZtdkdoaUo+kh8/ZZXW0UmWOlgYuGBu8roHSxl56Gix+1Vm5RfReJ2icLFligUO4OSI3c9ayu6yNB6AOpcgiXg0zcWSB6hEkIcu5+x9V/08QaWnWN/cEJr9ssCs7ZsZd6QrwZuAuk1cypLWMEnIOWfUeRfkgWSTrH7/6OteHUkINYP+C7mSvgXfkaDBRyz/73cjbYPF9NnrfUIpdm8G6NAvguhjrv2rF1Od8l79lFBnfVpzR1menE1+VM59GQm9nYvAsFvR0BXlY0VyDgQlq4UwJB7cENqa5frR5BuFcchRv4F9ieOzKgFqrME41BP6wJaJaI5JBZl1eMTSLN99CBJxtjRZlXheJDWNZ0hxqEn96iUxBzHqGWkC9/f1zJNs5cDcDTOPVI0XoMTGphpvIr0p35hyI8T45eC8ZWb6FgtH92VUFM/IPjEUXErL3tzzWoEYRW7dP12cMDYIUWTpwzU9tJapMCG9FMEd8ng3TgYCsG1CrrmbMkyKSTzsD0IZqNA1C2oVLCWs9kERFKPAwkaXmG4X+Jss2COU58okv2QVveMFJ7EsWVnSN6rxpOQaWKQ25dwQMyJFjJOFd8Mz0GakurmHdYK1y/tOfgL+tDGgu8PvCn9PepJZihvk/WstFtcPsx5kx/UBt0Cn9KTUGq6QHAQezmHTVKCnoHJZqJGIzIaM88/KLOrohL2gzoKvbpQMurYO8O3kARWyPmkg58QA4a/2oEzvWFewMdb46AbcmzQclpK8Tc2VMO3EshTjrhfJtKOF8e7Her3Gjh8dOcAH/6X/MK5M94+r7DdqpJA48pd41uBDCIXLtN9ttbjRbdQWgjmuVny+O/xyjcc7+aYYTyCyOJ+H12ljM4IsUDzbULjDIhcMkGOpM0UN8WnAHIsPyCwf9BAEjKP9N/8tTsjKGjEOuJBzt5yhzHWgLZzdZ/n2kDuoe29b5VhEpKCYq761B9/hjszlAzB4AHOfpTr4xniq8aYDEAocXiyl6R+d6wl3JUq97r//c+vFpnYg25e4Z4aqjYvQ0jJoU5PZneM0waVYJ98aeUE2va16EF2IW3Vyz7cSAhNhDarhuSaCVbuxXOoFxdEzWb3Rt8jGhHo9wDFdPXTHCdOdX5SU2kXiyP804bhSAyXu05yM2/DYSTMwSlXu/u/LF+RSY4hum0gBfgWcxTWGJH/8pMbFfNXL34JyNnrS3EAarautLZ9AQbIWqDRtttdPx+3bS/V3zweCTdKGedPXROexDYCdPSJpTHVtfSK99FNA8cKl8r84crGTmrEa9zdV4QnmnS3ZNRr+4S2lljKACYj22W/cWycycaro8Q9nVUZuwJiqaDIWsxBRxrHJuNYpMiagQAmm8B4rYFyWJQBE2qemcJRFKHoNRauS/KDdrDd54EiW0DjiZZoPECukfPgmY3URbz7NtkRHutaiYdlWeQ99JS49XKMXT0qG2MH9uQTvsv6JlY0Eo0UYw2JkxvH8QCi9wre5/WVXWDaAJyhtdFoRdv3ziC0QsWCX9sQxTj3ZBjAyRX9zuwXn+4DZLA+RUMZqEuyu5iU7uLMTU4rAZBdbnFYTKcoEzuuYEzkiYWVsbVT3czj5Icu+E3Znead3CbTcf9gcTlf7X2pF+MBpU55vl/RQSBmkfqF6jkSh98DS5B518BOkLJXE3p5XzU1z+qxX+TCu+kgfDguOIrwDK0PLXfKTSSxH7kLisfX5eELar1RRiUDmYcCTtvzZwNnPVAoxSAxk9h4co1FtUVYNyxeiD/CZewL+4TgGV/NKYgN0Xde3102cTVWmljvFUFMz0xnV9I/h0dhJYAVowO+zOOzc94JsKhCUp8cyxUjC5chtCzkhWI5uh5t36auyaO05yvniMpHlKxhx7aZjLeFWVp3Vayz+32v1Mf+YqdVZ6nVuuQILj1byXI0it8y7b4v3zTMHz6gzrY8GWYwP2A3LeFiHkb44GtovxD1O8txGa9ceWo7COlr9t3N8O88lNmcw7xDR4zMf6LPkvtIvMFSEhkE7uXZXgQQl4Fc/FjCcu/IOw/GynKDSic4s2i916BxA8hMLFrU56+e3rGLNMX5fMVj2a2usL7cB2AibQePcZdZBgWxR1TZaPyXRHT5FaHh6Q2aJGAJpF7sSxw1rdcZTogylZEQH3atPEm5eTG4Y0zBBm35bq7ZzuG3AX3GMrpVbQCmS1Ps9vj4EiYRkXFrBzU5uslNV/bvsh4EaFIdLMzh161yxRyyXrtvcbTmY6igtWnlSV4aFjGpPVerHhZiJLT247Cm4tlYWsg2apZUMAAn6DQLVjHx2cG0inV9HeyzP0oS4QoQ3NktLI7sbt2wMnOVhSL6AENw/3Z1GehtFSHiJwpbMBb5vLqnRO+RtLncjlkV7+TPg0J3qQW3QHk2zvy5SqtiA5cnloyQurOmWilbRUzEvI94rSS6KxIdCCE53vfxuXaGwSMdv94fwzi+JcidFm8qr6Z3eMGUfKhuydOCa18s0vU+jJtGpra8k0kZa7AD/SQR4GCQF82XV4H08znCAvXcD9AU19uA2i7xL0Frd5g07LaNwBrDZEw+6Oy5S/vjqBCa5hAdfVoS8AX5ozagpYCbhE4pTKY2BFqIj2lV11i+C4BQz+TNABG7qdbdoLbLyvmFIk117zByBMABGpgDfRuP5Fzqfl6umGbGq5q92buYNiywhCZX0SUSk6cHa0EDmok9RWCM7y5tWIdAcaSj2TwiKQl3icfSPZhkgUZVPnp2HIhXx0FAQscjLkV9Ei6MSB/IrrcgUyDRS+GJAqQ9H9VdTkmX+Ac3+c5d4uyuc8v7L2X40N696YstgyDOKYx16CasUd8pdptrdQ6WqtJdnds+0MgWZrfgwyluIs4GgknBCNWTMc1cbeSuC5FARYg5PZXjQfoFFmp/KA1eG+ou4z1N3niA/ywztrWC4xfXJ3cXpwLMF7aC3yPcX0yP9HcUqmtOxM3dniZqJ7S3zSTltt6NyCiS3eL58szOhmMV6RymT6rjn2xJ6xcZgkAP8aq/qwTzBtZ41Y0joZtV7+2b9AJqmPbASLmlia8fWaJ8cBK8/iJldtlFNeY2rsqIS4ZxAojMlmLB+2BxOByD/s1w8FgaPPgldjR/Esg/HMbanwIrioS+Qf8fMK0Q+yB6qZm4UvBKlk7JXZO/5YS3pV5SPI927b4JBMF5ZXmmjbiTiGt9fBbd3MkElh+spJFOfABfcN8Enqk9SxTurllQT28iL393vvklrEivXNktilIRNU3csrQ67v2FWDtNSZ5bWHQxSo9lpeIKWK1s5W0SUR1uVv9PP+ET1XH0gvA+gUmivb60aCpFAP3JdNoRRQ2Tktu3r5D5CrjRLGEeBJ+T2yLK2Sa+eF2vB95TZ/tmH3/b79SqC3k7IzWVQRPxoBc+85ge10Kl5uKgMopIxoGMIYlyX+VKW5G24S+w2qTu4c7m+0YOvvoU1sp0PJ/F+4/4c3cjFy+BAiZ1RBsp3LqTzTVbNq5eiIafc3UNHgHCrLM5yq1ljnnJIdYw2m0rjYb92lJLcOf7vy6bTVPonFYyl9lMT3XZ84hveA1gPyEJG4YXtpLd2R1UfZL2bubw04RiIJ52OxdjuRp9E593ef5GLOJc2NlkZ8mNgAsBbkJPg4wFYYBJpM20ExQwZ0ch8zF5xtk0FUJJS/RpVtFI252jis8AnM8YOu9cMPPF53CA9d9Es86T3jGcHLhBB0UXq2WujaRY5WQxvGW4HdG9zQN7l75eJ47dKb1siIYL6tTWD0zD1R5doctoe3F9xjQ0fFQjX7NMjZNCbv7Ow0D9mTsxmG9R/0oin9vjBmyL/O8RALrMYRlPRrrY85yy7/XRxXV99fgw+NOu27j82aJWDT6FRDCKmCZSxv7fGMpVIDSht3dr7w05aTQ+sQA0pZmWclL+ta6rrXKFVj9Cpe9En+Czcm22hvnYhDuKCsLDvFtGrQEMlU+zssITXz4xjRer9/Z+bBfsMDSKCBSMNhRH1tvUErr/PzlmwO0FifKozJ4lsn89GQkMh8RGKws4yrPEiJXyVPfpdLGj8A9YRbN2DV/LR29HAez/5ySyyENEMeWF6xZDI9ChxQ8pyh3UEdVrX+x2H2H3F4UFEFTSwXG7Go78J7pTYoET92oOsfsT+yZeUrxPARAbp9e847za6+eb5yZHYoAaAKXNc1ZnvuRDSSwrYXVZjUUzpHCXjHqTFudS53wCKwdxiER1bWDLQL4Cyr7rvGjzFCIvLWY7erC4s/N06VyNqAjzAGJqnhrT5uDbELzXcTMKUbU6oE6lwfwhhQXEpC9myyL68GfAuTPEzZeZmoq6LCQFMCxmojeCE7RurAAxEJ9hFAqCU69baWD2gtZqPGy5ReMbCGZYF+cIxsi36Tg9nU9b3zHMgVAcA6VGvt5Wr0adguePuCgbbvxiDebNOZ3G4O0SvxqQgD1RJurRJYr5FgToesbfxc5U+OLbACb3KPQ/beMsfo79YJIwv1EKn6fMKK4DOXO4rHKOHiyr1xct7E2UxofFZJcSEIw4Orm0G+kf+c7ic7bmfufRzt1GtZafKHF/KsBGvl/ZvftJ/kQUyFovGangYEYuRwf6/4RnDhWGx5+uEnryhOUORIIwk5SMouHc8DHh+RRpTFa+cCekgxIQL500n9VhczPRD10z4tpb9+Z+FJrqvs5uuEb3xTEgLeqDmESXx7pMSeVqbftSIIAvg51GMaFo8lqr1ah9h35Oh4Hx62ea7Xx85eWM9hFRo7BRtWyaIwtSfAVg0ZkBJFx/VHrWZPgsPcLnsgVbyq8ElrarQCYK7Gbo56sY7wptCQg6IyJ4vWOZeFlvodsDb6RZi5J5OOe4lKIGTN+O64AOr/CEoYmWGkhKhdm5w9kQ2nm45jTaXPMkVoKwXgAgtLs2sNepE71ZUeu2BSuhXXwmllvhlhwipwX6X4ylz/ugfrwT7Z7Y/8NwfbNLYOwYaFFI+DndKO4VxoSZ7ry6WU0g0i4k8BgXYjfUjER9FN8I22yXDyXbryoQO2NLTHtSD+hys5N9dxomR/ATrYhXCr30I+pa5Ph0SCuvJwMS6p2JdsfoJHOo5st2pdJqaX/DJOr/M8DPLTeJ/wuRUwgRkB8SUIjdh4QOoOBWC7JBwQcwzziABx/IcHlEiSemySKwcDTvM8ZnMeLGNk7z6MtJe8TJ6EGXn2iZen8hkhOhFV9PLpj+loCdPiT7hu24G7lfNouS2HhdB1ElFyXKE6g7I8sGaxa5vGyt3yOQqX7tQWGTYwcXVuowTmPvrIESntbvvYvIARM4cLBWSEoG2JXj1rPGh+SMlvP0uS3ANG8EZ1SKOB3L+Ne/BGvCCkxBlHA7fh6t2Uo1nHnZA9Q8JvSEroBDsDGAAzuHm4ZbbJikIbTy263+pRgBig5UpsB9IL4Us2/e8xbahJ4aWhJL/J+oLWIo5AXAOyr5Pi5WfKC0L0rNYUJlVf56olGroT5Bc9W05uZkFZ14NiWETygdvdyjeBj99Tl0ePIiNz9kkJTuIHwrZFX2qdGa7J7vzMKWZP7ulY5CC0aHnYuLmZ+i1NxlGJnukO5wtxn5ptV6y1B/ABLXfEXLI5pgP75vo+ufjf0ryjg3xFI5SF/L/fDnY0aF7paJCqS0bJceYsIzOLxcpQu7mroh3ArMokfjOOK4jm0o+h93m37Eq2peUltsZRcU7+O0u4lRhJGNc3icSe9e8XU8LmRfraKEXoi4Z+CpZ2WfCVM/LiGjMCW8guRPbZMDBSQEbK8d+k01xZiDh5xG7TnG1oPsWPBknSDCaiA3LvebbcUH6a870v9Zwl251sGY4z3N59+mHDMgOMbkiobgG4fX4M6TbMoalA+MPzKAtLhfQBb82psggeMtuvLdwijJw+5k+guwN1mN3w0rcmVew2qny5KXGQiwJuAjB6ppqJdPdDZ/R+hdeJGjoUMasujKGPLIjALBKPsSEsiyNlPEtYMtJnuSPmLNRJDLzj6W+2/pC1HFG4lZLyn8etSqk5Ofq2L2WiB73ok9Ag0tpxUNekb6s8R8bmzVK3DWYn3iAukFxBu8kr33/n7b39uRdsxqP0lwUllF02/Vh8b70m+Wuil1o22M32jthA/QL1E1MAvr9T2gS8CWaTikMTy0u64loe7+CbyqpgwBvaZRm+rYHJx8zGTG5rQg5DaWGpIYGaZRj3Tca9hVoUsrb2RI0FVXesDUfLWD/jaK7HNLbNB+9Rx+Y82Qgc7dDGpjzEkFmXyHdwqsn5is9LXiFWVpcy9xYITQ0lMOIQlV8pbBTngCiPHqEiRfgzbgKdYr01h2lsPNtt7SGxi4utvcCaTiejFBSmTCWs9Iv5c6oyn0UL63ATGPl2vcFSrbwc0WXdfban0bI3YL9eFNS6qkK/BXtR4y58I8bSuGcHErshtvll1qArwTGmLxvknjRAV7wXAt07WeUyoEUcDT7tysqhnDJ/Mv+EAB3ze7CuheeHT2GP5keNsDZU4jmqAoc2k2Gnr07MsXkmPOGjcVdDUpR0zzGyrL0dGwfZsi+YTK8VhIaEvjbszdlJtAuzjkgap8KDaSvYQo/kITql3LvmXpDREbtswPXrIHiw7OmxzjilxiVFJnAnaZaQne64k2iadOxP5rs9NMlxUa8fLzijFsudI6mfBtRM8JCc4+HjUQ7hjbk8JiQuffLztanHl1MdMJxuDhZgK/qkdzd80DK/WsyYNXO2F8rUIyaFuY3HWCdb3+0BTI9y+Q8OKNlUFWTN1xL5AOACAFFHOq6YpmORhQ3kauwwM6kcEUTmwiKllnEoNm3wEmmCo7K9chyjrUbyGenr3glAI3f8/K5zcV+8+gQcb+FBdmVTfDUTzSHTREb930tkbSsgaavl1XoAnIumck0zKdDkerqj1nvmRxrf3BKZ/y+C8TwhGZzHzx2/uctVdim8u9KLWpPnOciAr48f4kS3/lOdjqP0Wxy23843t4ahD9k5xySrM2+os9CISWXOY7xAML6NeACZo4xtVGFHu98z41YEAMtsHj+fT0uiU5rcrwOe8c+x2/ahk84ukt6GTzfnB2sMYDDyCbpH2+3rmOwnlg45NuOU//0l9+tAMHR1llfrx6UTsTKWuwPL6FnmFjOqltPahfI4dKbOSfm/EdH99NxDYC+qCU5y+LVM8vtf6t9Ihct7d69IIdheGjG+A5Nw91fGZZOp1Y1IdW7nw33SqQE6AKqGN5UGEnxBVpn1rowOigKCCScSeZ52k6iHf70rH3U3DrffgDfforRY5fOJbxl5WH4BIaTwPMFNx788UTBjDkuBRHC7WcoaO0dH+Eof6gqiIInzowEiCRTHAWmJ4Bx1inx7euwpZy0tOCfmi0/pl5Als1CeRqTDXxQWZA+DntqBFGRJOvfv/7P0UlpgScHUD0Ct9E3XJeQq8ZIJWwR1meJKblcPZZ2xi+xpL0ZGPVeg6ZQGvCWz1XX4sUjrNRvPVNyJ1mHw7tZCCYvs8luWWJ77j8TlStECyS4ul1MeNKk9LrOBxmXgbTRfo/UpmG17akjspTy7dwWdVz0gd6Jv0jIEDrI6Ei+nw0x1NoETqY2uKNsTc4DicTXn6l0ytMQsELS6vddBdfHNICaeeWB77CYHfKE2mHLIJnKML7vHISs0Lim5FiddsP3Up9sfrt4EW4EYvfhJ/wugldSmsNpga56A1h533SF3+aQTUdjIUwtJ0QIYb0WnEopiC3duAqkW9aIJ2XqjcbwMayKKJfGp0vdd0dAwO3JXPfmlZq43K/dM81bnLsCvKzJ4+IG+ykL42tGAPRX5UFwDquLkcBb56XQ12fV7orbxQ/9kv6T8m4wURQNr69mrLkFTRNHYtYQdaUQVdd1XF8K3Vii4rM1eJkFEv3Ej5NlY7u9YMtd8wy+rT0XjThurGZmG5xcQy7UDTjl2I3XO3qsQkVvRN2xjK0lNSmpF+3XKZffxag5Ntln0rgWbZd2EpwRmlrckGGExtk28tVTWxF7J8YyEKyZqJIb+sOxIVnP4uGSQpLhPI2i1/21hr+LStogJtrvGF3iDtdEo61aJvZ3kuhj68zflrFX7nVUjBoDAKpek11aJCuquhzNilTXcQBT4YVIpWm7BreiGIpXDXXTjebVTiqexyiRCVXcAUgqr6Eujij/GUcDlB2vPZ+tJdLCcYc3YvL1FU93E1RSYHTW/cW0eh08gwBlVOc6O6o2miXCoNd9cJbzGTSxBmZshfxooZCN+X5BLcdqZ6Xx1+cQo39+kSllkOf0pRHNGoWssr8uCKQCzbPCatGyG4hchg3alnwKzlfgQc/u8sq3R/oTEgtzLMOIaStY0vAa+0moJ+mWFyuTh0kw5PlCdUOVo+63ozasIA7E07IZUUcYPSMULZjfmrN2IFh7F4tpF1WSGfs7vrK5upRigZwFdqr8aDKk3qORh+jHXwcj6x1sxR3nG/8ICoCVbhN5mxJfgH2Ebhzw0nA42aY+npxynJg/rRZxePj3os8jfdrMGlm7NYqKNN1XLQ1GT4IfHC79WPAXZzSC1LCvwSEfwqDxciTTUqJCP1oAr1t2qp/6vMX+gtFTpZw5b7Ig6jijGkJbR0lTeYR32zOkmtlORLcdtzTHGwSPiULZIcfWGoFiEW3RP4FlD3LzmHWcTuyqyTgpOY60lut/0CQCnCngxINR6RjM/M8F21ex6Q5s9vlqRH2AUAHZyEiKhC1IYyfBhAzGQX0O7opMNa/sQRKiguv8R/uh8j56Z0O0BY0AwIMGe6LPY7QGKRnrBzGoAHLAxUYHle6nQOysYytKARWl1q5j4Qg3uUv05pj3S1fEa1R8breOyBP3QSJemUehARXEbMvP23OE61A3Luj43GXojQ8zcUWd+KU45bdNZ8X7j0LiYdZp0KGyqIxMG6JzpTfeUHJaiVrFdkaotEPlt78zS6nV5tu85KPqZocqjqn4notMI5sIzzaN8GCMepv5UrONLtHcGiLtXJ50EictqM+/igx7w4gefrq8JpOQbIrWoYFplFkBDQNhp//hb3vkudmp075mGwx/LfoCxdfzftKQZzRvweLYQ+QbBAyWuFJQTK5fQNAc9069O2bb/KzdRRi0dTx0BxY8vN1hIjPt3qobGCdZTa1kH22460vDqA+ZWTFq53mCmbFWJPUyv0cP3j1JabpBOnmhAO2ph8VADoXEBkVVsGjhxrnMJS1KTEkOoYWK4QhV5dP0yxwMKmpAkBv6X25kKHtsHHTToDMFaU7pyJi57/RQU/2dkD7CQyPuIDt/9yb9Hl4wSZhTCf5DrHUvzESrIaMeKmlUO4kC+SSn/WA5R1zbQCqQ6F5NOo/OtgL0l5J51X4xmCi1JiWfRZlNNR/fG6x/qv54wfZ3HU7rYh89IEWNmXzlCLbdVAXWotCJf2s0Nrp5qU4ciF0uNa0ApCLkm3X7vPBVvIYmiXUebPO9UueStdNxujLyzmEoWV+OKfEKk/fROplOdy8O9vdo9HtLQAXoa2oLKB4W6AV2hQ50kodusZC9Qh1CdYfiM4uY0PX4Q2N0YmD40gg4WTcrvNZqWKQUlo4xng2JNQhXK6v8YH82EFtFj2iWvJVR0IGv0xcKL65iBxp2KwJGhYrIpZKEE161E0CjGqljB+SETqc1faNdH6Suff3jH6PMTKBPt3hq6CaGyE+n/gafv1IrfVTzzk8iPvmFZQzEaXNoGGWIUORMiQXysowPQu9T4yFc9uIhaoby83ZsCNjf1zXd4Dyl7Ve2PfMIVTYRD/ekNFRxdtEyN3tEHAbgicj/xyMSXKYy36ctNd/9Cxe68O0zCPbXjVe3bH7J3kzbeAmKHjyfzdzgjTT2MIt3xVwMJLo/Cr6uzxCeaGX7W+nDq20dnryTd6Cw0t2Z8VlMSgbTEizabrWGsFuJNTXDzDdCVye9lOIA2LgNFxlMbukRYttT2NC77zWGNGKB2rlmE0S2CfrVkuhWdlwIZSdOz6q8wD/VjMAJjjiC0N29kShPFkIEsnZr3W5oOaxbetCIysXEMb/2WH2TJdQHTk4Jj4Pin34kgdDWBbY4C+o67QAONUy0he/3boySg6gLnzL48x3sHIfBzlJT0bcIeEIg6/hUSOUi3acSg8k2U0RDLytaU6sqQ7lyVCC6CIGqAzrTuhqMtI6JiUhavdCm5nosPcvRYxNh6JjSiaY5+Vt866eQFT1rjjZrKjPK43Jb/CWbNdcViJfYiUuGhEMPFS6sbGImMOSpyAqc+Zi07ScFePGFcfs9JUXEsC52IwySxFuFnF5xdquoU2MxXiXab81rpwdZxBA+YI7ggFpjHIk8ORgzss+AmC5HZM/ND8Dc8B5nPOplmEx5DXggauGaEuRE0ndVlIKw+qODU0j2dF7wrsXy+G/oCmNqO739jrbQBJ0H4+ezFKPvz2lRBr/acNAT5obb7ZX3uy2Z5ZsrHOMMsieaXG2I+ufGyQdkpDhrtcWTD8plGB6fpl9cnJkQfa6f5E/acKMny5YUI80LPe1ytGLgCriLQSfnOGloKPuuAQJHnkex84YfZkQ0ODPyYyMshGt5eY4tHn0bOYsnMVa68DCKPd7zqQPxbFlOob03ShG9ILjh86LMmH7YTrkmOMIANMFAKtIJicS16zC/v48XBtrTSZX4+OKPhp5poSpB5TxVOv1nYueLHDvFxxn6+C5qSPLQR4FHRWe4K3iVS1elhB7amh1mSsag+97K/NR0pngNyfggJM6eVywxaiDP6zOnz5ZCkcXXPUDkxqlRmSPYths4EyiHalLCJIbVijjI6QbNt8oemZy0hMT0gN5Q5xfgiadD9NhLWl6KXXIIyAyasmE/hmk2cUHJXo0auH6zQYRDvL9a6K4vSzZVRBIsRiYlvjDXWSPYhq2poBxSD+W8IIU18Zy4tyZQhwS8VMw53/VuDOm0HQmvugITQztDW3SmN9U6ckTXH4IBpKMzZlXk6zVRpDJG14r2TlJ1IxK5i6t/RJslkAqakdfXHuOPspYzE/wTxlajBXyXyEDaz9NfmFNpPe3z76hZZsUitfWddzulWX3sOEqhbLZL2awgi8VsAYuup/QewBSHgzFJT894S+3giP9o/M2XK/4ZY0wppAPayjxUriSgodONvKmyjTFHrAdtAHFcGGdmxm8t1Ecoaf2n1mIvznSyQCVY4z+hb2xwAzR5EOjww6T1NfZYNEv+mitPu3a7WAU+7Bu6O3UXLn4EUkHF1/T+j1GUYVncUHazz+pMSFKNIn30XEG0pa5FOA5D0BpZlByUoxv0RctpaUVGMGM/eDhed36Gqfq7ynzDUj4fMTaXWIK8J6MMCeNnK072yAo/uxTx/SBb8LVLTNLMMR76f2tICp1OyvzBe73r32D/7i4ubB5xDQw8AUAGq9V/a++iNEySAf38csNC9ss3BJbiWdhcZSAvFJKIvkxQTUnAoeooRRTceZLd/2/va3w04uxhBRKetAHGB2H+o7/FbD2MOSQXa4rSPoNEK7/q2EQ7SXLbb3k0ZiXHZRl99mv8P7DXbumOH7agrrFuv7WMFxP9pf93BqcIolcAyRxb2O6vzq3d931ahwGSJoUtZqyPbfD1eLmjGqKKBlQ/TFqyr1LVGH+Wp/AKv7889+9bZ484eJbUFbMb1rFQ1hyqv1CyetA4lsDe+AcGdPZ/CbXK1Ou42JSfLbxcLuVhUQXn6YGdCcCClTjcf6jhcI9CgCLotimHKv/BeLX85zOvZjXio3DZmtR2p1CvRrrpT0Aspwnw+CWIlcsCU6QyfuFTQPRQVl+XuEmdMS0Ra0Zs4iK6kI5NoJObVWla+9Qssp2jp0LUbe8W0dhuL/cMUP8PFvj+avjzdAtLTt8Wj3zpIZjVF/EAHBkGxBkOqLOBqDQDk9zzsjn8tW8EvMCKYdYyZUR8DD8bM3QY8eCaSdQ2eeEsVDQej2EQkqt0XhJVG0rfUS8uNYswz+Qp326W4D6jZhnfxsdISn5E2S33pq+Ncfyd+BUdoAzP+vr0Fvj/5waHTA5E5HHIWaf6tdSJdNK9TW1ar1G0jFwiMnPfryx/ye/vWFdqMFIGgHWBElAgVzfR9sH73pM2UzFcQabG6AspF9k1Ar9mn+RAYA/n9aPYMAxcg2p/a4313fAZSZCVBloPt2+zur1HIJ/bWckCp0iuv1ijKzxThWkL9jw61mN81kBU1wQnxCmHHQcUqF2eUelAtVYUlJUf0CA4TuAgIjsi1GpAahXx7yZfEo/luqZjtObASAgq8C0TVpY9igCCnzIQdw9C97vFGQisdK1yp4WCBLQH89lRafO7VFa/I1DG41jStU079ZbkAqv3Oo+OezKRDAjEvTg84hJfrY2nl6LMQwiroCBfiSvzx//QDFxbR5YBUqYeVAZyrUt6wJlcCOdoPQ6ovhNJJbeAK2L5Rs2cNU2rGNQCf0LR1C+dmZnsJzhr2mG7MwYVywd/1QWCuYucs2Yc7wjDDMwhe4lwWHJH3rykjigm+Fo8baSmvvUYk3X5M2Jxjg385o5Tsu2NtRdLYKiOIidY49R3OaXvCVeLrCviBg/FMd+Db7JiUMzUOIv5nCJNWxm9kmNMGZ8RrRXj0T7A7yenxe4b3zu1VeykzsuX8VGCcE55SA8HFjDkGamGh7Y8w2+Rq07L1WxtvPBqhh0JOmoRjWxBQgkFFBQmWNsjHoGvKTi18MrlsAtZd7/kOk9IZgLuHXWYytJnsRUb9Ddd7lCdWdekv4bOIfwGC+UY9ayS01rOQkZhgnO8Ap2710vvayccwcukxHe7oqeOymqUxVY9vKkvAG7Zt1Jg4ypLfwBZGZcEj+r9srXSpcarBkCI5N+a3xntDsKIMLCkgbJAlZNl6CsvT0xvXu2xy0bj5HTor9VAhXBTmZZ1xA9eqKICyGWduUeQZ/0FGnQtKWrf3ngfiPEpv57e/vqO7yLn+R3UF9FCVCCwQD3BMAONKp3V+RqjT/z80qY+SbFrpj5LaaSgjR4D1Pg9atqRBDa1PY+yU4ZMoDoHVMQgius2HvA1QvUka3sRuBFl17DQCHeMaCybfdceXvjNvzLDrupkXlxmgXkJMaBNAXAejCDpPZ4PXShFZeUEz4Ad9UVwaCZiw/7QWA1LMT4xgDlO0RzTQ53XvFcoBXco3QN0XEWeEJ+QU+PUpUcorMVwXW9jiUbVldWOswFApLpNhTPcvR29hH0kAjAVPhfpxGVaVYvtT7vCJOTIfHsqeQ+vomJPmEGHQAmD0GxcUhPk/LMurNnZxTspv9gxyjuuYkEcUITyFxVbZ2LQNnX4hnFmA8mIB4oa2x/YWNLypV33gAypoXnKvxo16dSlVoJezSBI9NpJ6QbNJTO9Nff5zYM5IFpvoF8RWrm5gDYM0DlPDHppM/v511qYysDHXnJvgx/agapDPetYkduZyqWbLKBoZsLAcO8Gz/b9RMaOvZ2v7XAUP813DdSGW+Tn7d/EVE84OknvG0SfeLqx9OxLuKIZ4YzZTWYA7o+XSZvmYbQbktMNrGlvoUZtNTHAJUIFhFcP9esGQUbO+JTAu1rK2Kli441nhUr5jf0duXnAKNfz6S6o65sB2P9rRORGba7GkbEiOUpmCCwNPRs0fERUB7X+BVNa54zdGCeoZKhBWXbvnzxaOY5vF2xO0riKS+EooV7mrBRtnRHRwZ2hbYLU6PLnp4lNeSrPlY/7PEtG4pgG964t6bVq3LB0NzrJnKAGmMim7ykwK3V1Wgbge+Zq3nuUE6l2eroDYMrsTZWI+Tn7wkq5wM4JCahlJNlL3fJz7/r/GyhTPac5JH4qS8rEuvjWIyIWphbcHYGWWFGQaIC8UiKmb4G1psxOER/JonB2pNcP1rx7R5h5SVS6Af88qVl8XlpMrIWvoh3kXd4Bp/4OdvhpiQlVwPcW1apGzu1HKNsgO9PVNZ6BAvZ6PpDLL/y70HqP9VTrXz5uWdwYwxgDpNgJ9oJhmQPjOw+tVx+6aEU2al4HuiJjjf3YzCzjY9+GKYT0qu23YWbHk+VDcverN6xvPKaLZPDkF3AKYUlzZ9OVwQ3Rota2BcpnO/cV2hb92nt1CSS/NGUzbzfyDcLVXw71pKXb8qSC7vhfyj0LT2V/nlU1CoMvkZD9XpIHPi6gu/Z6e0wv/VeLfKIjiHTuk+Aubz4yAM9gaS++FpYndwbVCs2eksCyBlXLUI2XGzi6Khk4FRmx8sam2hnztzO6btDVXCEfm+BqRUbm8Bt6SnQ57l2owWGyKScQtjutA8IPSOYLMLQdMogicijyZauUuJqYOlafopoG0NYysoCjk70HdKeGOXoTs+FOMqXXubRKnaZSK9Q34aO1FLJ2i+EEspJvD/jTA1cOiYWxdkZ8Pgw/QVixib8pKQgabPrjKlX5wxgqYYrDwIWgiUY3KozHCwyJBMe9/mqwek0O+dcj7Vgs4MNZiDxm59hPDnmeIKQILEAZntHNsL1xopSNv6FRXeKzNCCqIlMc150eRKsBIjgvLdNy3NFyZ44EKwG9/PRjmQw1WEvOXgCIObrUFqwbgSsIGRj5IR9VzSKoKZdQzELnR4sD1VhJnpKfIhhEEINTmmBMWDe/wgurzM7y18zryyHwKXGU1M2MTo+Iu+xJHP7L4TXBjLx55HPjEFtukqHXlVd56AyGI7Eio/n1cmPKgwAirUDpq715FmRiL44bq5JxrNBgCfjPxPVthabgGG0f1IrfTmptWmDXbmsbX5MGM25vEU7bE3ZGzAb3f9RrEtHa3hFXElFrII5aJnX7a9U0Eulv7w6J/iGNDmxQFdT9YxkvLJgxgXhHsBlAVPoBD3VL3N1/tWm6txWN3NhSPwhHVByeEB4LgHNWLjDmCFjZouRZLHnxFc/V0dpSYZ1IEdC17umvUQ0IuZ4sirfMDxE/vPQbgcn1rBiT+GhPjQGv9Q4pCgocRbVOnrmnOLHKh5UF7veXsfHpPHQH5q3t7fK1t4BJ+ZZ2toB3jhwGy+UoHmVg/9jhlPPOcBZq5WlaGolET/HdTcNkNN9CnILvr4jFVfQoaZxIKH7wBpjdU16OvSKjlbe5oR2teOhPQpVnuw7Dx9eeBauC0aXDch1hDg1NqmRti5Yl34VHRKhNp/hyijI/OBgIDYL6Y0CSbREEpVBb4F0rnUX5UgTstU3nsDhGV6meif81+71+leF9QFnniP/kN0lmJ5zQMUwqI3eq+sdasLGC3I8hsheCma2SA6vq75K9D6nrV5v9/IpmxSjJAe/wQprrgk4M3IQ1OjdvF7NRlkK6m6t8EAkKzBDq6EYzy5AM3joavHSXWS+T9TfASINMR+xnK8mkZ2QbeK8hVU4cwDSBmrsP1vjs+kmZSeHux+Kn35nFyMmAhWG1f1S/C8Eava6kPJZNjAl1b7vd5TCINCwsm8Q/NZjN7jRDAgnpl2UFCrL0oZ9KUZj8DtL6gSamwn2mYoKgkc/qWykdIjTR127/pnf/1331JdXb+OJnPE5P2s50G3sgIL+Ta6iSnlltVPpjHPAOf6aRC4JWrbwxS5hX8ePFjN1I6IkfUWZqq3jW9BusuwwjWp/vzZxQkmMEpydmnUxLxABknQYMGSvXoZqOwUzNvkQPKuCg/6vM8sJRBM1InW7lkXAQG/7x9iFyDOa6ZfY3NerAjaq3THgpkP+zUlyBLP9AxvPih2t0VzkrqnKLlXlnuW9LlLoEUBmpR/GBqijlavhBwY+htmb0t0Jfvmq5+HKG8w8S8C/nwdj6T/drM5W7C5Ozjmo0umqKYTTyM77Tb8DHocqrb0hPbursysFoXn8vIlGGtIQ8Upkw0fdDEYGkiPdYmaf/uYUY9mSSxs3pvNCt6Cr5Mpg1ICiSSPAnZHmXN0tsawX5WeDx6d5cZhNh5vgXnTBZQsfHXBS0+ZHWTuQv+PkUrlWcTanyY1Y83kfMeWp7L8Kdl/v5zA/buapXMng75RWXDPHGVubJSNhp4qOTujtIifWpjcrBpPzPx2mCVeM1G0HVb7SOHMTUPnS/JDK2GK4wTXMEdolHGG2cEBN8Zmk8N1ubtzzI6bXRiPa6sSZ0uH5tjbrzwqb3Snefs1xGeAzyJaQKvYJgZkiJnTCpKT1FP4ji0qaTkuJLh9z7+puXbGc7VJp0+qZxsiGIjz7mT3Sl+cUBm94U3rx3buPBXjHEpx/x7ktL56+s6Z5Gu8SpUR2kGMZQ1d19K5zJKQpIbriSNrQ64xYdVrvR4QJqrrD6bwPjiq6LwsLD9i3OwdIqmYx+tNzcYwq0o5Aa0YHnbe5FOywiidD7BPXik+Itp2sqSeJdiT/VJ3qqlIWyNK914oNzXbCpH/deIQS3Wxl3lQrHnlm+o52+VjH60BGRwTHUxUjtyvOxQBgOgV66K1LWr11mxusqvOfStP9wG0CVm4t4wTboPR7pKvLDkOzuliB7L82bEqFt8xuJtnbKO6x8PAYMEJue7CPBECZafJ4jB7eY5J7bnnHMsNsXBtzubvWfZA0gdexVZThByn/IgPvGfDj+Lrrq68jCs6JpyaP6n6hbTzIswxnF97LvSNVRBxL4c4lodd/7xrBclTB00rkIuwy+lm7Vy6Bo0GlrsyDU2xzxxvVbGsOmEqiZBdd00/GwVemixsKzGzNIJI0K+duB3cm9aPWBlF1LcskQKgY+S9Ssj470ngCIdRhdBRWM2HG4mVmDN5s1/MB2tto5aLYVlFcbIATZtpkjMe0XyQoV83X57kdof6t424FKev4qopF70oEoEYhAepZDUlB6mxof25ZbnmB3KnhspoKJU6fpqzGnUaF1bmORSkJEPLOAfoj8hw4T4+FMcWCd+V0ZmgZFtkOcov8l04bzjBBxRwM4QvKjmKUOkOtbIIx+z9fnuJdoMjSuHpMXgtL5I/0eEjkDYk1YOkIaRoYjoTQuk9Yvf7nCycS7VC5n/jIhaZ/pyjWdA69bRcp3j1iX/7tfHNo65s0M2naz792p/wSzXUfGVr1KuSO5ptz+Dq4h3oGPJJfl+cTqHGhcWgq9OpsNdi1PFIeLgl2Ni3DTDyh9Eec4SsN9sW0QUuSDexCZkQBW9Zh0NNmcYjM4cWMhOfvxw/k5B2WsCzI3kSnLNv/ax4XA5132TXG007QGjfg2RabMZsLeqsU2mKp6p30S60BzWHCPkjwuPzbG+6gurghPGPfbAxN56Um7f4IsBXOniOo+iLhj/Swo3ub0QpISa+UmoJ/krXv75o0NbtdKLMF1XoVOFbLczW3XXqkTmK66UUp6xcPorz1U9TVVSJJ8j4RVVci9r/NOCLj3Ix2sO7VOJ2uv1k10CK+PZg2Zh3/4q2cI+fyVnL+4M/+/06lmiuFfosOJVJKNZ4b/aIOkUJjlujgr+hEBg8tCE2q+67q8cqDlwEwe61PU7B79oRPB13+fbxBjPcE8UoALBC9GWmApQQNkOfFnG7vJzaf8iw/hxYZhn3bxM/MARHaDkpodk2hVgV6MYZVP6plgmtwj7gH5B1XNJ5Vx1mEB4RT/D807pbvS2xGKkCaVvXrUcyoOzvc/gJiTrSb50lH71b1xq0if0L2gnRblQ6ADAodCG12UaenPqMKvx4O4Qff3JNdVDZMYRT7wvpKqzW26mVQSwv1dR0M3m0dPSjU1Lb7nNpIqR9qKUmnkpAyuro2fIzwgHbultaxG3OeHG+WMKUBCTXDaQiccwmmlHxpOb6WMamnTJSPyujtuppLI77BWfE+MaQyh7DZ56II8KQ6S70bOBNt8CbuDNNgTR8paZLecSeLOjLpAB4oweQaYYVRV5HDEvTiLTY6iQ1uahg6CWBPoLKllREuYggvfgcFkRQkIIn6pgXZZtROk2F7f0GcqdCzRqykOaUMnI1rsvYfXT3GC95ZSRtcBP7JVFTUdOw+VmA95AoHFK4f/xR4S8WJD/nMODwPpGfKtvxAo9EVAmycDRPkmTjnfPyvWv8YQDkliGQjFFFsiaF2hFUM9MHj9Yce6xha74diaECDdNdslO7ek7CMgRbvNkZkjH6IazCwKVjbpDN45uTfdGJuGCSXL1dZImTPEFwLOWR+53tfDDrbf0aEEJgBhu40vZP7mb/z0JLS6wXpdd/8ylOXzKM2RmFCgMkRVmBA5qHgnMBZitOKPj5iNjg9ZBJwMwDG68Ef18ULPF6eCr3H5QA1bPHaL+iHqXyM1mKC4JtU4Wd7ISuboRgHjMj37Xz4c1BaZHtcUsByZsOVn7O9h2tjnKTJh+aRzNIiPXzSQ3Btsja9RnMO5RUHSkPKI14xN9+AwhtUc9RtEzHGFDXV3elowL3+pKTWL4fnaaJ1XloiH79Dssc/8XvGLfMXE1511T8q5dRAnlsBJMYtL8i8TydByW3+vDORx4Sak3Jn52UWoUh2HBxyiZvJA7yQzJRHiAbU+pwuSKEIvRnC2y5TAaZNrr07G/JJy3yGpK/iM7qN4gRe7Nd6TWAPa68n5MxOIrkE7osQ6lDlR/tuVUk5jjvgHwhVoHGYkuSTDhcEhMmiPg3qH4PWQ8vj5pxf/a9qpH85UlL4Lx717Oadvf1B72Ju0k7NxKE+Kx29gPX1oy055lJf49kHRxgNJCPTDDw7io3PsdTunXF5Lbq8XAuj0g2Ch7EAzaWXoim91e1BZnhUML7J8Wr5Jv9WksVFj5QTGhDMYL6p0wrZSmOeXEwWAORLoHjpWDGaDTX/qDM3tJdaoqEK9wDg9uskqgkHvzqkoz28TcXi1QMrn83AdGuKdP99968Cx1WcRizHQkZ8WtKV9gfhN/zevWWgSnp6lC4dMk2AqZC7/CBU+gV0Obf+TfrE4LNQTbu/c6LsET7xAsQYsivyVF9rxBJy7Pb9AJJC756D9+u+f4L+IYpKdu4VxZSW2z08wz98dtPCY9RAm7jy4DDLvQ8dLQG5uKQHPUlkHe6oneygfkMuQujshFpb7+tdY12ZnTWcQB8EZDrNqfv8sXgZJN4kW8aJCU8+GYa4O/+0Hmu25yVIGguj+yeDv3P+6BO4Kss04am9SeORx2mWRDNESYmDmQ7P4S12cyXQAIKGzp2XTMkNPoIYssnPUjaN28PSMQltNM4ymybxq2f6O5emWbwnVafjomiJnpG6zII3gCw0VJCsOPPTeTSGjbp3XpNt4j8Z0ZdoeriirbN4GYkkIrsoCU1MMlM/0kMXa/YNto4fzIDFKWj9tbxW2gERjjjrqsZY5u0VydG8IS8OtUtitPBXFMdwkwdDMiDDJ67nf57yVJaP2BVzfyTfSoNBxPlkJ/FpvA4SLO85ztHS1Htj2StMqC0T4KL24jbgwhvCA6yHblxKJw9hZO3TPBf61HXiinMPgI3EdP1Uq23YfpOlzkgkr+8326m11haIGCj8hI6I3Qhm8FDGVP7raj+Llwa5c17+0mdsksQzWSKcM+0LrtztzeqFLhVKuStSyx6dhhK+GcWSaDlhmxYgaA/a7ElEp5C1946SqZYOh+oWsqFpF/eOk/uedo0KUeLKBhriKdLJRNA8Nn8hohXrdnBI/kMqcpXpNw4V086jEhuiExlWtVRHCziv4M9hmqid2ow7Ld1r7jRBhjH5mrB0f+OrT1gT5UDo19Ve1tYSJEk+9k2oTl0xYvr+LF1d0xhiOcPyn/M+YjtnHj7fgbLqtCE1nhu+ZOMdFttmqxmYATAvQGAnCPY87oj3rzyuIDoGiNT0hsMezFByysEN41XxjXrk8Xi8hho0fLyE9Inz9fp4/aEhgRNRW0SHrUAzRAaxDGy3aJWn7OZn/ooqVgckZ9Sqq8bZxR+8tkQixivsOxA8nxOutuE7a7b9JKpJMEfLkrciCkwCnx7reXHo9H+z1GhHUsFTyIQbizyKmJy5RzfA3t80mDDFVgblcb3M6emL7zBV9+ujaDHDRNRah3xUx11C+iioB03n3iwMbbMn+i77xz4otQIrfzJWwjCZUEy68tir6Sih9kgqsGhJb3OvJ9nTpZWgvTNu/MJf/yWGg7xGSPxqA4iq5RqWQrdnWU1rK4ILSkf8tshT/IZFrYa2F0+zt6e1pSXAwj8aKUMU/JDk4RG9NR98y2Car6yFyDHItJI3LPn+MpVE4q49cpHArlvap/PyDohim/SQVF8z4T3Du5O2rYklaKbmsPxqI3Vkt0I8aXuHV7VvmksWLIas+uDNueOn40rSiiExDr8C85RuYdem8odqo3Gbh1wgzgaGOxZTyEoOqfx/ujry1LHj7SMilZIg4BQZhtECU7D1Lmzzd2VQgOHrRGr66Nbhd+WdfUB6MEd3SYyvvkPqQvLHoofjsyrHwi+q/JiyEqx+rRvZ/Z/tBM9iTqdpxYMkmwKYBohdCFp06hS8F0MJZEKLIB6pPz3nCH+5xeXzJLAxqQi4FwTCKtyekaRJfZNZxZjqlM8o4/CY83nAvPgLhFPnq//bhrNXcB+YC7+8MYM2TiRpDP061byGMc6BNrq/ApbVuUjBDqE6vmLQ+daUsjkULjakLsF64RnGyuJlDI7QUFPdCHOij4k/nrAsYaPZ1/SEkRyEap3fnA7PlnEFz1vu1/laQ+FdnJ/1QnYhX++paqxndzW1Eqxr0Fd0tr6K/yuNKZrmm+lair0jmF7oJjZhjojQluw1Ck2NQfstm6mU8MsUzLsbeu2qo/m+Wk1gyn8+yh2GB/Xhe0kNshshhpVO8VJi+iYSxYu+DLemIe1cMoXyTGoaPGTwPTQdnN+efWBdhVO6iM3Gs8f4GyPD3aW95Y+s8+m8kr0hSql1vW5pI7X8vRuRWgdYJSFjJk4mYgRVy3kqEDrxNVEN+x4/0Dg/b2vAe+8vMJ2U8aep3Ic9s4kAiWWUc/38aiJTy+V3J3RRvTx8X8lk6BM1h6HNVd1n7XUvfV0ESYRbBPQguvmcYwWeEFz6BNBs6QTnDY9NgnMEAYJFef9Ytf57mOHdX6Ta7VfKabwokgvCWT8ImibXbXBbA5zDYmRGsCbzaUfQg0fS41QUyEYqoWJyqUYuHkDGHMM8rXOGDmkUIUEZG7mjx9hLrxxqivWa2xTkkDxtq2YqHiOltJV6fD0TjMNajpJdaiuXgcOSh344K0oG+Vm6VymQUPbWCDmwMutQgEv/cvDWIu958dJ7o+dX2dmmDtCEm78MGZ4yzfGDHoihsu/uXlYSd9/RBWveCZGytWbqZokrrl0qDENyv75mOkUv6sIXg3m9y0KC0nsRWriPl7hB61yMrNqpyTyDU1Pf0BPkMIEDLCDfTlODKzF4qQQhDcqJid8T2+f4Rn8tVWB+OsIHPQ09iUd4l+7br6d7/Oxw6cibwbxG5Sgmwh52EMhGHsxEny/A/NvvSsGyRrxNMsTRUBXqH2d/kEcyihhjqXEoIFUYIkaTSANro/TRku5+eAKTnXb9GDLf07rC2Xl4Q1RMv7w7UVZcmzHM8uUasLYBMX4NpliJXnmwo+NAvDyR6UroLuvXtK7k06RyYqpZ7f1uzqsfDsgvZteXt4U7bPhoXKnDNzUzIb9BhNqpcjEOzGzWQX8FcA8fnk7o/C8OKletZt5RUC02OJUi4ZYmSc6UZBWcrPjhO5IbO1Nd9bqtS+1JfMPwpch9iIAYV+jDpkTii08wPopYyTg/UdfUFfHW3aCzKC+Lpl+0VmW25V6pOzcpSAz06HOVP4Ob7Xf3IAxtlydD7vxKbXbeVmL1IoVpLhWbFaOJ7pBmAXRFLVUgNWFfMepaZka+LgdUshdJ0pttpOgCduk+iRnxPbcnBwJWZp0De1nLcKUGlC+aMAT18bfzs7f2Xv3W0T104WGcByrAry1igveVOn8G699NiZTbE+zyPHGRvq1u8MRwG20kKpn8Zjkg6OutNOuOYNRj0wYidLeC43udgtIZlG5ZEF8c7FTOBpdjboYFHScRu83lkCia+oHA2N/pUVu3BgGaw7BZtY4QssKveK9dkhaNMnE48WyDC3CVhtNktKGR0Iev7QWjH9kPTdhlSnDKfiaS2vE0gf7hl9Pci8+RbuG4n9nct2op5aLQ6a7Tx5fSi415hdat+tA8IRBcpftD8bUlpwkNUhXMsVr+V6TpkjTTMXKPxUNHVvHy+lXZHuuZpQGEQV7aEu6JFGqGTSk4TXn+kxo9wWEnxVeCIvQjvHQx/L9y3IE5Hc4GFVCOIIXuFm3kAJ23NYn26oLbH/WV2/kPun88qLmp33S5LzMoyptf7VOJAHdUXdQhl1NoVAP2wnVcweRFCGKiZPqORcBHGtRQcwypWy9Ju1sUrBXm5Gy/egtAZ7jb9K8TwRXWmbIgxozHLIlBlquVttJb6vJ7uCrQLvjv6MUstouauuEUL3tDen+6gxPb12r+e+Ls0eWsUe2RfeseflUTSpu+xlhaDKp0M3x75gdAyaX/y7tLtiKdHTK+mn24YEflbTuwWTw0KCruMWjL0Lwl2i0JQ8Tthc/n/BDEsLyCV6O3/47/zKLQSHNpKW3RLdwjHoDptCAUNzCQs2Bxu/XDkIeKNPwmvk4whCjdBtNr6TTtKzGEurI3FrSuT7Y0Lk/UbSU/16QqFhs68r3alc+/OgXtVW+t6DGqNNbjS8PP6AbJiyh2JQop8uD5a6Q5xXjbwO28NRa+M5X5EMg3JSXb7+VwMMdfZqOfwQyCc9512bv1hAsHAu/JZVDkoqFC8gQdORJNRBDjz3V9Pga3XGlOtETZ/IhU+eJAAQRmyKqnWY0yMdSPSgLZ6nfSkT725W15YlNneDjHkL6oBi2W/x6fU0xh7eEpMwu/jMBSUVwgxF008m46ajWuBQoHIYKO33Kdn+7HxdtSNf34I/ZNrNwc6UgueRjuQCWKSaau3mP1qgMs+khiWfQa5C7PDVzbGCSIZ1Q9JyORaB1FjLRG7A+VylTA7F8tE8uCiv8RVMdKB0BT92PKvN6YaEBxO6CGTybmGwSonvJJMnGW+BW1JgyIg7gTxk9HXBPIZNoZxyUCWZdHptqt2DwdvRWaYo/NAXWtG0tpEH3RQGmzs8za6R1Z6nL/Ve03gnALT59oexcN5DkhQmkbawevSLYbRuyttjmIH1FlZ4/it2fd931VxBBoPK6IYYRZxbVxb85fo+t2IKJ9E5wpuSUF0tb/xMQNm9pP1Lr+7K8n/UzNHG2cNmOKY7nifslVeXS6Wdsrxy9fE0FvP6c3ltAGXNsWPau7Na9b2uu2edP4p11X/qw0k6qpQ+wW59Tkvgh6XsUGmhfKVnK3FDYEjT2CBxVG94GOnxjwiAToElMA+4EHu2sscFyinMys+18MHbdf1BJw+yapHJs7AbhZnCuwGJniIxpvMYmfoBEBsHmuvK3yGPD3ILpUHZShNPboEUZLiUFvCDLBl0gA+1ExcScnqCF2oqsEkiKLdUsalLbE0NyIDTc0kRKjbq+sWGNOCSR9xJ0tZMluQpluRTKbchUGRCDvktdZtSwe8pVO/pPXd2z4jVp3wm+6KKn4kDMzqWViB0t8dp/uJRMDpotBrRbGXkF4MntFrjUSAm8zMG9/39411wzy6rnkEVSWydmvjDdmQ/y/oCSZGH9UEbTxoqRR9ZDx8naiq3VIRNvcOKWPsT/X35+5e1z7Li+F9KCjTPv465zMDZGECS97xsS0teMxFyjq0o4J72i3RWTbtzxgWXRfhyc6kbj4x6vEt4tJG/0BsknW7uKj4+polLln8imHIS6KM/brP37uCiq3iOkuICcoPwtmOgTlw2WTTwyIfJLRkAdtu1S1NibaBZtn2XNrXmo0a7kDD8J0ODj/c5s3UiXRKFfj0jm8eANN+O7URl8XLQL0+37TsYEmcqX7juAyeqPnZtco119ZM6vHDlRy/qMfq955rMi0sqXHSw33cPAifLAGX4ecMDboKPgTg+sne0ySwTcY4rDbUhDoTlPku4KeWYXKNn/BX9zDHBft2S4uRPprfueYa9RGMghdpym/r0zC2szLS7vyGNwpxBCsp7ictV8VJCiW/c91d/+zuxiHlA4XgQubXN8NRwoDtkXVokDHy1RSd3pvRoM8Yd1tda2/AUc0Vye+/C41Xa23FWJKq8sTK/HL6/JItadIxRfKbj+43IibMC1dpuFqQ5w0tK3zxWfPliMY9sdc/LUqC6o7dtw5Qh8CauCO0z0eRE9DskkeIRyNrt6ikc/NpOE4P0E2qmG+Xdl2xBx5O5jky9Zzjvk7EgUl0+sjJlCTdf/ZluQNptnHLzqxj4nQNPPF0XB+No0mIOEXiWi1l8bd8dZW91AEM86zZI47Er42Q35t0GoOm8sz0qVsNbD7rVNNlJULy5Se+qv4Mw3vnpyRLhrv0cuvV122P63dS1mDjX0mm34OmpUodNsaKY3vhvRp5dNXAS1psHKXP05akMQluhUPDiYkv6Duk66WNjptHj57ZPEiFx3t1LySYVtEP7p6oNUhRb57UHV7drCTFGFT9Yv4T6Rb4MkoUm+GDLoVElasz+81I7KYQA1GeraLmGPOomau/r4eNI9giJwqyGTu12eHQwS4AfCjozmx0+w7Sv0ZM59/D87DLcsf0pbsFmTiN/dq8dx1hRfB/Ln2mE9EcFGkM8jnKy53MNqZM4rvgU/rIL0kAYB6nvkn1EUUsLVLGdadINR9FdbfFz45KiZFfn3RLymqjLOmPsvvaznjLZUUmzKMU8X/DVYB248fdg0c+ahBBjGEipnD76tTMKUDFc5ziygRwm8zYeKabt7IBYPwjGir21eBe5PrUT/LCMYwA7s1J7abjB9Wc1Xvbr/GJknWDXx6R0Bzlh+2LpDjdE9OzullwC/DV63HileC0MWfSqS7SkoWD5o+hwW6AFjv9wdb3c8PfR6HC5IF7FYkY79Xua2fqKY9U4yKVbQnYzFzWASER9WB5kXCA/SLmslv7kF+6BMRUcohxWRS9j91BfXljIWjkKqJJg6h4mX9LuOUvoH3DI0Xm0cqXNu9aL80tsFR1f3KG6FLZk4Rrcysl+W2QaqUBNfo224CnxzWPS5FyaKD7h+QcJ1G/FA7Bq9/X4lYl0wlQIPYAMloKR0ktZYvmqgBS2wN6ehmKVdaRGRosnP4YlbBJToNWr3hTEAkW+gXvQ5cO/i6+1S8WYyoyGzaVLXOub2ZKEyfyqjh6uV7XuXoPtVh5gdIneDhGaGzvByatM+GdEv0Yily/Y9CxwjR7+Ocgw8DElpkzFa1Ahb2GYvx/I3LuxMQqnbvVDh1BnW3hl4Let7JiS3JVi6fLfO5qzykCny5oCaSUhTa3sX7DLWU6h4v8vz5Aw8+Lx/n+JNw0qVHXGsn3IGyZRYXQbCvBY3vi6ZyqFPUJIv23YeE9T6rClgNx3YyW7cqiIew9ZWfoEzuMMpqOuG0ETHnYGbgKYrYFgGEL+b9nggLVwHziH7JoNv6hdFaCJc6XoVxFNIjYrl4eZPiT32AuMEa/LQtbcS9f9T0Yj/Vr12nrXDFT9CRPTH9+3hStGbOvIdVxl1Vg2IuMD8vXeggJJlsaQ/N5P6UstYMH0OirW/S0K1bVSByLpJs3ADExP2eKrLrBy9ktg0flgb0rKijmePT0YeeZ49UQixoRamay5pcGggbClAD0nbLIWPxKiJmS/bf915fVny394Dd2oR7vVG0G+xzX1LWPaMWXvo+Eltcjw4MeZy5tDiwPxYZ1sVr9UtLoboXGVYB1KXuixG1tJvQK7t+2ps+EHmbeF543K4Cv+Hq1Wy6dpL6I5uBUvv6MpEsZTtLT9MZ+tDP/Vfo0qMmCWorQG+uwhoTuPTepyhtbgCIhfMhfepSJZuoy8j1ZanrMoA59H34x01ApP3/hvvL30zrBZW/fFC8ri7xUM+dvlRfux5+Qzv97j7YTMyOWdRo2oqKck5LSj8I+a+gQxuFnScD5fplWfVVJbiaChHGs8OOPiSYNpxpxTl4CKXv9paxi0STFWdWQW1CCwrZyzNzSZLwRp0GPjGrcWyZsKMWXWfXcIVFK2C4wmrsyI8b4wOTVgg0U9NMQFJlwA/RrFeZNirQ5d0BxoKKmynII2a9gxj9RTcIY0g82h8nDYr9QrrikckazAzbF+ZR1vkkUvxmd13V3KCKu256Qe1Jfh0izzMm2Vi2iRknN5H0RcfOB/zbkvVJZjV3JkVWZGaI7GwPxe2w88w1pzey5W7merTElBft0HNzmWv8RsqsKth942LjtsadNhqdbNVVvAQqS3gSc4Y/PSxFC4rxbWmLZPtcSBpAXOXtFtGLO3wLoMZ7EMeZHMqmight/bboh8j6TmgkB/lMw9Sr3GD2CNUL9xoG+W1xLkjmviQVfFEBpk2evhAx8lGA0TM14RyaxZSlh1Kh22flzDQCa4sZq1ANCUhyg1O4h7GyRh3lUVLUvX9jpIhRBmERdOFgSRx9NTHRa7Lwee8tKfKcE+nGvAwATfI1mEf35OlKATAYIgcaXubyRuwI8cL0A6YFo8oRX74s1ZbqgIAWRAoPYy61G8jb9n8/24McxgyDyNY4T0NYAeoTXNDLNaI45PvM6zFa9DXEdTL5JTwoGDsrySmJjaJZWwdRqDx1aoRr8juWEi2o0debm+VU5xz25T7phcGGnPlX2YHesGfSLqjr070ZTj5TPMrmEIwn/p69c8ohumslhxFK+9mhqKaKj1nVHciqikl+ebhhEw9FtfQtis+CxYh2xo/MUB2aaqyITpnU11PIjGChbsfcuHGhXKonMSbf/E8hEixPJglhcDK0YihOgSaRbiePPAtKm1vzlIw4lpxAdezrrbpzegFO0x3nNQQNPGriaj+vXKqKIc5j3k7nH37EPJ+Zo4pN8+HkGpUTKQOCw4Qe/jetwl6TOxqkwssTCw4lcPkqXxQNPidmTWSJF918NoEVW1Qa95ljFYvIZRW5LdIK9FDzY32sVsS35RycIQ7Wbl2yQI/IXfSuHWi54ePgYZEhy70Dme7tL4RFbVLJ5FgY99oTowNryRtzp1ah+Xc56zcG4jCgSiXjdXRbttYdOnsaVb4SmPkqR2h4aUsloQZd8ZHincroXUp1dsMc565lnvnVAvE2QZ7BRNH7xo1d5j0bidZdienjNeiL/151Gskv5sk7k5WMwqf/l0IpvYWsx8bkZIJ4wKGoQjRY5bsE4PbGwIywYPNmY7GUZl5i8x96dj0dX/B+RrBNAdxoT7G/bgiYX41V1QqgtWikB8BnQtNJz4phjOrSpd1pjE00+A2pCzFDfCpy2JGU9kEGHmIJJZAAnkrnS2o/y5UVHLvSzEqwuF57PCgUtq85h4dW3wtiyLdCjqTSeu+VfZHsAic563pRDde/9UDFSIcjiGQDdXusOohq6yxVFe+8C23pM9sSPmm5XsUFlIYp3TEM0k7IASKUme7i/mFE4ocwc4A7MIK2f2OXf0GYY26dgqJT4TqVHCEsxafHl82VRZeeH4A8FqJLcDTAC4X1S6iDZ0ktTv6DLJPoqkh8qdXtXVv7t8/gyTqgwkzv1gxY/fSEYeKeM4gFcJdCXpP7aF864X7t9pRnP2Ya1YqQ47vO3TKOB7h38EEj4ZGErU2OKy95rBlOrbE78KGUBi7cmbCTsIh+OdppwUqmT2rfEWJIsQUAcs9dme+0gx6YRpgLOVgLgZ942PZbhH40ciRfKRrmQFRfVVSn9I7SREvZUUuXF/6NBSdIMZOBzB0r0mQUJisKyKAhe8AgtKLCs/7KveS5bkRf7I2yWOpZIe6CsQDn+XtNjSVc+7PHqBAnp+jYWC2b3p2A0TuYzqqHNn1SxhSY5fI/2LlYR3XThmJvJ7vfN4x/7fu71/wa3A5VA6IEC7cjIvUBdJXV8ZXVhQiQs4iPWZaEiSfm2TnbjSEZRPnZ70FqdOg9IhBzTNiBYuU7K1q8PBfNsqTiQeAbhi6ZoHNF4axe2gRwK3f3j3XuQwC2RJrEap4zPlxX2/a1NHlVoZTiBRVuF/c9EyQTeN2FCESL8I8Gc4FO1QysrIUpuUNjd1bSD4ygbb5erRXD7Y6fHzNSa4y0u0VhICo44YySgLIzGlC9jTJT5mvpzxuueRdbEEAGiYQ1mPd12rah9syuC9x9GxBwDkGDD58wjZPCTDEcskM2RDAK0Lf7x/aUjjGIh97I1QRAbhw4nTW3zYrnw+IuRp1Byh6TAzw38NwveRaXG/e7w5fVTjRpHfYjsb8uBgBYZLUwTFnsw3E97cQ5OVFegCeCtv5UoPE54rXaUyvQcf+RFND2awmFOSD3TnfMpQPtK1HpNLnnVqD70caNWwMxGGrCL6sJ8mUmQFBu8gBMGPAhH4hRuTfGnwrfDBHms7jEVhs1p8n1gD7JnZEQk8egJ2rQZUgZ01qVgykXLMXxhMGZtqI/JTKgaCgrQceLaXwNP7fQnUiMPpYGo7uq9XkGfXOGnb0LTUmqT0xfsMekVa4EMUNB/OfWC7IeqNcpWtNFOqkWwnucatYgEW1LKjiWw0J9uFp32Cv9taBCrfl4FVZ+M7hROCoslW6LxI9G0YzeR4dmbjgE7Z611BCFExLX2EvlR30dW0/NsrEFbrURN0G1JoM2Xfn+wKZiCSjyTAgELLQAoQSrZnJsC7P/nYbI/b+F8KPE1qqq5lMiSSAVEnEPdSwqby916eZ/TV+PD+c7nllmWfA3dRz5HJBHedJ0z9HSwloRum2DSAYV4jfNXGVe+PtENcExCnLdvOjQJbMJJeLzkW2GWRsvC/Qh6ipRnBmk06WIYdU5glWNren38991eliXSxnzpm8RMkJjGvOEpjkkIEZAi7L2Z8WTtNUOyUoGaGK3tbKSzDbZrO1qpDUWi1GXtZ7ZaLIwNbsrZjj3tkfh0Ft0xvMddtTE7C8BfO5oMkGEoONqT4XhmU0eHEgCifhr5jewrJV0qB1Az6cSGTYImSqJx6tYGmRVMykdOQ7oiGxfzVWwDy1U4vU26kBi7glsiaysAm3EjbnamZL3KOKUNe+Gv+0UTXk4uLfpfIjAqxtMT8FSRPSQlqxOKYQPpCdfWCuNLaDSVZ59niL/jC18Arh+8VbsBvlmttmVJOlbkACr1AdlC59nez4yf0Jfx8F2amdn0bijsCy2Knx5SwyeUFzqJNDVEQ5lA2KfIWwwo4M/fdKK4lFvM9oGLnzgFu/W/QPuMl83ri4Pn7x9GrVgFUweHSpfeyd0v1CvyDrr+rpPNtnPc8AUZ/dIEDFPfFmGgRH+9wf0w/nr/NLlG9GnnQqvxqJQ5me9ua6Ot7VuLEU4UaN/JWny1MYuGxmh52rxwips21056nsrcHlxWGS6D/0jwH9/Z241WT98S7fwpppjke/rWqefifnEOrl5MBA4DLNpm3/IZoMGqEvoliHdMkWVxwHLI3zzjoVauglg7Mb/n5FX/6MUrukaLZoMSesbhD3HXeooUkAHja1d9+mN1Vf6mfglzZWs4wAlZtTOI8QTovBuGPAa683be6gsUZmDambcGcELeUD0EWpC6mFwO7/Q4xhJ5ayiVaO3RIu3kBOSasfY6bfMC3QBGDORrXJxZPXdA3bUDqC+wtEAY1d59JnoWuwarX61G7W1hY1p0S6wpLOm32/8TgxfJinGMuY19LVGjqboWqDBKnEdp16gTXkIsp4bgPHdG4Nqcv1rwACBXGZl/rCeySIDVBdOgTpMgQNHk++gtA+Bk7oYosb02aQCel2J1o95vr0x6UOAkPELa7VUU8oUJH9jSuuUkj0AFSw8Qkp/u9AWZ6WbK+206OwxUrw3FO/6QT91ylz+jqy8Yy7Ug+oWYgc2f3pC6nN81o8OilNfuvEppPf2XDG7Mprxcd/A6LRGHYYUeESiWR4y4p8HQLdmCK4nZ/3YIxZq/I5qzgb3jLh2r3/0Q55umi24gfKHgNSp1gFuWEPcShADr/SZjWq9WkTAJNbe+6SRMH3dWeB3fE1uegxT3Yc2pl28Uox5TIEYWSo9wHkdFUNYhxbT09St5zYjglkjNH4RSDA30mHLGGcnDuRJe1e9rxdIjhVVXFoo9hOMaXkd5mf4xuByno4EMGbJV9WFpuTk1G37fO6cdAPGFnIwbHoN6htp2Kw0rNewmkHCzMPM9aFe6K4TiT6DF/twwcUz/ppHeyBsdcS6CvAlUzaCrhs7C0rmf3+c0S49eZsVlpiFdl6pUk2798LHlHPVtRp63a6pUY4gTgYOL68bT9stcU4+sTImE9ZvtA1uRfSENWWlt827015RJI0VhGt5WzZVIKZfAcPDHa9ceH6bLeCa+Zz242fpH4UmLhn5kpDaP4QLtL0fG9g+NNHibrW0t0M5KmHxwjSBXEVTH8qGEDRsIIK4timoOOaJ3/NDLTHfZF9XrzIQo1ddBgjgjqB4fd3g3kAt9Y+nLmFMJ26x3z2fDDJA/A+OdlTBN96u37GHGMJLwvbwFztwVROeZ9iDO4HNaSvNx5GuDr/1jV8OqLDI6ZriDfwb7hB0Coiwho3rgAF6LuVgvg3iZSUApxUD/DHuqeW+iFrscYmfB9Wkjv8S21h74x1i61qzcO5dHJc91j4UblKSynyf9uwfN+CjB266ZJXPRh1GL+bcPMds0SGpeMNX3De5olxk1OY8F/KqeYBq9NKBBICT4IQbP6kjblqNLXLttCPCmtKimU1GNGnSGSdSPS80xlZGnNZFSQbYaeYgE6qpdhUCrPM1zT+fmLWNpCZMe3MHLYWMPB69sz2d+MA16L5M9fqfPFldtublXZu5UZqPFq7acAX4sFjxgHMVzKKyh0rzAumGH9V0C5ZRnbUyYc09jIYIwtJllggmMq9//dDOxunjzZpslPCf4nHt8UB0dUD9ryLXQD4jQ+EmWq1KLg4T1Kc6ZGy53PBj57K4jyrIQ31/etBrWlqJ18Cu3LPYMPpPO6fVyD82TvdC92R5aBNKbl14GuS/2YS3o5BPDqEfuQEUOVXtirK6iYpPD94IiCSl5WmMbONnYIb/pA8laO7+GNuOD+jz5epEHXNtIS8P60ciOcItibtAIwjIT2ZAEnxi89JLLxFVQ1K848Kk7V/HBcdioZiuTmq1xqpJTPwg3u1WdJU/UJRCjyyG6QmvQp5FeKY4HiUT4yTSsr7O/gdB4ZjCTzP718vg5NCq5prVUFTlGLS9ASS2GGY8r/4MHBqqa8prnGFJ3WfLmcRorbQhChHLh/103fU5cDEbV3PmxddgsTqDXSGWVKKEgXLSP9QvsaF80M4UjmiB04J8BwgLhSHvygRF2K8cP+OlOA07subX44IbklLoqvDGziB+P8w2Vx2fYt5r70DbruJKnuHVddAuP8xeEOvwC+5SEpQEPrkRtL8cUKDi/e2JFf2mqy0jSlgJI74UyvukYVjDY1YY8TEe94dbEezSTx3HsoZJBG1w5peUDZRCwHw32P483OYYAmEX8NWpKzU67ihTh7XJvirwNIb+863/W9rtJ9Abbhi57bFLpVO2oS682IU3gBDrzFbk4D4N/B4yyu6wUmW46qzZodt445AGI9Dn4MFfmLwLpB/R5wQtSwT4vN5FHKRnbC5hwqhdrPzhCJxYr6QSIjef1viGnYV8zxRfNhhg/Hpm0AjArZVij2Yy89dHa8AhDZVH1pNh94iAIMkuAW1TeUN+CaoWjjB5uZBCGsB9whrIInAz5xbHoqK12kj0Se/YkDFt5WCE/z3Q4VWPno05ppbqeHrZdGTTGnye0kauyGO6r+AVEG+zcdDIqst6318RR15UwdMCZrlVjqNS9iERKz/WrBLmC8h9/Oxn3ffZTVXTJErFmbbJvjNwxoqzsjeUi2Ry3pxo2iOMddmozlXgzW69P8xVCrsjf2UH00vQ37k1T3NLx5n+1UEWM1jF9VR20X50xjW+HOQRm/9TWrXaomLxAYU1zzjKPX7xPYXSMx/MMvyCfTyeaXFUqSncnGMJcfQ4RwUDs2Lrvtz2wgTseOj1p1JnLkGs/uysJXOqSCDKMEVu804+nwaRU7IJ7tuwQxum7efiWBgQstsRkJ3oBEjO70EXvAFDZdOPRXqxcaMcRljAe3mLY3Zuoy7J9A3gkZPPBy+Dvmpp5Ejj/hpn7SFpoY0MiHFUxGNyIaFfinX/tezAoeOQvW2TC42hV2PXDJPQAvapElJSy6yQdRfGimaMwa7tPS3iUySpbAMl+HdoHWcWtOPfxAIYwhIq1p0fdOAlidU/2wM296eVa3YS8ChClS7fqHeRwxSug0OkGJ71/JI9jSv+mS+1JI4WfmvpIjO9oDyEqvRBnklUE7RLswMfNXhyCwaaVMSxILgIBfcMjM1LggIHDVzmF8D3kvAA1DaubDgCEOeEOZJoCjuZ4HLjpCE9EvmLKkGysiunnHJhtZwYEEUsvqaOgDVs0q0/TInziQocZY6tXK5PwL06GgaRVP1CZ0LmrUdE4Y8zADyfquDTOVu20QE4hagAPOJ/CtaEu7wOfoqiGbdijy7ezYUphr078gYmz4HfWQSrFasVeDDB9dbsCRafIGBEiu/I3Sz1ZYOfJoJHLOkP8Zmc4SLMsnSjSh5W6XTy7psouEZPWTDeZgP25WPrGNpeNAujlDrjOLxNZ436oTdUJ6dA49VqgY4rTJAM6tSQ5+1n3zUXT1VFr498FEmbjvrBdKSvrWu65UqVE8c906hvztU83z+zcE2kGVKSn7NDKfbjM1ss1kUnDT3qXd4lLu2Yy1VGRsA7b+2voCSLVvkANVSbqTVzBs+IQksF/SeI+8DRqU5dvgYZ4YrLQkm6QEafDjqatdifnQ013+vlArFJ/HIFcvrBewTWCRZVGGFmv7VhSFy/lANtzmM3aGq2897+yxegmSNyYoa/UOouk7PWeq8AYwyaHwmpbJsBdZqKFtr/Cqees4TTrkXrMUxTTlhog5DtEQ9UkKi4kjbrlmFzYL4SeHBEiD0K8zpCXJ4vkWBziAnyt5mInyLtPGmvGcbKdj4PrJGOvuG3JC4Q6kzR7VXicmgScLgKcVArqLQz003WroeNZYdZ5p+bGAOY5Y+frSIWB6nKo/CTlSikVbXz146tgtnOibxMqna/xxwoa8rw4lu0HcQXvbt7v8Zq0xcKzIRG7zlt5MDPP8W7D0GtjIRqrlDS9WMlM8cJ15V00yNBhjKp7WJMTMYj3tHhu10cxWPzqGaVk4XGfx55reArHlbG0Lp9Z8RqK7tVAIVKxnblTo65aLnK4wv3hRxe58bE/LZURTHlvUMe5Ck2ZN8WXDThwmq8UMJ8/vd+fdf99ZN4n2KUOXqdMxbm2tdSF5VCnJfYhszOlmMqwWDrXlBbrSmvXRB3DdZCNhlmW0LvmM9S2Dsk/FZDthOpK9dDynPp99p6Z4l1/kzWK6k9UGR545exT9lSobgH6xmV+0H4wJ+4UUBWy23i6emXlXzcUnJ+BV+4jxMhlGG1fn6e8mQPgb2Eo7uTZO1GEQfUBmAcVRaDzTiUCW1dg0noMKX1R9hCsYDPRq+b9fyDFZEVv5l7u1lQDuDzV1bGA6DO+k74v5c99Q10bzFOsjzKIC6x5jyxBCd7dFSCCMuJifOofw2PfcPozm+w0vNwiLuGaLl0udSTg/DWmVFMVtokB5QLJn+XYX9QOl6RT7qnSOWGy3M2YYCFyloW+7eMSR6PyUbkaHx9et72M9IqWyramOOubxgyqox9JSdbTa2zvHGnFAFMelaiLKAhYra6tL6RTL7M2ynDvzNcy4gKyT3Q2ozOD+ciAFuw6XfMWROYTGjmTr4QNjS/Zjl7cbZW25xSfLSc5kXdN/Qv0ut68BK4tu9fO0yk8zemoLDBByUvCgv7YYDVxbcvTH6EiZ5hHUkyL4X459K1j716CZN8FqDGZrp7U+QDw4MB+XnIgX7XjrFraIXGY3BIwVW7qJ7H1ro/MsW8BqVT8faGRzBsUJyDCoWPsbPcniItJBvKSZJ0Nl0BXbx0D8kYfWO2sUSbyLBdQ/AW+vIuW6+7TKIj1f3XA3dJfQAFoTAsIf2w8+Cw9JekLyCmNrba09II6/5WnVm3zKHHNJpMoRuON6Qw22afU2EgIiIQn8brQ14JOBg3UcSkf3BEuhsus7Hts1EkwigofbR+YNBgfmnmhtIsOBryE0UdJjWv/9K+Q6fTyrzefdPZU8Jcw6vlAfM9glXdx0CfPtYf2ZEacLDMdutl6m1ECX/RGX6jVzwtyfwj3eKSx3LpHJj+UW+ZSOa0z7jLDqPSjnn49lUAygsmI6f8M/AyJL/f9TytIhSvNjCiCdZtNOKYYz+51/4Zq8MRidcr3jKedQdH48oHNXjrQYG691mRQxwDGBdyL4UmZIegZuR94NfteijmaJSTzBIda0FM8fKONrT5b3WO0CdCj/GBTZV9RkeVtx6Vo07+kUSvUi39JFlY73DGUKgsJ8YcHJXnlW0bevvu3l2VTnVQZAhGxasanjWg5xgjZE+tVPB1DkwcexvwspVeYBbPbWs5/EsJHt6PWV7iCzV/70oKw+X4qknHItrtKXpam4EtiCIsodJt9z2+IqPl4rqr3A9dbUBKcfkWn6MoFmujHO1kipY/iMjrFBDurPmZ4FNZYB3SJ175Al1H3Lt/fJe3xGhkBDx09Qgtl5WFnt+IZpgH/jw9Na/3jCTU0xQ/FJmAn1TfBsb0sk+8y8oQdSEOwTjcmDajG3TgQDi9TBoTsjHy1WRBlg8ZgIbWDGIlucIIpXilEjXMSjQgw99GHKPpM5CV4EAIUNUORujPcd5WtXUyM8rBjq64vkIaIDm5+gUmST1UzvugQoJUxnLLi6ehKp11LZ+0Mxgh/TIs+kSRWJeSReX29qxElm+2pe131fxBgfleqPt+OpR16JVFOg6TD0oO+E+dlshs8SAlPP4dKwzpbfQ+WRAe1xl+j66FtxTYqLzQuDFAH3jjbBKrvkJSQKTEC9/7Bohq/IZp4j+RxEVWFN10hRYsf9jC+CeN7KiY0xOUTqjrHIYWpIelhjf/0F5WhU41lWHVGSRanLhVl3tPSB8JUOdwHBwWosGmbdTu6RRwzleXM9STBV8nss59VBrVq/xpw6vbpPhNwUGzVxXOauRpNitw13OjzF2kTJNDg9tH+C/F844U9gRc8BORKH9PrRpFmDgU3vU7dLu5S3DMNQH5YYZafR20ISPJZOjMspj8DpzNQZ4enMaKMn+j4yfSn6TSBaepqwQTdnrxzDicRjEBlbS8Z070gdMquxtxpXUDu/ouqOYPtbQagVi1tPmfdbD/vVsB/K+dCCrCrjcZoPTkYn0Ou1D+tARlj3g9RZleC/1ROfpdrEdEoRlZhFl2FJ2VHzcmsyyBAA2jMAkCdASTJNdKckDuyIB+Pn+bJLkFEpFn4PBLEb3OIyM+euCOVnU6oLkuL/evDVqpy4+HvMFLC+XyflrLQQy68mrHZRYkr+/u/ZgUMJdcL8xHTYBdxHL25eMIPdG3X24uXcS7uLi7+5PcKhtkysZ58yW4odoRTtFKbqpcnS330H488WQaV+PLrxdVxZeb7E6a3Jp+WKiJZIOs/2T02oo9bHNjTGlAxnKGa5A6bhuu6xI39azHyQO2q19K1J739cfDG+0WNK8+ypF54jxwsky4d1Leh44YyHkeoDDoO/DOn3GUWZSzxFnclm1ZCiA5JxWur17K3ZXhVNfp8mjcEHEmjvDWo5f58BSlGCoEI1nPt2hRzfsZDaS6ccIyXsAOQGH8Bw97OPgoV67Z0Wyfqhgz7jzC/hwm3Y5wUumGN7UZm0EpEbuToMzrtlRDf5IUxlMwb9NZKT4LgPRMzEzLQ+kROumIXJx02bs3Auj8LQXlaITDDmKjsRTNkPf78ubUP4nhBSSs6WJsJUiF7cw5Cj2INiS2EowhTez/389cuX++bq3erBZe/5iAiu56+7lw2LUVq1VhfRrtVOX3yXORw3/1n+Cv8NDo2OJMBFsx7VYoAjgVK9Ii4MDIAGSL8rSQlQg5TAl7AgKqZHoDw0ny0OjmCFbfBi9uTJRS1jWrvop/yriLQoK3v6kqbC/v/te3oiWEsITOn1lNEmulC0cfzwT7zk6JGL3Z3WmiIbzpiYkhCjwgRQp3mvLIQbTtQJPk10YBdlf3KhTlOOYor4A+0SUC9Qkn+vYVnyvshGKAVtGJ0y7iWE/nojc0gM8qV9y7M1jsKmRzZImvHDzcxqHdTxaI/zy6vhtlqZzbxE+1mZSc6N3n7y4NdUwF2m2lOi1VDtYJkWMMOgi7JZqhx5rBziANJ5U7e+A9lfuy2qx9UZpTJGPLSKHNh47AU22pIhjjSR7bE+n528/9rAANO8SuCtRMGYyU65Ag5ifZZuOhGs4offVCYCyMGehm9mtUvbF86otHUbx14s7lYRgtRuhjgmIIuiNcqRg2dZqOrFl031G/V1lFp/S8cvvTAujeIfIGNyFPTBlv3byrwDNeuc/9wzOQnnUxcmva3oxuCoAeItgurtEOUogF2Yy5cR9t3Zfj+1rRoGsrEOI9Dc/+N3wV1dmJCU2aynSD1vgr/Gz3oUYTIUWJ5wQTBlMhwZkHbwjSbwO+xegB8trD4OKG4p/LoLQfI2/80+BzWvYwjPHAGzck/BbKE/z/ONZxNCutIDBiDVzMhPt5meeoz95GDeOviDUxmZVO9iSh8qs3IkuPh728NXOxDj6RxnFBqkIjXT5c1m8p3Nui6rdrenq3B6+7jVB15/f7c5qfh5KzNGPtDbwrwM2+8XmTf3/6Nm68MX76gTdalO6sg0BRINM+D5fVXKybgeV+WX82exC3MGQZvqNoBoQ17FkXxzEafAZpienQAMq+kaXXHyyguHOF9DoFiHN4KSEuzZ9kKoe3iTar89BVnx4fhQnox0KRkMwOoTG02UVkSKSLybXKw8lVlVEP85fQGJvDBs4uiv5LWh755rzJCeQ2OhbP8aW1SsmZDu/vLXkLW1/E3JNhsQ2mPdeMOSprF4Im+NGYq8PomKVN53Gq588JSo8sfOlUAGbVyX+2G5QXjg4ZxwyGQOmkB0Ujq2YcEnOHBY6fCTHEj2JQOfYu0iW5xWHIRR5lrYrGqFwlv2O38MAdAiKrG+G1PEa8W4PhvFVwau1C4OcQfsr2MukPnc3gQuBvXohOIldcGHteIuayVjlPp2Oo9doTJ+jD38HXlyExABQ3c3vwQkpGedpXHQCKbuLEKmISz4O6JFGDHrcO2FBWaGAxZlZ+Umwcgj1yQbWU9HbHmnSyhLuEg0mgL0KXaHuL03FsbId1tKspBOY7QZDNId51VxplYDhyzXq08jc7RliV/HZCdfi9uRiq9Q79pq4RTvtbyGJ25zv3bR7U9LZT52neVAfdjEH+vdbviOkUjR4uOl/B1s0FCJo80bKwkHQ8KgQWMDv95UDBsB/HGIApmkTqvX6ODNqNA1eUOGif/ZWRWr57A4qRD9SxoFM2pTqwPuMiziPQaCbvGL0GUJAzjdHE5TiOj/U+pztvNGezr+aNnRogenXEFROk9D/LYn2HJTvgRxVVYQNlQSe0kBt4JFRjhxtdJs3AxFGvNKOm4z3y1FyrJ+4RjHU4g4p585JrV3iKvdNapwQz2waEX90ozAsBlxG05TIEsQ33TAoPReAwDGmf64gEiT5yf5QmEyVzKr1Cxz6TKVmyLJVTyN8sgYjNu5q0FWnsjCH5YsernO6zaIiwYPn4BQUB5eSk/9LRbaS4YgtPREzenayk2nn/XbNGZ351bsBczp8Z2OV1oJ/UqAll4r8Pc45YkbCgYrcIk5Yy6E6L1yDoW2NP5RUWZfCY/YcT3EBV3YPEQ6+xLl9iCTY6PBIvZUFRWH/R/4N8NqqDzpmtu4Lm6ZJyCvhoIlZt9Bpw7oPRrcQ7k8OBWuxkvNn4hHLUthVF3KmMD+v4aFDpbwlot4zx28oxzDXWJhmn0W9acjYUH7tDgUqp3h1y0m1Vkm3bRt1UtgsJOhgNVI2xmhUXMIQ0BmTvrXUEkCaqmTeGCr0JDhO71nEyayDx6JkpSdzSImT+16WWFLOBvGVGXDcngZXgs8GZJRDWg6Y/U/3cboLR59VEDWgx0WHXkC19qLwdKr/gzdzVRUr0441ndSzxAWzijADNO3vTJA5xUsH8XewvJUhZfydi4mGoLTWTxCHdEWmHMork6cZa212PZvuc/Adkagob5BdEahSXtj0iOfu8AdLXxg0g+0wwWuOYqYgRLaJsE3Gs8iyXlp4j5gaj9LpimR9hdu/YJrThG3eecam4Q85C4Kks8gRkhHADeDrkbTAWS0ACD88DXeqjABW0SWH0P+L0z4NtOo5jQYEN+Qu94q63Lu2SyEuV0rdmtQF2Rxqe91hOsXz1VD4CPhD5QHI3ftpqDsvPz9k7atoJPR2DetTLL8ELH41mj6ksfrYcgtuzcMWItrfZuqodjAdrYxt5xN7Vn/vE8LhE4HC9lP3e3SIx4mErNJtW7TSgGaFoEVRWGeOWOQbrcSjJNuCpHUHCrhKKsVLxmiWMq5xADNkdSxjwowfjYuyyUJCeJS/0x91k3Deoj8w7sp3PLfPPU8IprTtAAzrZFWBdS2V6VKsJ9xyyVugRa2pvAuwIQc01EcsGgcdACcl+Jvpf16wMK+C2XaIld9Yo4cwR+NBICN2HjYmp7VCal7ue5474uc8SfTn6fwJvunRgIYNuoOvWI/gLCbifTpcT++dOqD3nmRE3nmLJtNkZNy/xQyLFVQ9UYolPDeCGs5w8G1+CgdyraxRqrzILxQpLIUwG+tuN/0m8CmPqKi5nGINd45CLu2FKmIgiv+VFJn+EKue9CEBBsejHnU9S/+PM62fuC4Xn8HLBxB9+QVGogSH8DrRqlYlXWX9GsZp02tyC06GBL5xdRkuSNALgUiUe71z90Xbs2yxmProgagFLWhlQeqydw2SGD/JO1UJCddhI51LaFwu+R9PZuVww84+5mv9YT/aTETlb+/sE7+SKI73yDkCuAhyxZ095vK+Lmh3huXDQg2IAlHAgBlQEcwG0EDYev2/tqwH8ef58ZcJ/X3hGxCzCYxOKwBVlhJF1fknchwOKP3/FclcE3HuYd3Pz2TMWVtxXdOqgQpWzOPNa+28k4M8BxLQF4lWdhd4k3aMfVGfBcqYkGDmQ6lwPFaHDqmobEW/wr8bRL3A0dUCKpPY3nw8M0G9qopbpUke+xLYwi4tRWKwfbFjRg1UKrOVnB+RV8EnlC6z03rJtZnJAVZu27B+OhPUtfGJ2/idGGlSmXEjHQ6hpTmBjgSjJyNabU2s+heOv0ksuZ1s5FM0DDZMK/ciZSUtumuyS0Fssi7zUU3x6dRuvXoXbvXREgMsSR3LrJZCJ5ZZedepNynf9t7Pd2SFUn73Tw6VgKgZMS5CECMEqZpvGKBvWtIlmMMTJmccrpLOJpb+h+O8VypsCM28BjDUfZxhC9QfMob/TdC7XT3kh1xvLCE8KrAifXAcMe1jGOP7QOh/ruRce4onCT9kqtB/CTH7TWMo871T7kwN1sLtGrpEBMytHnNCaY6VMPYUYASZ1W2yNuY/qa+5pcaNACNDSgi4qulHlm5h/yPCQufbfhb1rKvpBEtUd8EBT92AuYTBNsd1BNu3GmbZHU8UCSD98+8wXgEgoDai3lnewmVWlJLX9TX2KNiq+dEZSwlILnf8f9MI7/r/P78amXqci7fzEJZgyhB5Sgaxi8D01URDJBIVlA37swj4UvdjwOed4VimOG2dDcralaMEoMyDpFx7fWO6WuCXHPul5I5qFjl0tF7ejAZ+LhKyhweCVKqqdg/BvS9Z9BTHZKGuhSS5Gaw2ZZp1084AowF4/z0lmHyuKxOvhQrLf1Kc5I3HNma+1X/LBdFQgYwjitT6R6Z83rOx/U3kv9/jWxfU9c4LaNWC/97kbkmEkS8zoP8TRUNQjulxTr4fdWsu1LrK7LfBzwuZzQNRRTIiv20S3EBR56XRTBG+U6/rZ4lANpPWrjsBf1upJGWjwkAx7gU6T8LQHeTKppBSg68wmMJGjAnv+ClhiHP/9zS5VHtsAb0ifnwdbMLlCjPmDkSy6GwiSK5OhwmrNFmEKYZwMfAA7JfKqrVHmEW+Ph/qvDCkOALvryeU8G7mgB8fceF/A3hLGZblg/ZWqWO60qf+ylYJLQ7CMwzryhEFRGaA30WubGHgyzPuk+pbvJVWAz/BcgCw6ifsmIiceNIqJ5+kkCZQKELbCk8nL05sa/1Iv380YF4LQWQAiNWRmoqbHumhmuahzUj7Etf0rRXKQ7ypHipXyPyaTfuj1dtT9HicHhkygi1/VidDy72nmcAQYBCbanSHBmzv0R98m/sA23c19x8Z9kQk5yG3gPDmvz6zg9BLHJPaOxybwtE6GB52AWgtTMrDWPMv1h9OeBeQ7YCD2gc9h85WNMxWVx5fh60a4i9c/qGKLt1fXYZ69wfvdSmhkfg27z1vzNrLZLt3bToaaYE1kIorkm/vQ+J1YxA9sSHrOgROrdLWYzvepqBNfzgK2ulAFVtJq52mw7sGKxhFymmbj3aoG76+R7YFAG7HmetYYliHuxJWc5XnHhgtFLmmMvHyOboP0ErpLph6AD/zs/E2wnWWZ8bn8bhTkYcyMU2qYMXeJmhOnNa/idVLcVxuUFPs+1tWB/xPnyQox2dhTYVRTB2ovoIm63S+hzORQiV4uAXs4L8k2i760GfcCZTTtb4z4vR4C08h1hMbwTRLrt6cZ7dPGUmXFR2a0C6c4dOUpqbqCjD9M/2HirazliwZHz49NCUBDktclxc4jxbmpXsJ6KsdGdVgaF2j2uqVWyqz1l1H4D3+kvKXxxcXFuZzrmloPKSjH9TumrUYOnzPKjS/3k6zxUHHua92cRfR54YaxvUSvAgLvDzBBsgNtSA8vla/Bp/FZ1ZGgr8YOtYwQpVQ05GILwh2/Z87d7PMMHX2TFNJgp7jqGFI5GwgHi7XMCI5e9lr+D5bgjkbCYSlhLICK8UhQiNka3yktlfFnPyZmAlLEBzm0ZygxktlDyGM0SNW08COVtaOJ5RkFJH3IIBBml2Q5WxRmgdTtxhkFLWdGpjppVoppvUbBq+u0z24ouLqEyjM2L373Zd01yIfLO6Iog503Md1w1C1dmkpwo2VoI7GsWz7EDSybYfaI4UadFGtIQ5LqSw2k123hBz38aZ7eE6nDh9jzPxvf9D/4PGRltfNvj9vdnyz9a6+SG+8u5+YC3hHFbZxuyv1UZ0zplRNGHKW0BCUoVS+/d222iFhgxooI6hp3j8ej30XMgPe4Jbff3RadFurxTxYOyk/m/T7+SzCnBvkFyNBcYqnPdNJLlAbowqnwL/JDW3ywUOkGGB8uniggWHy5FWL9Hq9RbXbxAgw3c7hcI1D8vG81bUU25bXYFHuTwC7RwAyKqfl57RkMQoVqgbD++em0IfPnypsqmM1002IUnby4rF1AydsPF6I2Rze89B04nxi4UKKrTl4yvhY6+hcMl93c/IKxtnVqpIftGUWXJ7vufyIZPx5KiF+113Pxl6yMUgWPd8CtvvNtYZy3hLmOOqFXp50V3y9trHkelG2F5PDghRsz0FWhOeBcSe0s3lZh79rqNEcLqrvkFFv15ZoYF3FihdEtdBe4C9uSCAQqK+kxx2TvTtdWbRoK5fe8khPz037Hb+DFGw/aR53qltcOTsvP1UNdv9BDTjkUOcmgNFqmTAeLrmP18CfVvXIw26Mva8+T61hb0MaV39QKAODO+trqAiygPfJXstCEkpioHKbon+NwxaHn/So/VEpIUmQVI4wMJ5g++Is/CwVG0BO/JKeijWC+df9K4UV+dwck1HyKFBcWYW/t4DQUIzpD/GleMNQEigPKdDoeaoflioPJsQGTu56N8i1YVUQgRgK+09xfB+bTbbo4Q/+E+XXHLODrz8oAIGmog8JpT3zWU7d7MDp7ul/G67pLNjDFpo5KKYpP0YunL/zZ21UOaBm4NTLDIuGRozYkR88DJ2afr1a96cJM7acwMVhkP1DKgbrexLt/Pa6rMzjuYF/p6UiX9b0ySvE13hMaJ+cxBcrzBmpBphGe1LGP8TU1Pdb3rVd3AJkXw/lbXPicHz8PXEtu4xvgn/zwK3HZxJlg5yHWra+EmPu0zyUjN9iAgoAiIqNdIBqZTMBgtR1Oyo3t1BCHy3kAryPWlb+L4FXPI/BgMauj7DlipC2mX6nBiJOJEEuL6584g8/61Bpkq2AnY4NCPgtbu9saDlsuquUu5SL63EdAHcsQqyM2IgxeIPloMFgXDElvqwJghL7oFlOjrGOFSfPWl62NPD9HHlXPqgI/6ULLZYBxhg/vVet9UFL96WkMh83fCA5PE9UIBFu4Ffmy2Jl2eyILLIV9NKHChZLpIZgCRnBf+BVJE1w+c+7hbvaUUCBPL6Ta9Ll9DeeofRAsnBjitrwN12jeOj9urlzG46a0C4NmlNhbRuENwXFiY6RotMTjxhyfqrsVIw9KAZC/hFk3TpMD93wqbmRCVF3kcucVdzZ8gGPkpOjhjNWANp/rHqC+wuGOLd6I+u9nrFr2SANWwRprNtUKInAigwgcTaDQ5CFeAtcXK16NNM4GgWhDjMcWhd07OEsOKtK8pG5jfuIB6vXGTJ7osfc6uiHhnOQI0VBceQbZOgZYqnwdXp7gV63dewiDpl3Wh2S+6D+62pBC1hXOV5DK7vKDCxrw96m6OMCDrtMakA26AoXZJ4WHjaujl83hKtdwk1ngZyP9PHqC25LqSp5807EDetso0q+8JvyW0HL2tgweWFRRw/IrUAjzU4laMI52OYhWxCcY7mWt0Z7XZ3Oz1Np+wOlqK43ZE7XjlxCsKnjfqVY5q9URRZS1BzZn0xgabwmmEJRcdjJVwNBXIVtidvOXhqJzdEg0uFRXxETm4i+SkM7g2qX9ruJRSVtG+C74idMPe7lj7qZdCrWCpnfFyK39XUMNfnoSwhz4phMi8j/MA7AUMboG8K2+AGk3qPWEwp+m2ZWBFtAr/XyALStuJjcKRFLwxc3dzS29M/mV4SZZ9kUw+ZmN8JH1xsoQMLcXyIYrC8TvntX4voKiPUnGJeZez6A/z9eG6HcrstUtOruZaKaKS2vg3qBTJL8EwXtOmKfb9bx9BLfWBHdX1dmv8DfxnzdAerlURrxgJNNQQXBGNrZdh3IgN7CvuFnPXqjrJNXgBYJv598OlCqyALV9GjawYvMrEfIaaWrqU1aI6Y7eAIynRcgk+jRHMgogwut2v+LVLu/jIp8coXjoPTzRRjHNHvwOz2zLcU1t92K9ofnCbKi2QGAvYmGjP1WKq1P5DzkO2NwJlsHq+n5hirei4ChauZ9y0m1Nh6lJuM2tp6icup2EfdRrJMaiDEy4Xa4YDy/tdeqV3hJnEnwsJtaJ/ZOdGGThnDZS794o3srLlcrN/QgVhZs8dmCgPexLW2anpkzC5AkMHtnj1iB30iOh5EDsnREPQd1RRwLxuEgOkPcXmR/ASgNmv2mzkff8G4w54+S4kynruNUigFN1CwDM/0Us6zOAHGNxCK9688m3BbOkb0+lVWJJfyqZ+popgnVRZz0ueNtCh8L7FnnJZMa5JjKkXSm/bkdfLw74qsjSMY7T3iFQ42LVvyfCUhUTAMKZS1WqZmL6qQmPxGFlRoOKxv3YqWsXCbjE3EVBj8pbVFeYQbYRkbufOZulS51gQDMNTh2mL/U17wPy9z7cQI+H8ftoOHQGjeO5bHPv8BxqmcixKmSpZyqACRcuxKhpuYXmnazTXnwi73AJnFe8krFCGLose6LWVm2bwxxVRQPCyU6rw+7KBuR1hyZwCHCsu+1DlXHOeeFVHWcAAKPSieAXdsv4XFOChhgoq0NdB6RK4vA3RbesX4PAwtdisvhmr0N0iRH6+V/KCLhxu4xXgtzYRviX+WAv2slHi9ORJqi7taKrNuX9MEOowTNA1pZDxuSvtxCu5vQLsWPvXh/NsKYKTCX5F556vNi9TYSrQwqL/R4RvWVpAu00GB+RZ4Ks7du8iR4l8h8M/t1H5I9ae5pMGcZSyO5J8f1QEMEuU39iSsHoB3ksk6qqHZdnquDKQtpH3hsQfZX4zYrSJGtacgBzill6RTVBwXfXRGCYsqaWQrcwMN0PulAyRF4UDZlV+hOFO3RRxzMc03a8nE734fBH3qWg063JSOdKd3erYVUV6lYsw6B68coXWJgCIkM61khTaoQslwFjPbGAjq/w6RPifXqUpMaLpYp0RjBrizV1OHqbGAj1PCyBpuVs1N4TXIrWvsXEdhJe/UKITv+210TUrStpUnBoGzId8LDnJR6ppzcGxeZoQQS4GrFS+/axTZxdejJHs0E5mFl5gEjPjijLVOzGHDjkCv6rg6bl7MtNF+Pi2Z6eunWR+u96UIsMzVUPX957HQo2pN2BmK8LjQjx9/UFlCYY9Rxyf7UmxamyA6sDQAh4qooE90WT6c+F33HD09AU3pNj7DEfZmKViXJ2OsrBirvPBi9LlxY6R0gG220eR9R9dembhmdb2TWhawNYR7ZNrbEEwAtlnwX/sYCk80NCwa2TSjmEGlM/ol5HXSITEJhji+tvHorfTpgZE5EbVsjDGdyV9Eg1N0q1lwuMfBgDKZwlay1gwr/n4VHeeE7BOWVbPIerlFMowb+19doYTDnEu27I7tylIn7REL9OB7nsXpRrkR6EBn0n7Q75Si5PPgj7zOFi4Apvd61vzeL7umkA2PiIsPab2GeavESNDTyrxRmNwJRgkFmJ1v4F1FwM4DlIvgBqc1FiHHmrwG3dH27yc2gqo1tT/++LO3kNaxsOWJLOx3zh/wwuRfb1Cm0PPyQjY42Fycu8tHHrYrIX/zkmy9oY1Lf2OMxLiCnwFoi+Aczs2meS2DNGkJ0gGDTkGXvta2XmKqMqz+62lCSLom6VJwbMpkCYFZySZBHpIHYd2Y+Rk4nfRPPLzHALmvHwlB3ZjsuylMTc9qtmUAo7T6jXHuCkoeK3jV4KMM8Huov/kJEBt2V5F5G0067z/Qy8QI8yRg6j/4EqNR1UGEMmmIFzg1MEOF52uSNX+SBhRg4pjA5iL7O5EHxBRpKoY1RFBaJaMhYN6zJbaS/ZD+Mx3nc/6Lo9IFXhs6lJzpT36cJpe8fzMldxfxKX4M0N83TKhAuMrcxpcOkNaSVAWax3YO5U+3nUOJoaIyHc6SswSM29r+D4mwYEf7/nuy95A5QlIvrcRMjUI6zKj1+Ymj5e5OIFBwHQbx5LFzr2+BMrV4u91SzH8ktDm+l1FFQAcTTXXXYzvY9VYMamMIeDUtHFqJNckYLHZIAC/Tc4XZeVkVI0oBh26YF0oNmSaMLRn4VUVtumWhLinWYj4TjK2I5jnWoamxmi1O3sdk4ykfwLPO7saiK+qsPAV3jknHCE6xdWfPM2uE73kmK2tEErQv8eCkRfcgOjf62PSjA8xRZJgescTbEOBWagCyYH47Y7Wejn6jPFRoJ8WLlI6bAXxPICVn32j3l1MEfkxuP++ghUy9Zqq0ZZiuMhQQDoZzqgSKVbm2V3lWAwB6UL5U+8IWxo2ieDI9jJUMkzs3fl8O2zcdb7saoNA38Q9QFjYsmGRtvz8a8tNPXLwB47pn2zpKWYYksW9l2JaMxmyJgmBsYq8q8C8tpr5GB5SK6NFf8/0k8hDTiJWDHtsGpWysoY+/uzAbsPuJ7JYcXdh8FVsQ6SEueXX2wqurwEllMpJzFmD9TUoorlEbFCgzFC21qYE9F9iCJCmGkj86DLitYnYNcVnKOcBTYxk6/A2Y7AcBHZoKY/EF4B2r/V+/aHiAvA4yc3bcMYKf0gOm1XcusoYibenYa+qynZaOWOswDumB8LzWsIPbMkkoYgR0q+PcaVJ4Onp79Upy9BY9ZLJo2ymrYR0O4/Cd7cEdK63Q1k2qV5B3d4cpzaklExr1GlgeRGGCXVNIvdRjs2AVZ7mADmKWfv+C7LLfTaPaeLpnLIMBr01aWkit9B5y6kNAP47zmyHz3Arqb3Wy6LHFVKWvfmicv17tosOf4Zq/jShyWHzIO2kJ/nOA4JckfbIrdBsCC/qaCbppmjR1IOgYSZwrfHjMN+qZ9qQQ2PDuQ7lbH1sL9/yurRLY2Em7XY+WfXUkdiLoaM+zaq1wXnZdpgNqUsbhNnsitVpJ2IyE1wsJRF2dQAPXzbYfziKHr/PyoVXR/6Au0WmVx8hHaJgT6Tqout0SifaSnNAlWsJJtAFU7ldYsmCKKAUkFe4123PAanBTiNNLjrNinelqUCaMC6qWXHEs2oLuTJCrFDlYjSZjSQZOlzSOMbqae5lw7JzzQHKwo4Mt5YWP858EJulK1LibNgj3JBrsMisvpcmsYrxNlUoVAoKm52QJIUXoELFZYTpK38k7M4RbZTDjml+zq+df6WdU7Sghsje8lraHbqn9UqHp2jeEDwpvufZJ6yveJmsS46QXrbYoEFhouwKbqbVC5qLSCOr0WARBTA2FOgxLzKAfKis9pgM6y5qcCiCpVhNY6wuSTn4O6O1o+wHaIki1BEZte7hKgNs68rbViSN1xthiBsmtY39oSJ3+DUo4kTqWb/vTXw5Wos/a6dGFe9HRVXaemGT4XJhdDLX6hHJjTSPLjCOiHkUJUya1eQNeValeb130nKeIRtvvqYqsPvsFQSBYdij9VEy2A1DX5zZKy2Mtr03YWVXsze1orv5hd9QGlszoUphgGv0n78y4juTSao8TfJ3MUgj8XYF+d5a0paQb5roDsxZk6XvVXQSbV9OjM4jpbi1AzlPxVDhNBncQtY3kOlioWcqcmLETMOezF54Morm3yEhPP9w0f+ARIKtbqbC0VuWiKdTE8yxzeDgT2PLvLnTNx0kkLBFDNDjNdLI3xZbCpbiUb4AZdhF400n76rgrW6K90Utf2ZVwI9Yz2g4J32c11jSuOK30sMcAI4I/ULoXenSvW2pSZemu+RBDHmCMlBah0FFACgkv+1yjqbfEwKY5yiWWiTH1+wme5WjvcJN4Qk+UnoTzY9ahBgwZiUEZzg2vK+GpsNSHzU6cmE+OV3dlUG8+dN4aZElgLLSPij2gK/KjIeKeTWqxi1l2aCf5O4AGEedqj13XmM7nAdNVip/qMOABeE51u8eg1v3osv6and4tmsEfeFBAhkZrKETAAfA+yLDVikXc63bvvRNdjSkwF1RnZI3buSF3rj7wEsg3ZeeUc/rA1eSWA/Xo7/Ejc3KUiECnwZ+Z3s9gIeIehjZqknmKGYOY1dGLiFAqV+mBUpRi8QeA0Ze9R42lQFvEFIDuH2YMKV2ZOFgBxfBGyESFct+MtTmglkgSPyYEehEZ60FIy4FZs73zhIbhc1DQyW6FDQSZLFwi+CyBUW+wf6HEO/prv5ddKH4TQvT+dSd1XbizjLr4t+Vn7KaAs/i+/ty4hELp0rEbNehV/dMJtv39ly34ZxHh4Q9Q3g2GifGtmE7ScnBFPG7sIIULLHrHCp8GJRLkjGy/UNdFgW1DI79BERjSgiu9DWbjCHFTZPUxBIrvSkCKPRoKeW+S/NE2mWD0Xn73e+L7e7wmOqzXXNu/M39ieDKaX17sWoFtvvQ1VUybD7IyyJSlmqqZuHw6OBk3qRRUIypg2ngQHkiUDvh3yhT8GAb5J60mdaoeqql+gdOSR3jyLVtBkFcUiEdxZWf0ypivJDJpDGvdRkptvQ9aAZQfbDg8Y2N8HEI2iNqnr2g5yK69VyH5o0nMHmAaWVOS2hlw8y0cD4LIZLvBf0cvyGj0SARcCStkSXct789H4SDu0CHpCVsvac7GCag4TXOa8/Ksth2GF6Hmc7JDYUv1z+tiaUL1QdG+N2DDdw7nhVBb/D51RVoeabZ/G+J3XGYbfbFL4pMJVe6rV4VHKNzujRzS/RQyB+zTgcLCgJZolKCFoV2GO5IfqZzujFIkHHkqwiGrXV3nUV2ITNEwGPk2g5e463iCpF60g1RTk/weaieHMdqM9wUVOuRSyQ3X9b3HmOOCmjW9RIoKqTER+FsLoVRS1UcpJAVw0bi+ABaUtZbxosu4vcs3iMioClVF3ll/5+tlD5ufPMp2x6/jC50zQZoURUqpEd6+M3TWMNJWSxK6nldgjcrLu2Zqy80/NPSDaSumKlpTl3R9aTOnY2z+M6FzewRk3RSAGZRoCNVP6yozOhtOT9fqN2cn1X5BuqfXKKrzru4NAgKhbeN+QQ+NWe931q6hpN1F1tWpeqYmDmNopYQSaklqq1kGjEupmExtJJY+iYGp9LqWHm/iOBBQ0JT/nKV4QQ1vcCLku+5PSp4g+UFfoeKYwJnu1ACmkIkT8up5If0FPR+9wnH2rXawcJEJKDF5yD3lBZWosNMAB9FysYG06Bt2M/A8PkjWYzYQP7P2Or/AT2A8yXloCBr7XTSqp9MShVlZyGq7KXpGJuA2oOqPm2wHQu9BHGFwEipTnkIRhc1VvcMGNQxVeXI4EPSM4mcODvGs/tE1pFGoi4qOBO6kImHe1ZASul5dNKuu3Wj73k0WwZXZFBPcoVmIAu8531s3bdJ17M5i1dRNHm8fh23/eWXJYzsMNQoIhBhaAF6DauojEbnD+SS7KhN9oFmT23ersHxZ90EtH/mKxfrb+J2NAmAhenhuHiW3J1sqLrPoXIW2uvHT9c6N1gGRMzhzNXxWrpnztu1Bn+2ls7nt/MizU/ThDPSvV1Fl+4p193EsKhB3dGYnNKzfgZYmpKjseGKS76XPIlN7mL8mRwvbWWzmR8gI1bXwtZllIll4XB7ux1NW57dCAO/QO2sF7fd8UU57kLTDFT8PUJGkMDKhALNys2Km4gA9fokca9HAN2hgA51g0nY/TN+1u3fTmxgN+MRsAeDFRJzmoNXnKsrw1YLmB1Ta71ki991lmEskCpK9lMesCw1xubZ5YuzO4A1iH2HuL9FA2pSInjF3OQ2IpwdZUIS/72cJ4FbwRIP9eGKEJy0wTkitm+oLLqcmC8eudsNga21Hg0FGulm0Z47sxTEfd0h23rY6Sdt3tZIKXSvVpVgNtbwa/f4IGHtKW3i15JpVS7h31yVQUnmy+VQaZ8VTXzctzchap7deP8o4b80aU+ablXkNiVuo1NkhVDTw48DM0ekcJ9q5sElSeuYrkrsiIwQCz12QDc1IIaLY0s+fv284h3rwmjLXskM165bt31f9vF+D7nUpMqjE9WHuMMSHnfZSMd8vBrMNrCbBmBrxtO1uKIIwdG/wfelFAn80vqDCrIW0nw44rDr+aUwn6Csu0pZckdnpUxcBV47Uw6HqVBkXN/h9qTiaysKe2KKuzSh5Bb1oh/ReNCKvBPVQ7Npi8+CZ6KFCQkWrRBH7kVtDgDiKKdbg98OvDXVXNl2pXtEnrUB5J9Lv1e5bmQypp/jkev7NkqVziWgWavrNU/Ao4EJk2iAjNErzd+/6NhBu82zx3d4tBJoDEA6KEO5b3eSlEWYg7SchhkAwL5NICKHy+X2Xk9+ol7Q1hhSovYmHgym7tU3kWbl+dyTL8FvYFQubLjdjLwippGYiMlcA353AHbvMXzpAJVfWfkmBxLMcZJSY66F4EKvsYxzu8a7Qu6UGhN2+5jKnitDADdGJyIPVKt4yFDfmB2dGBWFr0twptdK+D3Y5TXCxTAFAWt6U7gIYEhqH5Hghh+i3FdHU018SzSHUbAu/DxxUnLM2xc883C7iOzZbM8WT2qbW0OYJzz3OfhPqieoS8jlHNGMbIlc/gphiOPMR+ee1woLpsn0Tz6QfMymFrafGBjAjgkxluVIZPexeErfzUM3BnHM4i/T2eiTCYk/XbyXdoY07G8yHtLLgXtlXqkWfwPmsgvCycIngE2KCyyA4Jsos+qpC+uee2qVLHMuVV2Cw4++6Nazky+IwqEsrQOMTN8L6b5U3IgJJFD6n1hcbYeVxD0TtRFpF2AkahpTOl5jgMCSzXHRkde26dlsL7wuKnflcex067Mc2TTwo5bvestc4nya4iyt583KiwGaPzf5ffFG5o5P4YoHi3Km9hLMj7Zmze9mPCE6YSTjL5/va6iL6OPgjM9YilowWIVmfDlOFnOXaNL1mQxDJkPmpW7cIVBrB72NAd06fFH0lQcq6JYFtgwirLTBuVg2KI71FOOHSzV70Lc/MiRbkBJZKaL5WU2aUj7VY9bhi8z7KnCE5TCk4SXAzh+8oEJZZdN744gQlv1FhYAGivGly97LAkGDk5qkhUXBLXF7tPXFmIYt50knEbyqsapelhuYSPNoX8kD5PDcvWamrisC4BqTE4yqZYsrlT7er7TQaMhlZcLO7d4qGdxmQuW4IwoOvdGZxt147LJMY/XO0OGPDracSRVckg+Xe2qOf6vJ5DRDVFvyePHj3GbBELj0k39/Hleh58wKkl9sjGdVv9Rf5xw/yP2KXyek033qO23171Tmb6SGh9+wqvanwrB2sRoQoPoxNMnX+9tBV9sTzitGffwWTc//js81/zYQVJdi3PdN4KbA3OcNBlosGXOzgSAqvB8kqW2RYi8K52/op2ny4FWRnTEnTsUgy/lGhVrXYuabFoMkCg9U57fM4+C6hiCkXy8Z7RouyzWOfvHcq8VSX6lfVXpwieDe9+PqDWJpa0yjrY5vjMAP/IZisMvJGxOguegUOXgY+YT4BfKnIq0ibEdN6Vs5DHy1uK5u72VOU/HbY/Rch+9sx6p90gquPSs8P6EBVbSt6Z6ZMv4H5ABc2+ygx+A1DyQ4XRCU+7ABikWBjgWhkQSz6hHi1/UlOG/xNd0CwIrpVrIb2Flvun/7tIKZg9K2vHK+yJLX0t3GkYmchlUYfy/cqbz+RbmnU+7pAq7jx9HHSVKDkpjOESc1ZVjHMPP3gZ6o0kfhsPeHMHMlDp/GcTcGez8pxMbsbsDeX8jlDE5GsHg/vuwv1K9gsKCu/0A+5DkLepr8tpdEdaRjhnfSC9XeGsSPQ5k1YoDJPfNlakXkQwLZHRjCSdeqF641+vbd45pIavIR8CXaEw03d8nqPSh80jfs1kjoxAKOYN58XRQcMp4HjeO2CTak+n8cDOmMZ2est5CZr4vbQtY72mpcp4Kfj4R905QFFcLJ4cLbAirzdSRGCcSYhiImcf64OP0suPGyE4Hk8rhTd4JN+9njdLT+H6Q2wlK+oY7n6+3eNFzH+OE8tSEQRgw/5XZwU1effRBJRNKvi7usA/095iAHh4c08E+GejJ0RzdRkNTzUcfp8jcOQErkSblbK1sKOlS0Qxn4kYgHTCxxGk98gttEXLzwXwhJst3l6ZAtioOGeEg8HHDtMveObq1cUHr/SURNvMaGvfx2jp35qIq5mjPJEyA1k/B/9MHT2PHbSMfrWGkJemc2ngyswfWpHelE4r/w4Nw1eKU9FY8Os2ByXQt4+1GaOEn89Dyio5SGt2S6jTzpvpC/k3irG17xqwv1+T6lcBEu8szXboiXBEgHu/OBvEpDO97SB4VOHvmBTZ/GuSC5Y3Zw6jIWYhyPOMWGqX1OZ+FDFFdzJtQgzqa+v8neGemhitjZedoQ9lVOfjm3oV/xx0zRxBzGRS0FNwO8y9IcVqrzFfJfjDG6PK0Bf/eXdkAzIF6cs6ay5HEw3a2IjUoWqUA5CuFTlogppIq2s/J9mtWgR2hOCZ5wTT1zyNsG9nhlKKBBzaT6eqHs8FFZ6gL0prK7Gl1FnhfkzZhutzWQWQZFektj4EGemb4X03Efv/Ixz7/KLjd4nqNyTsN1TcKtxwUvo1EJucYkYbmTFUECc6MnB//WvSTaQvPVIYQDtIhNrPqgeE4TVriximW/jq5aLd5wcAr3IWxUENI++gpXvnCV5u133WeIJVTX9lKmWFbFp4IG+0OuukkkyjtZF9LnqGw2plOkrW+tqEUxBLnGWH7eWAZgUoK0t5SbgWtTGz08fcLRYnJuohBq+iYNc8AlN7f5n29hnKeA0QJkepkaAhO1O52YHiGIUbgEC2k+IGmIc8JmYyPf3YCioZWdvbXGX5e8ViF7jo6vMk51ZqSb5Pi1Gw4dGKL7TxZWBV+zRxTcCjKhLxrAp+zlbcHLBA2j9IBdWIrOcdx7AiU/fkc0g5L0fjAa19Re/7pAsplZxMXVehhIhG/kCwDGPhoQl65MMVQtNV68iSzkvnJmLsUAMQXik2Y2sTR91gbTlVdSX5lM7p1LBlc7ct58rsHBsIJn9aK7rbWt0kBTkX8Lzd9gGxnWewhw9cnlxje6RZUJxALUqur0AKVZ6Xxl0NIS8l8nEWVROj2k33Y61lvgQnSq0Jzb3LUppc0pppVCHvLlEAsM8nPAa+n03Rn0V+0g0tCBBaHOGde/vY3z9sCF7mxuOlSQUYXmLdet+lgULa6mwxdUI76HolnZIir7XqOp8B5ffFRy4O0pW5IsRK8YPxOiprY6TKFwFtGigD1raI92Uz/exBslZH0Oxzd26qPEXOrLv1oX6uRt7Zka1hN6JvqSyNB9xRXCB+8e4q/dqoUUktf5uIlbbwr6Tgp71YcPdFwXd8cL+tMNPPQr3vz0yiRSkjodSwp14a5m2ivR2VAMaMZRHGgROHD34CX/iC9Vfj684/6ZsWBEpW4mWbQ7Mv4VyHMAW5NaViLwnDMUdKXKAUQnPR3VdHO8/WWy+54FDGvarZCViERSv7oiEG0bvtD+Z6IoCN6yIaFDUJsa+7hCFsEqhKq9Xm7ybf7EFgz70+L1Mdt9BlUedsruZ1oEVjicnAX2Balv4a1Wi0sOwj3jF0CxKr8WgMdPPX9Hg3ZnIYB7+VjvdQ+oPw+F7Fwg5jxX9Ib1k+PFgI/OLXcxPZop5zDy5+leIcxoB+DiY3Wy/RnFWewdKNc7XBvq3rhe86qn7pxj9z1MEsPyRsHYzFAaLgTctX95lYLI+GKWpXvvKgUKR6d9/8a8cBER4C1heOQL8xCkjkaxa6gr+iE61xalloHM0s3e+fXCgKBSgoDiInKLun3+rrhEtOHQ7MbIf05lnvRt/GXQdXsYdJPHoUvKd9PO02U8jvQSbaI2sYGOtBV5ZZod7nNvAcVtUfO8uO98yg4Grknig4tlPpObeYnBCKfZuna7HNNh7Gr2kPpDuH5Ulne6gTnfs+Z2QnbZ5pa6HkwrZVOtfiWdxAOdDPWtTWJnLX1urRqu7wqYZzKTcOKF6rwc9PtCiXyLiyorT7gGq59vLc4C61CVDSMHAB6IWTqEWrN9gTSx6zw0cHt9FyzcewXWBsbuu2K9DCARtFtBxgzEJnEZXLBXP9fhO3byg9xUlVtmFWO+r3cT2KbYDmTlkoGE887Gc/6qpIha/COqs5mSNlI6FFY6NfFX5HzXSqJuayORWmMQ/gNXmQ4XynKlk1ONXaSD492pJXaBjEdfy9MVduqq41Ecly65VsinflV9ZLBjYcVu3BnjTKoRtBFLLTJBv2+GT4FB2b2q33EIcM1JiYkbwgVNOmtU94xaom3Nv6nhMrvHLC5rJIsq/wCcLYxeEANsDCxVvn/GFlaAmI8vJ2G3uQPLbWShGxeMTHep3Smfqi7k6dutkorpqT4SOIPc6OTLkDWdroh2utlynue9jYeQZTln/XWTg0T0jmVbMgL0hwKCrL1egbhcH7e2G2JDhnIqSR4ozcfxa/HKDu42EGOdcgpnfWRLQWliHWxkjUKGdKNyouDFj+vr65guymrAGuFZZuHxxt5hLTm5xjZmyqauQlp5US6/5mKAD/D0frmYzU8wmouHClhMkNZFO7H3lN/Mg+/ocQ9Al971RI/9af5lSh+BZPNrM+u175gEA9B0N/IGm0z3wcNg8mcxhz4pCHsOGs56ly/V7sE3i3kziBUw8HMZ/AfYMU1WgmY5tzCOqSLGlggBQyfWg+a3gDm3AzgjXpsYO5SP14mimIbcN3jVgqNzjErCyrXSjEgTMsWT9eZznShgQ4V58WQ2Px3mRvs/3C9PpmVmD/XVnhX8tAUGRZXvJSGr57k2IT1qy2fDxbXrd/jt4jn5e8iBEdhSktCchxsQfhshZwGxhEc0pRhPY/Knl5lkFg4keLeZ+iRCtJ/ZNCcY+oYn5ZrZBKk6h/l5JS+hi9LoKOppBwrCbYhaWKuVFPGR1r0u+h/0fFRSI3GmqfZMHKhONNYMJWVK5fAdb0qlQ50KHflIEFuG1en2EMj5ew69gxXrCMYF5pXTxyfR5hf6ThvibIcK5PYGb1qA/RPV5bjRulzH8cXOSb0b3EIMbT6K+51jYZRzZN6rq0YbkEl9e7p3zoNr7T2MWbFqQRI3c1HycoweM8qxnzmuQ4D08KN96vqk3VSHMLCGNgPDuR8yOcfnlKtheLoPJKGyiehIJ+quCiwgOvG1dSItY8ILoMopm5l0c1NA7HpZoGTMfysCk2htuxEx5n56mPv67HjYv1REWZ85j7Cdm/ceIv7zXNlmkL6DCSJi5DNgTLPKVSjS+LRQNzIAbilULvRBKuuw7eeXEF262xmH0lZ2rU4DU88ebDjIQuiFkhG6VhpYwi2zld1yS4sL0VIldL3zFas9vovmQ5WDbPalMGkSmOtCsx/ZOIjMKS/BkWxp9nsJEPpT3dlawRuQCGnKXwGAXLLOG0JayjLJg047lqkTbejDt3bXBDd7fpCnE7ewC4pDADjYRwGuVffHCRVcxmdpTczqzkeUcp8qnFTP9AP2xHyWX52ML/3uDLX93hMtISTDwzHn/B125J5LqTZXMDWppOe3eA45NmtFCE3joT8M3iyktDBuUBmfee3NpP0Egc6I34pwF36ifX/y72kZBdafxcQNkM+7J3P9VYyDdH2DtJlYhQqXGTCPmjDslFzQs/wo1zyxfZnM0ZWVvIdEM+ZjiOU0252pllalaLURveT/yARmZymjZTMpHdjcwg4jVceJij7mQmrOtjx26uTRVXQD/qmwmUSwk9l3cNidzgg7bu/M7MEVr/CKjDLtBk0U2y1GLMtcsdqiOQWlKu/1fOvxI08w2zw7hVh/gGhZT7TIBEV7BruEo2uUudi+GtTNhN8L3S3LBTjMUryykP/A1EnVPFgiPCYCXfVDUxGdz6Gn+Tmf2SVDWLkuOMadY6QhFj4W9arxNDi1DXV2PS+ExOH0bN2zS7byUPWARwgcVPrs84b8RTLiGi3cPFvEMp6gNW3qq/jZ/LSnVnmzSwwpuARPHxvKygEzFZYiZgQ55PFDnPesaqCQdjLfaN/7w+F3SosCAE2yqsoH1yd4WUMdpRhQmyIgB5vD8S7s+jwlCzwcVcgWRB3SH5jhV1ld3IHecm/NsQ88bWnIQuPp4XCDc69xB3fhJwMBIkgT6YnzZ4Ai9Fiw5xVhJCzG99jMV5jwIs/H/wZ1/pr+KsDLZxYRIeGNSKAPYWVVV6o7dPd7ZE35SRsPOTluymaXtI9ud9Sbls5gAcV8DtaHgFKhIVVgzezryW0KVrZqr8tdn3zpB1h3tPDLA+zDpOxaRrUeJUsu5NPZKI2PayQSw5BjDLw8VHEjtPHswLOOc+mwrIvguNBLuq48f1RG55DbnQS55hEtNVWfsguis1TrilHmd5G8AA0/v2bHqyFIzMg3iKtDn0hFRulozJvrs7RY4ZOKiBdlTsXnlsNMioVn6qi72z1nEa3NgtcLiSZBsLMPvK0XST4NACCMFGsaRmsnSAXJnKlM79JvXTlPqumWrCHtxch3KlPsJwhdW2b6fpOoMH60Ffkrw/q8A8LiCxd5DiEsgJTJwar01Yv9xAr18tuvIEKy/eZEycmkFO2ygE/GOg4uGf69Al+6MBiymI5SydV/aMtNbCtWCZGMevIKTvLWRZpG4EdveuPWigR3oHA9fZ+kvh++e0RKOO0fMFsioeM5pPcKkrs96DiWKfHcCukzHncjHBoy6V5Cq/rjv/qmlYd7O1p9k8gclM8IIRbeL9julrvZ4IQxdLcqPGYtVwr/QBuqkZvpVFo1JJbtax25/HL/sf0EJ8Vq9Ljnk9rSI+vQtVP7kk551ElgmmdDstKGZb+yRXv4mmJXYYBBx6hTvyxWWqG1UrPmfpZcr/62NrijY35A28ENec60odTwZ0viRN2WINUWfjfSgNG8y+iXbYF9Z30xwptH1ZF6x0VGb8+TjgrpnTEN5IY7vkp+sWINqYxMYe5PoXQ5E3MlxztWfjvk/3L5dxVnxOn15O6NCdq0JIDzpODN1etLl+Vs6+jD7d/DTD5yDz3/vw+LmYeg+BCxdiTRPeRDoDPi9WGfugEFlbZPhN+dodTpqIBmA9MS3HyBWbfMrsUJUf78SaO8NtvLHYc+LVgJJ7Nw+aloN6PlJzRQPoCwpXxCNhxPAIu3NUwOYhdYGrlRbmVEYzsEF1vvDoDEFHLuXbjDCPBrw2u2E2Ell6/dc5Kkk+9XXDuAjrGgdfdLv3t02SAKzewTUUxoSxJAiILtlDmF6SXMUY2BenHnwUeBBPaOZ+H5rT6oXsNRTMIggovrVCxUu0CvTKwCIYEcwUZuhXD+aQdzc6TKXl2GA6F+GhGM7TLdiZoVVCqjwH/MxmiDPthOLvEasq27tcIGFjBDMDN0EJceKUcO5GDYbrgnGGymbQJ5q5x/2d0hHiUMZg73gO1txOFtaH2nYpksNOMXMI/2eGFO04tch/fkI05wrzWxr1C4hUDuX1y9ITV/tQNSweacLwB3RDD7ZEQNrrHHzzdu953KXq56nYsNq8H7O+o/41CV2vmsN95lXvDFr8yHS5N7URX7wQkq2T83kyOEWD0nsxNxawivR+7PSz73JDElk+fJMfCPKiLr41d0xgS3098SYEmhW2G5pDdXfw0WKA4OYra76lJZJA3CmDorq2anvujl4xEJNo4hgWO60t3JBrsyYZYywyWMMwUoARGpI1itfO38x6uvoIPXts7x6aXE+eVUhZ4ptDXFJTAQjzE2AeUQ+0CHqsswGCCwNkmIW+lyCPsLynhOItYB8AWByFCWXsuaaY2lXUv/3K2eG/IyMeRMtWcaRsHnmWWa6z4Uj7h4rfxU6cLxRbZ7u64Hp7j80wq1Ud0WZXl1HPHHcI3+xZBShVud1unCI+dVM38i+PAzKNciNwvtFqSeTs14px0omPIkWSp2TphFBLtiOxGD6+WLW9qVKXhquWFK6pejavkymd2FggbddVftELOg0rchnKHcMxOVz1X6USYj4f56sDEFDwNzUL7n4I7JRZz+FeGHtVrn+xFI9RcwKFc1aJ06Tfwl1CFeCWcfNqfwlpeXhye3mAXIvxdMi6S8HhArxzHTV5jkqPRSNMVXhJaOD00BlCDH/qnWYlx3obdSn95tfw9iPCi6OdESXXBjGVBbQjN6J6xJaxJkVV4sQeRtWJDupsw/FZqFqzlIDCjnxkvAC4jJtKXN2z3N6tR0nDxz0IQN7IFAWyb5WRAIKioHLrFrmbk4+bUuMpTvM1N/o1bxfcAzEuycdbPuBLY66PPOnNhH8OFG3IL5tCruj9Y1TjrISAhhWtyuSTq0vdvCJRqGizNzCl25Zo/xzcNpgytWTbYWObprDIvH+OWyf4X0LgQcZIw5OPKDVLQs5s8ZcIieVS5EXLLwGWYjSfFsTyleuPTbN+V/tP5l/W+FBclFk+mOfHN50rOwfXbI+1E92xZ4d2+x+lUaDxOQxhEEVYSHDGd5B8pZD0wyMOBl12T40VTJVDkgSQ9d4FTwuasr3yYq+Ng4opesY0lVUpEt3TDDUMZPLRcxe7BTLCbpIuryzdrAzMc80vZ8ItfY8fU+dzP5PJoRownKzT3vI3d5V4nfUobwpgwp0bTMrJ79Yw3Q9WBVejtje+Z2EdpWxBjs/r24p47zYEnU6IxnghngE5/+ySWuesW6zaaCTp8qU9jtvnzRnl8DPwrBf2c0+B5YimrqqLFHUZpZsHiHcuSUswcZy9Cq0ZzJw5Cpr7JvS3/iP2EWy9CBVe6PRr9jv3CBF/KGK+uOmZ3eku9xzNhgiHrl0j5rvV0I15Q8JrYZLGStSxyD70kuW6vceNRT2T+WNRTdqrBJOwzWHmc6jzdzlGNDbHCTCZPuzvzh3Rr6tqI6PoXcwDnPqgwOyXSc51dDEzGghGtfy4P2skDxzduyrGNlWwtx3IP4jammN9YTbghFFJr54seHDbhqXXyPqEcqo54JESEKJHTcFHEi7zCwmjrNAJFywJxHC8GudANiw3ejGaWhDRi826aERqKN1dPsHQQeUCIyLOSzLDfueQI+K1oKbrsoEiV74MuVtqKP87iCLTmVtmhmp8fByOQgwu21vY34QKA1OM7cy17R2GBF4+PEuRCBSVhZEicC06j+rKqXVJws07419B3/3PglV3+NJvZN1wIhRzk+zhza8FsftQQAxzHMAw1459vxVhfVh2g06+1H0cM+QiLkZcwzH1WvZnc34MQt6wyNQdMien0Q58ubMhZSrK8cfHL9VnAsZ1pz7+5MdqFBaEhHf1HUrWcN2wmlEQOq719mTv5eIJ8TYNv7sBKOgb3q0iarqrlni5HXJNtXKZNFRr0MF7FyxylanL/nW11OZ8G4Yb2OHLl1q2MbYmQJwI949XELI6y+wBoQMZ9m4fX+AhJXAXy7x3KuDIVdzhoX6am88rqGthCVYdjMVthZ9825tsBxnsZawqZSubeedEJLpEBVBBFjbKJWWHP1fXVEl0NRwzASgkkgpDOB/sgGR9Er+3zQq61OaGCD1Cn0UE1iU2O8mhxWsjofU/BYCTDmmU+9dBbUZfh1Ay21mfqRb2PjvOYsC0dhP5/OtkW3F5Ao2xSIXLjLCu06tDOHjxfp3o/8p+dMuxL8AqD0xrOEf16lv/eXvdRdlM61k3URTh+IMI4kcCGkQlZA5+XilciaankeSuWST5hdyfIUATHWljkngdIHAcXRFaDmc5UJyap1Nd6RD1yb/mv7R1p0Pcs7Vn3WNPp/IDGzlCaCqHGKHWbEE2xIBskangWkktQYC04zW5CoBn8oCu+/EQL2PGPKpQjc1eyCAYFFVgwHZ9BLnOxEc5eD3uEQnWpGngMF4q3odBJFaA87ttIWaAk9AGQ79+F4ib+K1K9qecAgzfuTACw16sRkCpivjYM8q9fNZixH4rORRxj5+e2iY7QHMK1DM7P/INHDiDg5OiK8OjrDSbFKuvEDnMPAnME6mh7H3Zv40Bgq8fxTXMlMhKuday6qOjXvfQfnLE2PQHdkkKtudCmRJhMZZvCR1mp7Wvqnorn8r2j2tk1gUhvhQY72djMZjpqOYiQIXeneIFJAWw/TYefDTd6Lp3+1Q0fEmhIaVu+TcsPn1J2B06adcMhlC5xoZl5FFENvp6NZmtl9i88E/imvYGV+hPm9j8M3QBITe+PXJjxhx/xbJkslBNJlaXevM/L7nPDabLEoLoDlzEUpwMp03t2WuN6O8nY4zoMq7BSrbQNUJq2hqDNnz0u0rQ2sS/etmut1jsVz7J1jqHsCds4NBIqM+tCKqVkMMieBOqOpFTN5pkUeiyqXyAx6mzsOQEK8suvqGwuLDC2Po1QvDzh+9v5KyDCXCRGTVtRLSdcjWA1tuROQJt99E5JxF2encuKDLQC4fhdXTxOMx5BwF9IKplSXRBK23k+J5a7WcSiygxkts9JExkMszkS0kWvWUOKAanB+iDG14nFJUm+mCAevPy1cUE0YDQWGzwipcHeL2karTPSiM51VWmjiN3KRHPYV5/4PtvNpUOeThzirEck4yJQk6/6xGu/LePWYQVbTq7rdWKV3hR1jGeGZMOQ4RFpB8FJ0N1XxmhM64HOI+/ETb02Ds951tCGTSqgKlG55tSalfV5mOEFNHSq6euCmZynz21uMqXH2kSyrs6QxcMTOARm7uwYBsYLilMXSfM+qpWovpeZAXa56e+MywvGJd1G59LXmA/UueS8PQQ5jLLWq9rZ0STxa76zlEbmiUnNmsKvvczEc3jhEHySI93Nrn4KJMEluF0jEf/q+kn8Tpa08nxTr4zWOE7T49xAoggWqmESVqwres9fLRyruKY24TRQl6kX6Xeh/KM7sXw65vM8ySWgOuZQ65MvLUl15U9GCrTC2Av2hmtd3g21tSVElyiOC0S1HxarUYWi89IE+WGe/fhMEj1e4Oa3pJiOXJaeAeIrm+ce62notqdlG9dRzA+rS6HK2+UiKpA2tBUn150yWZtw5BUBaei+X5/mGYmXoLgVoShXlFfCOhifRPQ4UIocUv017ysfgz0h+1miyb6IbHsKhz3mwKzhS2omVx1u37/SkiNa5ERagHMB+kfx2VqQEL/Qvm1fSzDp5pj8+hXrudyORH9QwGDbOYKeD+lOymmwGdju+L2qYpp6A+eRFnQsvBmzvQ3lfPgMzZtm911wJJC9hdG5YMM5tooO76fPXdsCxFignWn6Nh7uZTFvUZbSfVfkvw6bdrZtu1GFP+EPmC7y4LojVJaT/aA0K0OU3jYsy2MgVOds/asn55bsZhW6I7cVjdbCAxO/qPlVEdw3Sw/d0g+Gs2ewNhCnAaViVmiIOmZwUn3MPPncYQdBPKrWmo/zCoj9IweQk9xQa01+ciGI1qScyTMdFAEBuiKrRwALE75yWnzd1Ng0+E/4kmFpJSi2rQcwzqW0KFt7TH8vfpbj4Ojlp8BBlcKfmWFH+cj18GzPM6Tl6G39Q9tVbcMYStdxtnRjqScSAWBrdM2IUKj23I6ZG3X3VGP4tCXTaCvjBAfFprj/i4q5+Jqq3kxgqfNRsUjSkQnsvS2Wq1HF3eJdWgI3n19QuVG5OEjCqI4JEqCzXMaDtIvObqnh9tjf8psjICknSz/hYdVgnVg2kWQzADr75hwlb2ICWHXO4D1a+y4ovxHGiGeyJhj8mI6HhzI7kOXL2ZdyCcGVWW3TWjv3QmlXIqH4A4pmyOo1VSDcFw6fugmRDjxD0Yd/3fz5VFU0L8Mpd6qOAeQFZeQeqeMALJ0Mc1NEqg3DZ9d/iSOuSprqsXUJc0J0auVjPudLWzZb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55930" y="1673860"/>
            <a:ext cx="8232140" cy="487934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81417"/>
            <a:ext cx="8229600" cy="990600"/>
          </a:xfrm>
        </p:spPr>
        <p:txBody>
          <a:bodyPr>
            <a:noAutofit/>
          </a:bodyPr>
          <a:lstStyle/>
          <a:p>
            <a:r>
              <a:rPr lang="en-US" sz="3600" dirty="0"/>
              <a:t>Smartphone Ownership and Incom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70523" y="6433003"/>
            <a:ext cx="460888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Source: Pew Research Center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58470" y="1102119"/>
            <a:ext cx="8229600" cy="685800"/>
          </a:xfrm>
        </p:spPr>
        <p:txBody>
          <a:bodyPr>
            <a:normAutofit/>
          </a:bodyPr>
          <a:lstStyle/>
          <a:p>
            <a:r>
              <a:rPr lang="en-US" dirty="0"/>
              <a:t>Ownership is higher in richer nations. Malaysia, Chile and Turkey have highest ownership among developing economies. </a:t>
            </a:r>
          </a:p>
        </p:txBody>
      </p:sp>
    </p:spTree>
    <p:extLst>
      <p:ext uri="{BB962C8B-B14F-4D97-AF65-F5344CB8AC3E}">
        <p14:creationId xmlns:p14="http://schemas.microsoft.com/office/powerpoint/2010/main" val="4642127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IT Market Map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pplications continue to be a dominant segment in the $2+ trillion IT industry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371600" y="6109156"/>
            <a:ext cx="124104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latin typeface="Century Gothic" panose="020B0502020202020204" pitchFamily="34" charset="0"/>
              </a:rPr>
              <a:t>Source: Industry data</a:t>
            </a:r>
          </a:p>
        </p:txBody>
      </p:sp>
      <p:sp>
        <p:nvSpPr>
          <p:cNvPr id="3" name="Rectangle 2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Op0ycGFAinQr8Tg0aHv2oVInweFtzvEEifMKhzZTpKEJ49HhqRF4fmxZlZgCWFL4rsru7pegGBR3eobekY0UxS4TclHxrVQUGVY3g4slLFwEIaOXE41B1TtjdCZXTDtfwSvm4npwweyhw3w5HSCuWSNuZrwDMpVTqdvXOWRS8A8E9XxT1vWvWpU6lO4Yd4Oanak6XsMYuEZ3g5BozasZL20SLx7/iyHQTCfIk4hXfyhJGfSS8LeUVY8UQKxw4S0ftrJsWQMWot2JCv3Aa5D/Ur6IsneP/UPXF7gdjz5c6Qr6nORIXCayx1z/RqFXKn0yJ1KrOy4YZXkrx5ukUvgfUjezVjLbonLeFx7tPGfnSiL9/sulFf/50BkYqOlqMKyO8dTyA+K6MgzVQX0xGO9A8ngmDZk4wg3WHp2XuFB+GnFjT4YePvKsNr31zM+X33hNSCEAju2q7X7nG4EMk/MJMujckfMJRiicFVcJvhFkDXjZ8c2ZvJ5IzYTqGeZSDmab3knEK178mPv+PkLY5KtybrmSAduBrT1afh0+wKgZrA3vhq9mW9VEhYniytMD2930081mioAxpQafp0DO7irLo4FyGOh5i+/3oEnEwO6lRiy5NqqTfBuInSvjtthXLrtkD9saPQFafUN7mLuiVqkBmBdOz6LuPWCtuKImK0X60UNUFZuclXm9W6bc3/S3QJWTkE31HvXxbJyC4/sLf+VXkkUXbjHrYaAggWFCc755A6eMZfI7VH7/rTGh1PiD3vu7Oc1Hrg6IHsyn/VpRpy44TWtiuujCdzXCKxMHcyYdcKArldtjFVZ4EJwjcEdybx2p9GsbqADTgsGWrJWru44Og+Hp1laZjPdEqyk1qHzM/GHLO3VlZPdXN098Z7Ll8rOo/9O3Z4/146DD9UwiQjpleF0v/+kNKovnj8EKog1YZuTLGVHKOxpMCA1SmmlcJL2LF1EQQcYYcArFtdhaezOv89zng2QjvpDW1FNAi5oqwK08ckpZdiAkIs+VxphOJX5TqAawKlpps0XN+S5ZZNmzcR/6jtIWmndHQ4Zr8s3gwP5cyGi5MLnhbDOA3ETpMs8g2MBb1aS23IUjuCsJcYhcIuaCjaUb2muBme5EdoKtOFO4iOjz4exNwo0UPxRIVRgbTm7J7K/ZPg4NWqDm10/ubZgMzfQsgQZ5ZWi2TM4KL1QsN8rVlZgxAgcW31HvoPhEyEIZ8crMJIOMXe2HzEB6fDIO4zmZOuKYKietF106fptIptus6cxlm9NQi3pCAH8BrNdXZPpwsKjwa42B1OeTdcBqKXJ1/8wxzPdW2t3gyAfdBteQLPJfdz/V49CTByvIqXXmUt8YNE5NJILaPr2ofjWiwfgcO67+byEGOEzcOPj2oLf66I49ssWrbJMagxn4u/yyL1vEzYKnNx18fDfTwpwEfiwkwWZSm93jLYVE4yYjJp1LXy2zvWNDEWiLOByMVRvm0xCbKAPOJcA4/8O7VJ6xsGf2xetOgshqVl7PkKAVCPUwhc6UgbInWprr+AcZNuXWnAp0NjsC0q52+ddz96zO07TqZwWdWueNFDz/3aCr21cyheKIhUG7FNmJWNzfDY1J5titbbomkZBlt0uLNb/uJghMdv1mCP1cxl1FmkHrnLGwUyHqgQoPKX+5bPI7Sd0KLL+V5rcxYDtanzzV4mwhZ97qNXLBCUziSBPwx59Cc0lFrOLwxOHD2nn28xXChq88D9Xo18C9ym2Yq1pb9+YZ8TSCEwF36zani96Dq/7dgJH1knzk07n5ieFW+3M7og7Bz5EuhdcaU6d2ntHRuwjC4MXvY1vONtq8JSju6ksCSgSzvMulm0P9sLbD+MSI6yC8hkRvaLnP4qfbDKxOWvD9cBXSfADiVB464D/K7w+3tsA/IkLzGLi2NtQNON7eFHgMENYadj7rXBa3h43YXWnM2cfVtycJZzqBUi2nhy7/OdcXFv5sYlZU/7bIFVO6UDsT0+ju6FTF6l4m4h0dxTZQRcw/1I54s7AlArKSLiCzHlIG2tfuJgFtDsggfGXhERs5Srn4JD5qgoYMbVq069qVttv/mrGsImWosFQioY4SnrrTCr1qzEePTylPxGGsoGt2s3oCncn3DBvuk36XDOjCm7MKF2CHIkyHbdNQvZ0wamTfYQ7/YNRLGsHzBdo7kmEqxcc0MZqjdwnL6IcZTtL8RBpb+3R49mmX5m1zeA5Lt/gVTDeBADyflxsqrcmf6cKi8s/douq/I5u5sfmlGPgaFK2pkTtm6DvBrecjZ6D/jGJ4QEtPJog0aNaP8YAnfFZABTlO5FcaImh6A7mXfjkB7tdyT80EOfBd41rmhci1dbRd3YMRcaFL2qyM76ThknzNWCB/poyjI9Xylw8RCu8KVXj6+/aOLkeOeNpfk9Ar5LYnDlJpFMOmtWRuXb24y2I0KjNGAoCqHNpQKdF0w+5kts62RTIGk+vctEPl69DHBREAPfjkj2jltk1I9f6lFVgQTyBBwx2vJ7HvLqikhehEa2xx9P+raN9LxifpByD+VzJG2cUrapfhiEBn/9kCPK6kXOIkL8tvLquFmenM4N1AG/B7dZesM+TS7AhQuzVRQUPCcmfkwzdcWhCHeGT2ySBHzQoKV90rfURRcviUM9CP1GHakXwsiYAtlPA6Wl1182DoK6f874YNifHOauBBq7VHphMuD2objXBvIvO9mh19XK7uk9I+cYXwerTDh2IeIbSLFfa1ZvC8bcZdq2Y+lfMWVFksejDgyAl2LhvQWCZHK43xSbyc29dsFY+J6LpDWp2Wn53JfiENnDOaeVyt+LgiimC8nuF8Jn6c0mzobwtzyR/0cEsJvYCBaJcVu3naTf4LuIxj0SGEe3QfU/LTnvqAVExNGvaENTNDOomtWznA6VLEY/HsiWUeuC7XbY9YM9VXP5k1UYkuGRu6cJ9NN4yucAfPxHzHgd7mqC+VxOs9bYIX2zsa0Y+dfsCCsTrdbpL5p7hyNqQhzk4Kv4u0tXH1tYh751DvoR9jaydX1VvWxrlhlv/yNUuQetHGkA/Owmw3L35BHW56WWLaFQDPfNT8Ks9QYoKwe0f9YNIO4Ipb3UfqgalYSeBm43xloQHyDwQpXl3wqWrByCCOY1Ke6/1i1SnbPgoteY6Co+5/RR9IqgwpS61xeKtA/1ceGuV6NI6f1bJu1LdgJxuSxbFtLKT1NhtnAbuwnDSTPhfbtMdLs812luAayFJwfrPdtXBmj4Eh8xeP7GNBRXf/8dvhDyLT6BdThorbF8B9s1X3owqloJAFlKObiw9iLcBM5Z3urKEDexCqtJxQDEmPt7vj2YoQ4544ffhfJl/miv0ieP+b+RtWwoHpafgeNY10vG2edJI2HeboG7dDpJhIFt3SE3O9V36CqvkEFVXfPFZ7dEDJozzY2G2C7m/SwB5XITBhTj/gXm9bg6qBAxGjNQYVo7ZJSH+MxuGxgTJTpPcc8y3qh9Zdo3NpL3FEBvrsVwuD9ayO8N/oB3MvPYtEyvd9L/VGnlgQFBwPbni0ye1zLlIART+JBcFVRvA4YfqII0ql8c7pCuNm7f41Ib5Rx/nMlAgBT1HRcWcNpjAaRUzS2QCPvVJHNtmB+aTYpxcG81aALpqRlG45AQKzBk82BIbh+eZILyoUoVMA67/QCOvTUTWMIU/Cfw9K67QR35KhFc+nzrcfr8ehjxPywoY5rY712yiqaJKet9qBg5KU2i9ROU29hUFtfwLrC5gW/0dmarJU3PkyQHY5vCagPPZSVuAn+86M27hBNJTYNNlJslpN63S6R6wfQe/xrvMIFMBmL6SyF2jJ1LeW31CIuwNLGWNMwkkPvJHWtCd2s6+j2OztMlKcn1vUI4t3kgUJyLWCe2b+NbpWRcUJkmICdAqTm306kNiYBkDREqyxpYwriY/LRG+QxtG2SZjZm33GUDobqHxnQG60oCcSsIPUO2hWKvUVLbOGHfi26n4gQrz7mKVvIzl7fgGJyyp/pFb3j63OppkXPEUQ7CPR4yHWbUzGsgckLMvfrVSXwl0Jdz5NJf2mEF3nyoePnjmEyjyPnwIqK9VuYIUIxRVUmD2B6osygTA4uRYR5yJzjvr7deKAP3xx9OOWstHEpUQS4feA8ybU/Vfyh3dPx0IY4HUk8pSvR+unWncdjzXeaSfTLSzdtDDwYUl47PnRHa6ygvdWMCuZGAJCk8Bu4StEpiFHSoKFxkl0U6bOOntN+9t8GCQyGM9F/rYtpHsW2R9w4TuUf4nzrgVHjjLU0lfM/KM9o8/OZqwOA6OJ1nIzFxezoa1Pd6hfcAfOnqNVWU7kz3dbCj4WPFtEYaSK/GtWKkuhd21/U/ubo0FTnsijlJmInEmbI5hLsojCUqvDqd8KXDVo/9G1E4U4oPXuKzsNyBBxvzCa/U7jnAVDfAJnYq0hc2xA4dfnrsthYq9P3/l5X5jCMVmnXSuO9dOGwRZQCziDVe2R62L2SgI1f20OhhQfzgZlDOj3PcbJMxwZg/8tgTTJnMjszv9thVw7B4Xg6oZqePA+L+xO/RVw6FhblJjZ9fNZLFkdVteZD5x71C4Wi5vvcUtvb8DopLPYQTxAib7Bb26xM7J57VsWwMhP/NpzspkBd8WNo/c7EsqeC4bqigx04YVnKk3c+Q5+Hjg/1QZ4l8JNgSbCCw5dOm8Qt7sM7QTa4Ju3tWXIOVhRfw1EagbZ4LNevI68oU5Yaf0n/CLu712cwNaEDOzZM8pWCxk1hMQ7h6LfnsnI6AdBPET5VcmVKQbPrJx7fuuXqhDiCmfDDhp/XpbKrdMGkKZI95B0eRc/fBCTXvAhMStAiLR077ozS/88Hof4AjbH8MDl4su4mOGQbK41rILKbxEypdTg0OfcIGPbCoMRQVPwyDc7gyVhTdP6qaGF8LVgHcHqjV5ycA+fo+EVXHbkO0DzMBUNS3BiteL2j5NW5rh3ytT1QVIFD19NnwBaWgHKnuuI48aS2jqnVuB1fMVsA6VWk7sPSmU66LYEgMnUWXn3NfYnbZPnkY4hUhqfTB7TZ9QZRxa3ouvc6aYMGBgg7tk0F4rJJPK1Wz+xL63qOOD0h+qaCZmYQjnRqUF+xapUTJPJb5Ir5neq3GifDUL7KHpWO1+Sij+hyHp5VSFc6wx7FZKL7WL+P5xMSMT2G8fRbBV8W/8v4iLlmQkpUPNFZcsYg9bO23vo4Sn+CwBkXzAZRaAFdhY1JZ0mkwwM9LxbXJUTJdEqB5msrm3On9cAXNS1bMUFG+bbuthgzKOFXJGbuXxMj4vFu8xNpYJyMJvjIaefgsYmIauZfgR/Si+YXiyaEgjLk2lgZw0tVfh9hjN2RpAn+Ibc0z41ObGKx0avY4yVYBrjqMNxyBx8GePCV1gRCXGUxuXdrYTQ2Y1rnMPHI7LV1pNvuJwsJQUV/sxNzcLrlSUg5c5waAuIqu6skWfNtottq2ZgGG+mHoXcEoOl8D5m/k6ZviGS7Y7yufdKNZa7pKSbuG5xhXom5/TJw4h1ouoog0XGXWKQXrVbnk9r2sPL96Wc8nkSZ1qWcmqqBR/QiZLIPNANZW68OI94LuuraogZ4RtX+koIUCBGH21M1rG7SOpBTMfU0m6mXECpaJzkDNvRQn6Vm5yBRQ1Ab398GFZxjxzRxShmJTQcoWwLb655TNNyRWem3QdLxYZnIhlSYhjgbg/auHghU/05Zm5N4eSIhDGCQfjrLAuYID2DMYDb4bxAttUxQDWRoFfk1grF4tVmGA1+UHfmoTovLHRNG0LGf8ATJhZFA3e/uKuwt4T/cldN6z7slazMewJS3cr96OUE385UJKf9bjz67bxuxBpYLUU9GTSEM6L8XVXymXeZwQYc+MKeOu0TJIPgM9hAsIODOYLE9IxrCPd3b6floNGIy53Sd0RWXNd80xTzb57AjB1a0/xBqvd8p6dtSAPYaoH4zYfraAo/DFcHCiQ8BrQfoSaYJVvIfI1SLuiA2S/RifUy4gydCCLFzoFjwqYydjZ6BSQfhPtDXPl2at/g4N98xN0fMLok3eoquOfLDdJnoOghZT+pwc7e0sAE0j8Y8DpIDltVLMo0/XbOppqfLkEfi3YYBHdSK06Yujo0m4rB9Vg93qdOQZBmEDJ5ycQrIjN1rndwfb7MQd+ZDwZx0Pgq97KNDNP1Kvf4Ef/lKzifbK7M11L8yUojgnnoo357inhkuh7+DDIump8ltZTdEROG6vOQoLpSwbSBHiaYL+k1IYYy7Oc+0dLASqEh/+6QPDFYmr/xrE1UQWSiy2JADdL6L8KnWTvDgPN2FP+wklpA0Uw9ofMcpZufzis7VbPsA7S6GKyVuL0dAuJdHD/33317sOF31Lq609YeDVvsulb9UQt2xLswJSQXNEQVVs83/+T1paQlYiJSKytAB5PLoo+Q1e1hPtgNiNfwWfQtmv2eug+mTZYOh13FzfHEGPFqmldPNfC1pjTputn3UZmhAne4s6rAKfIhPOCTiqBOUFvDqhfaLyeNtn31Wuw71oz4Hmqkrnlytyl+4DLgqfVw1BPIlCOE0ahOaXNDi6pt4m4lEgqJhv1B29sFSdDc4yV7aNnX2wBXz11m1aJR6OdtYIV8xCtSSZ3f7jVDvsLAzT6HDPX9Y24nsZoeHNhCKmWuY+lT2y/63AlJmlo6LlqKjHlz76P8qK5k9IxIDS4VUXaC+grxRpqEKXx0y0GtHcp2RbpIEn13VU24MzEOfFDSl72hMzXJ+SmOqxzQbT5CxHAf8pSp+cpXlBecVz4RSh1FMzbHerrZn7Mr1hoU8eVAlOrMaz9vYy3N8zMu3JXIcuPQ/Q+dYrWhDwPA0+bSaHofECCjmnumMjlnLVbN5N8ColH2fpaUfmOWFiCvYPCOP/zUoyLVsQt9X9vpM+wk5+7DzRusaeDh5MXqhOmxt5F9+dFtBD2ThfilZAjgwJQVm3e6zTgylko21dXinBphfhF5xtJ/woupu+KemwtX55uqtsOuvvPU37ARJe0k5zPkOdRMxHHfgLwGaLujXu0Lm1cDmCAkOjomOilyKg8kwsw1Eo+tFodE1yGQDBxq8aUsGaQ9qAO/uUqQQ/wa16Uy1gnIKuU01HjeoUbiWPF8iwGOk9yfAzMFe2bMw1yRNjes1YSQxP5Kxf7apjXgqOF0LDFsilDyrfqCEj3Brxpu1tse+K3mInhm9BNb5GoyIRa2iJxEKKiC9ec3z9Fd6vg7FgLAvtOfFv850vT9XfE24hOOL2BXY+QUQ6T8UrdXBzrBIi5YJ8aA7iUrCwhkazN8nwT8eX0WvOOE0TpozJjOYtExw5ulEII6XgaSOGGGUZFRQ7cAdXvYrpMKs7VvUBRHkRqLMTcBq3cYH7UiwYPWRAejUChbiUA7BB/O7+gSlED6e4d3mKDd/0Gd1Oj/hmJrDCfqSiakPYQb0LEfUW2xAAi0hT81x9ENUoInikNpnNV8OVbdwFifPXZ8oG4sDVBqYSauJ9pLI+yB1kkGT84fAAg6Cv65qkVv8ATtCtfZpdC44PdxsEIlYI0zGRxs/jyGc3OQ9KuIWcuCWwPJjCyudAO0k4kIdEWsYDJP2t8foQ7dcWgmjOxoD5w2gSW1RKS0dbTjtOSfldlZv9OVm5vfRNLsjDG1G0xy9Af78AlVebKS6NsFmxkEPSIMzgHd72h/F3VhtnwMzJIGnGZMekf9GME+Qnrfy0FfcZOrnxCJmm7q5bV2qqzDea9HrcPNRI6m/DdSUx+bY8JIFkQRwbgBFGuxXTw0IfJknLfYF8AAEQmBfuO/ISS5Klaz8SXcFv7X3zlYHSCX3bRCJSCKzB62N4wDBg9NY8Xd0HcaV1OyyatSP4QVLIL4fkVRQFdn5bD5LZhjDNozvCGGESX7AxcfeDCg0QRKFu0UhRvbRNWii/2nj8a7js+/iiQfqz4/Gc3X6VUhv6tMuYMcdanAL5wdPuSopim01NHDKF0tjhUmfuq2s5vqgzravFT851pr5inY8sq9vgoK6QEM5HXw+3kwBUpRWJmze7nRyPrb8ssNtIldOIBSpnbkhAxqYKNku+BoHN+J9Q6+lY2CXkV97PoViDrHHY2npc97Yi48S4PCDjMkDH01tv7VJuftvK4Hjcb/B9sSL0iK+CpRvjRDZBWaSg8OPcT0mu5RC6xUqBAR4hdaKtiAAtPoIh8wNy5Oes8M1DXmh8mELxgjmYCmZOPxBAkfjL3drJR+W0yHSBuaSYUMI0vUQTYP3XxZHvV8CEorqB/iXbWElLcPHNgXbx/W7ORvD+G7TGqN3JJCSFQmeFLOf/QSasGg9i2slvfIGX8oWuj0A+RsqW24XjwEufFTQk8RXS+CIQCX6h4njlSsf8qPv31WBIiaa5Ai5E26lo97GtfDqhkir10TUgOSRlzQtzwS+a6RSFQs5IuFsTJXRRKsuJs1trmZXaAdOhQk2n6BlZj+JCegvsomzvb5djga9UWXHUMJFsKITBdqlniqQlK90jmFZd4O4qZ01Kk6bkwXz3Wk6sb48D/hOMcQt6Zi6rQLRJRqnsPCe6JrNT8qA0m4ZG0l5o3CLSgHaA4WcdiVFTV4OM/TjGTjvUzzT060TsAwlWVXwpEbf7ny+GmIFM7CxvwSeCouHB0fgbKxnVhHKryiKsOdEaYkjaGVuM4EB3HZZJqF83WD9UoOaLBC1DPaY8tJ8/9m7bqGiXvLVCF8Lm40BKNOYLmMLlqIdkBhFg9nKkPHr80sqvR0XBF6dq9C7EeDwQ6EU7gmrReHTkCE+rROmv4FsnYpd2xe9dGxxk+0ZZBgqRoHr4F1pkxt7wNwki+N3vEgrFVHbF3R1fvc9pKJ35oHeNqLkrBmYEz4rohFyPpkYYIT9UPT7JOSKO1Gx0zLYJMLI0BDUb/NRkqiA3uO9Ao5z0H6RXzqYDsBBKKUQOMEeL/NXn7RQySJQa3GG3P+spYGlXjk7FZTsTTRj0FRxnz1oJTLzrLq6TXEXwmsk/BXi4J2WZmke01Pp5uPoioGAQxu+uEHvWZbpNVAUqnwXfrC8WhS0qKQOCiM0rHCBx3dDiGGKHqhbxfdJx/qT0Oanf5jCirQ7tscx7eYtFVLp6ylMket7UGXNS0FhOvySku/zYimoOWWSjbbQlVu4nXn4KRfTeBVyoTEXXp67A3wGZpbfZwVRpBYlohWCs4H5lhF8th/q4/deD1p5tTb8loievqNvuCZa2ezFVrvBDuGNrHfFYNrQQ7FMRm8ynwDRw6seimGnu8GTrSYPs/91WxRAkvw6kuKMroXntAxduv/Zan/tycvje/8YKbj7aJkDC+98Yuk4ruhaTb/O/OPUD6F99UVMr+IZ/0fxUzOn6bEFTSXCsmh8XVMncLQRg/OBO5QGDirnc9J9wZ5cSe8UxWdav/h80ykiOUQ0Nq2N4L9XvqIA+roTu48C1m/cYN9uOz8HbNVbOLehz59tNhQs0X8W6aKjzJdHcnrRTYsiG7RHnArBlsQY8IWjEVq6ybI9ThqleUJwvyft1JLIqS1UNfkUwbaLbmq0pA6GSYwJxGLP0YujO1F8XUFfsj7WykeoswZ6Ti//lOhU5cRZNrcpsvQXLWQI03qX5hBPAMrulnG7kjxn5iBAYpse3Ej9bMqQ0zuymF5c0zpON5a1jhWqrMmomLoo+zljp5pzoUwL1ZBJyJrtylBukS2rhPmD67588D9Oo92+5IP00gVJQ8U+y4u53keSNiR6VHV/5Q3a9uwaF89O/PD0aq/JIzld/H8p12X+um6U920GP4kfaiJjwFZLcyg80Jx4QtpjVgkyeEG2W2X9PuvIyF+JqsWVjYfvZPPpcd3AhdZ37IaZEgFtsXTxtftocVM6I2BOVmFdae+lIicS2y12hz3BYbtfqDljfrZX62KTzY5EhGXDQrWdupxxAgHKVBeW6xXn6f2yUWur3T75DVPIZ4No6cpS6m+USLg8+4rpZ5cvUXIRxgsn+xGX3gQicF8eaGHfD8ZStE5tqhculxY8gZH1EQLBOV/IGDCWceE/sc4vcnewpO4qgwoXVG/3QvrjEJ+VB4ZmsZNGuT0wgdu5Yc9M3/sxvUpR0kxo0VFovpyFde4Cepq27QLuNTvKVmz+mGN4/Mou77u4AftR5B2OS8xHvQmXCJYQGtyt0Yc11sKnrbY/hwWcmzxeg6Ft1zPyVZQSPZluKRldgvEdOA+rPueRsBEqvpxyN0zGwfSi1wcm10Pa5hWornCLnr2YEQCnQlqMSXa3cnEC1O/0nc6LpB49N+aPIllM4I37l4IfaO/gN3rSuunm4uH+jVDwNizmvXgRAw7YIVVI1uDY37WNC/H7Trdyq/zx4m0mxk/M8DyzYmFE4WzhAwpI3XyJfGo0+GF0jX+46n/ZUMkJVIbxMngevAdHDyjHHJ+ISZ2kslZOdVcLAyeqfcbRQdIp3PBPvrphKBq+L6IvVXLuRtY2BjG4FgYd+gb7SA0mv8KjuvkscrWzLfOz3S8XRGZlPEMBmMTljZvdcQvwOSQT4WeY46gPYqT3PL7CPrvcrQjbS1l7dobMPmzXL7beXOzxEy4NznNIGJXxreTwLWE5Fpq3FZE2xtwYBCMWhJ55jc95lI4LFKfP8UnXbdmW0lZylHEzQJQOFAI3MtfdZ8vs0GFxHSJoCv+T5xMiPikM87Km7ZjpFKwlDWleunefpFzgNluWeNX60LmgEzUzFHzV0uFBFreBb7d9v6A18+cFRv+Niu42hILL3KsBXMWoox90G1lcTCxexxCoaOJ9DxeRiAPeBVBJmKorcJVrBIiykaFNCcvSNOee/GJeno3s1zqFeBHzgq07pydHFQ4WWEsKVahZJM3uG5RBZktBulp1p42pMj4J88znPaVh7dNJmaA2ZUklUL0Y+ZEETxNH8hKXQRpJ0bufJL1lUusPQsxcYyE8/pD7Gm5rwr+z8JpKFmt/TjQPKYSZVBs5ixuWm3jcL7EyzsAtwOXiPJmH/iM0f0HEalPCecVIn1ldmlxy3QkDG0AANW0k/BOrX5zPNPhnWI8su58RQMB29tdOt5PnhqIlAeQUckgSktL6W4udJ95cs0k49W7SMyhIrpSavp0GK0K9tQvDfH+m8PoIod4WrgWRBtmvqfnApynYQZotbtSgeTCHCybuJYTDBu3rYmzWCbV7MQCM2aic3GlCoVC+q3aPMsSC3VyzGvcAPhEAEtYFP45b/XVgDk2fV7cULmPPvGY5RSDS/xSWncUc++dxaAPN9Wl2xRNA0hOmfIg0H1U3oWqhwGV+xHkGoPCT4rB4e58DhLx/3vmo51dgf5WVuKRdLoimP9T7BJBpA9yxwYQH40+svkDDGBSsqfJY5lj1xpPwV7ZOsRdUDZVL4EYmp3njYHyEtIEawyrd9nAkzg4AeyF77GaSZa9OKgxR1+Qm9v766PqVEAk+VvRxuoiNrt93xKQII92PxMkiGgSgRXw3QCWIRaPxsTS7J1yGIEFqD6TRZendxB6l94aYXwcn1We7FcCl0XizjlFfMkO9XLpH8JYWW0KmUZ+SxCQgI5sA7O1Z+2bQevf8TTP+FwjdWfk1iqkgcAWtUOM/2wI7Dw1kFhCYZSuc+P1JDziDe3UT3n/98HtTQKYANNJa1K2RLYr0efu6RowA3wv5EC4ulJf1ikXxFR0SYQXS3bTy3FFhMOQ3eEU4ayWLFV1PVK9eLTJyRiuMNZhFUxP5gMXpmPdyq8aA0spoaiXuD1gSBnTcMbOu5YUXOKPFbUy6futGZTFCP6OT1rD9TcXBu+XuM9EAOFA1aabdfu6iuWUjKKdk1pSYI/UuyhKMdpbahTG/Ugb/HprOBAUOGfBKxTEf02aSHOBNY+EL8kTY8wmjhbBzMfwp799GzYcEi0XJRq+HeLsFCIFAHmpAeWM3mVxExZpi7sPcLlvq5SrSMmvUqRTYYvJKpDgZ+hweJ/2Sdqxr7Jg/5CobI6fb3AgqzJ8c1tdMibrjGihIU9VQQLErN8VP/WlAKdH0KicnJO2kyDQDfEz/NZOLwGSnZ+0N7kBFQqqtxjW0rlx5VvuJ3Gw/477hzcP47sxMHcsn7TiQkgvWfzjnmY9Vb+6Kj3kiCSDXrO/CI+1U4Amu5ko78NnzLdpvDd9RsbhXqZqkGuvN8rZk/vS/nnA9cCRQyHqPQlPq5S+6yutGSbF8OgEFafxAP9F/MdlZhP2poF19woqFnRRUPsh8VjfGaxdx7bwxDjhqLa4jNJfeuPxt3SiFxFy0jRiyQVAhczP6IWrRKz11VMmo6YwDm1lEAhul7yhY/LyiNgmUpWFhQIfEJhom58zIiiv57jcs4VrkPXh8KzqocFMuP3VC785wq2On7J1X1j4dieFbM8jVtVB2Bq+CXUg1k1Qp6inI9CpkGe6v/b3NE5xXUNGtd/Yy5oREf0RM40sd1AlI7eH8LdqJl7PeEgt+Lzqrl6DmlbCCrG6vyIUmh/BbMFhazpoWFB1WaUPOBQ7wk3deKNCqnzL2ykyD7+9OuX/KjIsgapkeUhiWdQ+Nvo7Vu/fYA5Hr7d9qx+DxnsjQ/WcQPWbz3pcNrmb68AKZxwPdOKZ1dwfIQkgbTHJ/qBa/qEP+4snRIz/9p2U3I1sMFAZ20ILgw9MK0re6SQSRPa03/bLU61qZKVEsVEe8LpEBIYqvmcdXamSFHhNDE8K8RHbA0zVxb7TUnBy2WB3aMazYvDbRMU3CGWqSBK1H+EHKq2sm/AMqQVnGO1QfxJbeCZgVQX9bQuJj6ciGFY/PhS08VcePvADWO54CxjPLX6Atod3a4I0HULo6xD+UuMewA9mJpIqdHWsZWTOsJYLojHscRULoqNuxNUuuH3gCiiDVAzR9U3QKO3Q1zctBlQykpufE/trOPIQbVmBkraB6jZPycwTTEaxcYNX5BIcDU3sbahUUIuvUsdZIuko8GoxR2805TlTC3Qfn/tdEHJoiQH2vNU37Ya8WRt9XcZdBeQLV1oXBpeRAPvJ1UdJvqqYStW+oM3BHMbWeIkLpoI9oupKRd/U7E5yAW4NbdbbSX7ZCBSti1W3/gzfIWfz7QSW8D8RDtXKVFojjdTr3czcOCtBw8Ainuec16P5PPn6y1gtMmEIrdHGA8GdZMxPN+YwsOlW1MB1Rhdv+OoVv2fdgFOudb7aV7t6g1l1FVuB8c91Uj+Mi+q15ud1W1LSY3N+h99NUp5v7J6gEzbBdlAj1t61n89UkCB2QeUQz2X8eiVybs/bTE6tXAcZ9HJPC4rQUdD6LTiMuu1LCCrw9wKdkshIZlmxX3VHppoEv1j4iX9dC+Bu+V9NTW7Spj8WzzP+5HtaPvVtOfY+KsfVf8KMbFhU9sYZWUyJBtvYSZkyRLqUNkFLYXsqusHz9Qv30UqsEOHFqTJoA73S9zesCJ3103i5zD3XtZ4SGhNSIJvI+SVvd8CX1sH+qM2pFlrg9LDHesjQmeXmN7f9hfbBNNsHxYQBc7y3mpzYHNyfT6Ustw6Vyd8/Rjw4dmWdVWmDU/YvWdfMwRRzLn42DN6haKDwHOz8leKhE+KZ04YqCCXemZOtDrlbq4FPvKgUWciM0WhGoKKpd+lHcvjEj7rxSzj3FBACtdLRUwtDRVmmRFQOpCNPjcrjycBvtxHz6vqhVh7jZMx1JFFlkTCll34RcKjMgoxmgkj4cr67RHFG+SOoM8yqV3minGvnxKW3i9FOr7OYCm8ygcezvY1rHGaF/in0iDvli7o0UVskGSnkzaAflAo4JL3wWjjFde9KEFwcWN8rS/xQPZqYmi//aW8dH0+67Y3c/1qCXNX3b4Z41bIgAgPHVhD69qaI91400OFBPP/echzHGArpIWHPNbedBoz+QgoV5vwLQsMherELEViQUvA6QBI/FrneL5R/+ZhwXofzU93mSt8lHWrPSf2eKLp6GQG6mFYXjwYQWeV8hZI+hAqgYlrp120rguqX7lRmZRSKP3bJuA4aWHIB3xiW9YTBkCE6zIzqKQ9u6frLdGTQDSzsvPnaIoG5DB8n0XQ2kDsyFdL8jF7keO76wO3sOgzOXdiLlxwgN6QPPyTZQ9PEZLMnnO3wVHNxktAOK3NRAIPFp5Asfza6KQhrm4zimDhXJzlBiQVwHHgZExMdQ1poyGSMDPWzIyAE5MbB4kJebFtfVpqQhCyag0rImAfCoGshgeMEBcA+S4O/zoz7mUW/Fe9b7PrOevWsDuCdLsZpz7sjz/KxDuxo+4KLyx/Hsh1hMX06oaMYUxfeWKeMwbgF79LhM2akgiVcyvgh7Hf1V0X/Eg6YSM6pfPJ/74Es6A3Rw0isGE4Ijn220SpZ2h10VohavOqnFUmRluRi6xjn7dSccidCn/NI4pw2XMVZ+5V2yn2JRxQZV0hVIScUZkt7jfRcTuioxDaVOpKeZXXL4cFgh/T1jXykuPuzsrFNiQ18ByzEldimxlVHAejdNdt4h4qPai1lc6yqXkBi5Gz43q2rocCV2tquOB4p9GAW46Aakm1ZendyppP3vZzdGD7dfXrdoIJY0u+Y42jJmyB5DFWgHNqDQsmeRdgMTrx5FjlaQ6FAjzwa7oJHHYklNgLbLWBakvG2mw32bG180zMklniaK8mlF7asmDUJAA+6ggqVWrsjRMCxOmax6fjIOGtag7Gttwxfj0aAWY7Ojc8EYZe/WqAh/gwTq0R8BjS5CSnM6lv7mEhpHT4/5/DIpzSVHrCxFqSHRRxniAsi6HDSHxbadr0GlBl0eRv/akcConYKLYzrnaXp5zAdsTCikv713HH1JR9DW3xepuPv9spisAogQkouPnXYHlCVQ8CBGnG1CdL1weVPDZuZSfYabJveWOdUy0dZx/OI4QMI3DbxJO6DVxkOyqMC/nsaKHD5jMGOJKlydD6+bkR5fdzkd4rAAJsoxhlT9d3km3TAxo+NDwddqeK1LaR/BjjBvNZz2tgDKAqRaKKZcqbSxR4ozjSzumjhDblGe9PXGXl+WtX1C8KsHjYCpaM/xvDDf8K+yZP6ojtlOc6kCjmtHQXyAmR26i+ZJ/J2CEH8CiaKUpe+D+lbJe4TWvann4He59S9wBeedTHp7EzWtGp0ZpVNPO81i+hWv2QO5AH8jEjyjmeGIZj+wvNz61RTSWEp8woGSgjLR4VxkbXpZJ9LfyWK2fEZJreZXOMj3Inip/07a2DY3c+R1ffk+x1+LmvJNRuTHPsJXJyjHrLEFWXn2RTj6nKZAFuNXZfMdgB7MdwwDVdQtZtpnaL0ukAyHs4yhUMtjCZJKqhcB3i78sxqsw1CtSoaOO0K68wDmapedEYfBYGW9UDsWUPqmcR26oST/bDeqY1KWeC0y+ZtXo0pqbgiTVJXbbqwOTl9xIAWPeS21m0XLi8qZPudHTFFT6QNONAH1CeWateWNpgjd/Fg2iJA80b4iJ5Sm7opxLtfiXOtXh0wx1/6TrNdgY6OVF1Oo9eWpcgmsT5XxMux6uy2LWTNsVk3tLCnk5A8IRvYlGQdy5XpK3vjVbiLQh8iqjRstxD9mc181H30M07N1YRH/0fzHAh8EY8ad5mdsH/fxO151q6bcdms86TB4nfpq4vmvr0t2AzZ+su1O6Zd9N23HmCvRKrCAmC23Dw7lqkLS3RyMAKsvlBF7Z9mgDkl3O2yi6vFKYbR+r/8GHl7YFhSsd848Uebvq/0dxR9dtQvm8WmG/m6tSLAUmjPGjXpibB2b+KIYKAxYJh/+KBCw25ki6Q95yTdrKGYahNMvNVcW1AXD2s3dAtzYMDi0FAyW88QcGCTmKe/scq+zuT2GOkVZuylhKKbfifSiXFBpnzGBo67Ck8uvgtM6rVQ4JczAz8jYkqK2nyk2D6gYFX9yUEkS7p4gtFYwRqcBvp1lynN3aSc7T/klBUWiBeJykhtQxRn1KF5kU+SjYNhYyt92kw39jecEgESBZFGSuoyoI0B/8APouywaSPEBDUi+OHqDKJRKsZtn2JolfSvFnBmHK5BsI9jha7qPNrFavjskBQ+9CKAr9gPfajO9dub73LpI5XhjM3zu0Z1Lzo6MZJnZCM9FGD46mgyABEwY5X9OhQrFB+gFG/9ZBUrDhkxjzbRoMqDlnOis25lb2HWar4Lr8T/QaXIizNQRbcc54c+skwx18pX+APgfb5JpkZ49GVrlkL17eLZ8noCD0CkqWlIblu6bU4cIqvEqtNKtZmaeLtEheMeHkehO1X9MG9WqNjEhqfsd1hx2LI+tompJ9FVGthOrevKq3gXzzTVQ1Gt3gDNfVX3yTAhiEAzz93+udE/AjxkcpsG9E1dOJ989jz01s2qSiCu8oWR8BSMGenGq6/Qb4E83KC6dLhBmTU3bvS1vYvgFfcfZlz2RbKQXwFvh4WfRnzMV/fZgrfJycqg3Z8xPH9f9TBNkdTKTPwLryPPedswPLhFZiUB9FibA6jiCFHDk8Vra/bM0b87BHPotBUOLV2dhDmYIwtlp6s4367rqLIEKjOMyUzVM++C4+ql6BcTRIFYeL/4KZ6rZwxOEtFYTdQ248161JNkUJwv5gNlWCYrbmjYPXgjub69W6mZHxLv2irzZ5bF4Nzjst4ZysjqzePz2My1Qas5UfsoRY5rCSfjPSYEjMlCi1OF/wAE9iT8JjPPUETEUZGf9G2gNgoQSAzXnhN/14gcQlzAt+tFDUYzPu871kblGx8gcobsoGW2RVAQDrGKt3XyLQXLapMtFIIPNc91fq7276HqX7hKnHaJqfKrbiujROK06gPGMefTpvRDK5RyQye9SlhKc6SVmsFz7vBe4RiQflg/qOOR6bRLuvva07AhAvchux2WiT+XzgF+E70rT6s3b89gftQuvgWofId+mT39x16sPJN234Gk4bzJy+mZe5ZrlJxYjWCipRL6YUM9v6mYum7qhcFrZdErSYQd2LiDzEgJaX4COdcRrh+qhbthIYn+dMzvGwjuvIAQba8PiQ3/NHJMRgJxC29Y2zEtX2rD97+fH/7ghgeZ7ZGDXM2v+4vT/dVc3loe2N658ygWtZPyJ97C832FpaLOnTNJ9QrTNrguTQr8uNIuAGl2hKSaLszRS9yOfDGTNwHapTAGfpiIU4vxfRiC7Tsjsjhtd/sRI74HmjphGHfVX4Gd50qFPK0iIRbCvadUa3/dDWuOGbHQ7lQZYYeB50V1ktJpq8l1R/wQy9gx+YoG34801iPa3CiZaW3NczzuJq5tYnqqqNSHW3StjbeGNP0xabP32ibwIGMhXCXR19fhuabUO9lwViEHsTkLb9f6dkHydjwYfVyf1nIDSLR6vh6oSxl5HdcBfrsyWEXkJYQAA97ICuxIvikqX1Jv74jsslyGqG0ewhPAqgSaHuT0wngOZ+qpTzwZ/pcu3jYh8OcM9nuINbV2Dq628nJupQuZ/rVOPoq/jw3tZHcv9Jf4zQyYkR12kP41yRoXCtuKYIUnbix4gW983D2rJaDGMd5DAkHp5PwlK1dQJUN3UI8DP18wraQDJlWOExtCCSZnq2wsLxsDopaA3+CHoT1UR1L0OXK1gP3o9oqJK7At1JtXXsCmfQNQ96S6gJZH9Jvj76wSYa6Kq1XQ9ao/rtV7Tnuvhmydo3pY6ENNB9gkkwi3YU4TDOg5h1vJsFTpRrKp5owB2wy8XB7AwKVB3gwJky9WJfB9pmCx7QAJ9aCcecDWGc1oU9O7tTZy+OCFXjKEOqLJNdYWeGY6vRyoM4f+YMfNXH+CNLAttfvRuPDMjUJ7xCaaid+o4Axe8hKTkg2TcgRAhtl04I/VQ253vjkbIDqlEnE/AixBwmVGEdE23aiMQIH0mY0ExOG32snttqk8O/kP/NlaOz5jhGFWqxva0CktsthDiAUA8IMSCmc8m++qcClwXkPvmBG8L/+QrovhyU+ugLEP6faSkk/Yx7fBomkr/LpsK69FeeO4I7VJX+TCeZPDhleEsLAeeBCcYkkNohtiP9sHPhxGsobn3aKGPXpSUlWw57aUA1y0EnHPoz7Du+i4rQ0IJDjw7EePl33vaWaRkEF3gA3JYjsCJxrTBueOQLaUNH+p/sbZWfHHElB2mCQrZEcR9SIey7ABz/9miPPsOIjkyeNX7IGHFpEjt7sjhSy6xaZ0a8Z+srLcckaeoohMtgIenq/QEraMu/xLtWLnJf1KSPN3HTBIIxWT9/0a3ZWhZK6xG4ea53VGGj1/0cTxnK2je4/oPoMmM7+UD1ze9wEOV6TAMguos8RH2036vyLKf9ftRvtD9hNABQ3WTaCXgAUat7BaYN4+a8FKeb4wAQERCcuS0dv8FYd3CDlaC6xqOsIy5FHg4G3LEdZ2no/RVOBtKtvEt0NQcx5MFkFVzfCi9Q6YnWN+mnQkBAWceqGTyFfeHLFSQ9ena04kTBAwDeeFvcD/GA9E5w99dsdCbu/e5gfPZqw0X1y1VuW6u8Z9+hxVuBmijb5Sg2WWUBGJ57qOxRPh4S7KYrVCVFJ96tk0K22zNg6iGhqU6kqXuxVL4Yrwz+mt8JJgFy8Iw99Zvs442xWFbd50XYi4aSNAqcu3zp/JeZ417/56627wZWuMz0CMRyyypzoeixiZSwsiSY6ZAmz3155Q43vT/3MsrQnUYPj2eYLsL6CkZzo57oF1xte3QCwVdEPPWkhQtmmVTfdjNF2Lz8Yp2ESjOD/5X3Vzvhv0yCCDQ65MMvb3fucsRag8J5KRfyUfYP9pEi/e/eUbtcxKkBj5wFx/YkTHGfsBFaCbDUWw0ao559g+cbu9xk11QvddjiHkh9JDbfk8I8ZEKCq4oByXN7P5d5KpP5Usb6iU7xrokPkzg7DDm+zZDmoVWqGJfHbR9oXxc78FjOAcytX3rTZUpNTpwnJh03WVlEX8juxSry3dDU4MEkZb62hcvEys5q9DMB87uWMU738GmS9udiGjn4hoFy2tXdub3FXfqqzW6jVzIaw2ZER1sg21fmC8pVb3D+lvLnsHW1Si6FWUv4nn6Q9DaOhfcG0/XYXUN0yg2MtxThAEjxVg5lbDpi3alPP8bbe9r9QD++Wg9C9vnv6eEQ4EVseZIL17YFozLTBy6nXBvgKPrbSCDBgKgWGT94f+9Tz5dbeIkNSJVXNHZ5ZOK5MiEER6JCGyORYv6mYZtY4saMp+fgy7nc3IbwapVZxbBG/urMekgZNXnSjjC6A4bkj9AJOn4fGs2WsqPblQVbXj9BwwWUj8/LWoZmsI/xXLD3a0NAKMfh7955SJhqQmpHSXIDEd91rB78FkM4UWb0/XFCB1XjnJvBC+OR+XcJIbG3Tu9YN1oxaVfg95+Na7la/9jMMfyuvmOqU2YclXStFEpZ5AUYAGuKO4DJkHr9ULCE/RxO/XQPysqaRyE9MrXKpNO43WUKZVO/aD91QNa7hici3kdeZKfWVF8BK5IvY1BiVJTZQxI9emxo+iE/lBMmGPTiGMmhfSkeXRPZ1GWGS74DyM9cZyHubguScDs9Ao5ZBIOUtdwx6tAiwauLU0gasPyOve7FIAIDv89zxs3bauBf2575IQbw9uTtlgTcypv+jHdZvV6848V6Jsiy82pRC3pD9B1L+F4xbai4Yx68W3TWnXz+owzltfciKjIb5sKML4h96USfKk00XUJecyVbIzSnYfqN7N++1vDhzkRfHf5itaWB5tzJBoD3YN9TWqkrQzImoK9lcs3nrmYjkHmZDNVmUCSQVSrEX70b0wzEZfUgHMadPnrbxs0JOOM8imXG0voNJMHA00ZPVt27KMqwGD3xg+yxqRtOwRzvIbk81kIGjPnLIh4rNks2Sj4O8lNkBWihF2W0ul29VC16831BBAKpgka3SkIChgSHrqTwSeBe6Hpu0W333i3/hcJwiRA+3Qec1DUIBWSxtc9IS9pohEbI8CDchMyT6drOR413j72c5Nb7VoxAZnBowv919JvUw0RCJMWU7ulKYM0fZ1TBu9p9oxPKwgywuyhbAdTC0pibelI2cRBJrj9czn3sAhyosR7m5iiwxrWWVT/PIQD6dbdkybuUkPuZ4OSiBIr6WyIlaIQaZfTqkHSmen3sEpDXAB+B4PIiVge6H2fyEJIk3jlcXJ0VDJfcW4lYdX8GNqW+tZOwJ2oafk7S4AnyFxuIxt+f1KxR1vnGUkIgEW4xQMjtynqGNvima9iPxUCqarpQSUoSZ3XmaGA+6VGjt6ePd8FsIU2SwCBc49RLEza5H6ycD4ONpi6fApOdeAxD/WdCSSF78e84VOu8SLGLbWJTGUO0nGh2/Rd14UGnOvf8AK0hzFlwSf0IZB21ZQrPh5uuzeaYuvul62I6pXnbuQcfT4vOd8V4TALRTIcKeLvBvBnQMCO4qssCpNBa6NAbcLaZrD+G5BVS4nDvBxP9LJV3PPVXwf4u2lRJ6Jv7M8qa7TOb8S1W2bE1NTLjJzgX6sv9uEfazam9qB8fVfMWlWtfj5vobsh3qR9cZ8uGvSUtz27H5d46oUIz/SEUf90bKtQ3xbdZzc4PXVhIpJDO3il3cJemWc5I/UkSr/VwLnRQen0cMJ19pU3q3dCMj9p2jvAXOHUiFxFv63m33WRTyHrpz+/WwJlFCJpt0j6njjf6B2AuxDGP1g3wKpIap+G68d3h5Q3xF0j0cJXZAs4kNZ6urUchJ/QPqmSE2/ezDWNvFzZrINURc9E+oilxlkZlni9HK2g5AzimmzMw6OMyPFuqUUpL1gFaIt/7aAA9BKV0VVjADPDR1/JxhKkuxc9y8ind3Vu2gmyXwN8URP9AzPgqJ6tAVKShbs5Wby94cQ2WyfVJVC3YDZks3H5KS9SZ3SOtjmaSYzXeSnHdpWmvcrZ8gsec0btsF24gSNgsjXq6LhbSecnGX1LBsmihpEM1fQis80ZoNAwrqdI0ZKA339qwRW8U6Avaev4LxNmEEZfDT2hME8QshpAc8+82Yuqu7KbuB2V0l3CB5IKFLHcEZqHEDbYEHIfuM6pY/SHTPdxJFcrSXEz2LWxdNSYBpEUqo8PJwxAJQGs/l8lYp8pHQPM3tgA5T9GWoCd64lD+e7R2YS/c1vdVxjNYIcb2/effds+uGw8/HPaLnwidVCaZfbgShWrlFnjlqV+uYK1nyHWTre0XNQqRLswu0W3d+tz/sk1h0ktTANcU4YAqvr/jZAMg4l1UH9AxP9gi3Tql6U5TrOXRPdy7RgpkiOwkw2rNDWWKRpkJ898PW3JOCRj4Xsi5jf3BcZ8sdBVV8AHVIruNXlqG+B+HFCbXuLTUC0BcFPu7yfY85nT32Dpx4Y4zBcDh79OLyRue3iNx7TOmxDVESeZ3agci53vMCgTbWEr9ofYdF/zmJCDeTN3hKkX6TfQ7xtvHhLw7prVN5OQ0D3fXI1/nHdK5wos2W8XB7FXZv1RTQU8qQkT5KXeeyvm42zh7vv9BrCjZaY5R0jZon68tW9DNkJ6jEVbgN9ee5fy4EPhR6dpFPVqxhlTZ0mr7DvDn06WOMH8Ip/JQ7AewcJkMH45KV+a1WxkR6sI3hxLK41FLsjHdWzzNF4wLkUVJiubocqoXWcINCIfDsQ0cL5t7NmeCj2wmERY1NtD4VkZO1gxf8EuA/l6Fh/s/9CxYaTyF35faBWBZbFB9AiEdDA4EowfHswA6HJww5PHARCZQrNO9rNVuimJSKyDpWp0ayHEu1MYEB6aNPRgBu/+X2ykSoc8VRBZq1kl/vIbWy8y2b61qbIZ0hehDi/u57ZoSPr5KC4kCUz8hffHPPJ1HZZ6TqSCK40s1XihTp6d2oHLepAceO5TBr12q84VnDHsxsN8YcPZIm9HIQYpGs9SvGiv1fnvND4oaJD59xR4rIqXBSZQpJX5Hqg1F/Lp85J2G5KljGhG6sZQppojZDCR673sKBsfpmMLzBEV+2ZaI1vkLLJgwUbcnHSYctWZYcQf7RWeclhA26hWuYGolEXtml64gypjguNRjXzK6eePolT9LpCzFlXY6si2s2q5hKsQXMT22xFPjCdcOvq9RuVA0n2ajkfSbl/xn5Mw8FgE1rJgrMzi3wsHCqNevFPyT6BMHEPqoOIz6IPMuTGd7dYepRqmP8j7VMYtNVkhIkwtMROCc4Iy2YGdlamMxqsNMhlSH16eh118ZLjSbHBqrn5bj48iIItmP201o25j4fDWhXE4AvddQHHoJ23tFvmDYiklYSch030y1lwwPYyBXFW+7nvrK+8Pt9mjbeSWaQ0QTvHIL9RMP/A/61NqnMhLwHtJuRQXdP18sPxd61gMGlahDwTVZRt8V2mn/BfKzS9qYWRMndnOjL4nzhNykz1konA4imZNVPHCsxzM42lZ1Bs/KpWx++UyuRJ7yp4uNOivHHNYVpvoqjVE1kCeGUCa3pTSZEj7T4NGVWi5eGNKyUj2AdBxZsgDrORgC++8eGjoijWrVkBHCwU93eOMz0hg5jGC2a8ZfPgfCCBc1Sp4Lt61wO1E9b8D8Uz36cNP2gO/W3YeQr7VtvCAnhulDOn8XxJ38hjWFZ3NmvzQ84ZosxeLXN98UWnSfd9eX+zkmIR/AES8UXI74NujUv0JFuIbmYxCH3u4Q1VAWT5kx9mYwSRlVzarO13V2sfnnbTO4npD57hO5dXwaf4K1svTe4Bc5qujJ6NYbb58siFo+HQL6EoGOqOOinWilKN2s8anuR72BHsCzvsj9Q3aZL31evEuGMCtVO+ahykvKv+xVfK3xiOpd1Du8hXAT7ossqFaphfAH44IAIuFizyj++jnE5K4+mC5HPSGQak7KXX5k9eDAuO1GlLIGLwfBnjMWLvwsZ+5nWzioacg6XUO5u3OS9woGl4ipu8P6jm6KXvQdfUmKQSKLftKgH7vGfF2unM12AxPtnIDWnuohBNA6ptwBh0ov/9cle85eQqq6g5JeJYYEzooGBC1FQXnUH7iWbzqKaxKcuomTE7Kq6D7gaD2djU1a48JZruR23Gs1JiTzUBqQt/Wy8kgNn4oOjcWPfZwHlcA6eUZwiEV98PCF8LY0eRMq+avjN42OCSh7L3vR6zyGwENkumyh4GfAJY6NIXLew4wyaEahUmZdPFKO8kZCVAeuoQFsn/1EjsB2tSoji/qz+Xixi6Adhkyjs2lVGj+1ZdxI953NuHnm+wbkE7mZmYF/3B2sXG4ABdzF+UKH+tuyXzlK8sb3dze81nbhv4gqW9RTC3qOna5430AP/9oGlRC8bQiHOi4U+7zoacvfviv3euRohvLHtp35nWktqvAKHiIAkvBE3COTLmXjjm5vgtsniplHESBQ63DhNroVJox37X9GreTMt9TSshj6OOh7NdzhoNccyFj+PHyiHCJyYyak2Ws0Y1YNE9vOfhwk93f4+h1JO8fci0B2q+/lW0ZRE86ZZk+V0uRlGJiMJKT2B7Il8W/WiyDVYpLnfjnI97/7Y1bKWj2xgKVIxzM4nQGJ9Eem6msiB54IDVd3IuoxzCzcG0ck30zA8/IFikITDy0nKhQFHKZ6AZzppbibbNI2j+Xqgu75fq5QHVdUrhsDkl+NF9zm+tDQriPmvqpudj5ZZgHxTNP7sEzuJpU+u2LFR/O0fweBXSpvuYjqXXPf8CkwOP2Cy70hH1TTVseZS9afdndwM2k+rqE8DDn764WADRRVD3Ke1bApsmNa5WlY+VL3dXL9kOMU/kb/w7RR6RvhJawpbulGHZeSPE62fgAbSR0qxVcart7GWLbI//IdUMSmEHU16S2G6rgE/CPlPonmGVoic4IJR3znz/4ryJpex84uWh1hWVTlp0+5ZPk64w7fiRmby+bsPxCs0G56uuPZChjFVO9emWIbxrICdiuyT/+OBlgOo+wwVFY8PyvKYtBDl6he9tELoyxn7JmSEn7YFyp6AaGs0/zSZgvH7ZL/B4fVTpyqw1zC8tqrLgyE0imOftkLP746HBwQ5/0+BUf4yoNg3Nm3hsJQ9ONsLpuoyAFbcXw2ThEI6qQyE3bIArFc3OLxkGZjQAMCXsZrj4w+Y/GXaAMRx02S8005W37rSNAUrX5sNZKh3qQj4pJg4LSc9uGRYOuYpIM5uVWfcZ5xluD4QMBRV5qBhWNN1WAhWWGzbiZ772nGd9g63IlQWd4Fs7Vt06KQM4YqH1r2qgyIK18guX+zn3ABhcxzxmJs8xoqxA957hTsKIMN6cqbScLXzUMYG6VibpHtLGb3kWb4sVq2++vlHo5JhFhcAjeLN9BE2nD/bpJ5xZjut7qg22A/kwv+XHxeVNLwd89E3XCMmuuELd49o89Ia1tUWJLsLXIYuRpaRsGK47gRRt9YdjjL1GtMMMtm/yxHw1P5PbS5YOvn7TGZDx3fi5Zxjq5ad6xIjG5Ji6aEc6wXULZMCUkw5i15kAW86fog8TcGraALJyTUhaLBeXoRI1pSxDvTv2vp+NU0AWSktK00IuttJG6vuhBi0ZxP9EHd91m5NE3XxBRv+51jFlRn1wspehysYwNeENLsgK9CFSlYu8h6FDWKYFqVT691E7firr4s9S1kz5JHpiM6qfHkT0lNd6Nby2xhHFk4bKHDCiHMT5lzxVtyYTMv5JMRe08KfqNlXrbYUm9VlBvSeTZhxu6bAdFLHW4G2pnH1z1qhZXFqWJ74zaMzgMDksVvJiuWUIweC1N6aN0oVfBSR1uJmFykIK8fL5zEhCLHqW+7JdN4vEs/ape6TCrIX8CuIZHMtozv+yQ7/uSScj8fRkemVMmrG0p8Hj4nwOBM6IIOojgVaYzI7HMwNBbgA53oQMadVNl/IvZtRUbhsxDkZrEGCPTB7noRnlYE0LZaMDlpOT2rfFx6Tvk5jyoja3PW4JBJDtBte/U2XKX80UvHwNDDMK7jnk/gdWX1cK5zKas6wG/nn4531mgmz2RRqJ8ID8C/07zbSECoVZueFlc+8xlJGQhkiDUYpGV/Xuz00dsOFKJNDDdli4Xz3oVd6xg638YjUQkLjkjYAK4uuuuV8ZgPhDZtiR3IBQDJL+n7VYK38V+8Y9BJbv/cQ62mQfcwLxZXH+rzGwjfQv3z0gkEuLEMt2PcGWHbX96YlubmJVJYGhgAJhxghEWlTIUaAL8MgXK/FDdOEss8ODYqWN8uMTMnPGgRjpoBYkdi8OotCT5JMhloNV6EF3C7RiR+uHFIeXa2Yujzh6r2oi93TSmYn4YUc9g3723p0RYrvO+ijyQ4HbLKAQnZ0gGdK+LWcibPhDxlJjTmAq4ZbpeOszfPHGAIbgxBwkY+AD0b3bum+mL3zSs8iG3V2W3HDLYjgf8wDiMl93WmHyY0tVJiCxiwvdmssKXse3244Sw2VFT1DS4253a8HjPg9Nye0ap6Mgn/gxI1xbV0Y5xTfvZj8XpG+J9MffMNJZmzt/gQC0S7/sR26Gnnf/EBekWj0lS06eNQrE7tJxgZvO0Gq95NhWB1LgiGkeMYJQpj5jAlqhfVNSlVaSjxf8PXtCQJrZam021Gl6gCuv7kTifJVSNxlkIz5REdizw/X1CMl9sKHVvQhc0k6p0b7eE0YLB4+VKtdXf3TzQu4SEWlDQ20LRtDmCYwCMUmHsRdRr5dBkIOQnuAsIhZnGOXYZq5V57Y3Fkr4MprQ0R+jvPl6uljBJU+Jip94yd1zCy1xf+h6iiwssM1E9RJJfLFSdzLr0Z4fxFnc9Qmr3VDPGjGdUiyszphMKfoNSU/vH9mAJHAefy7u+4BKhwa7c5zaYr/ELmv2jKY4N8wMhWDYxqFYOphisGtn4eo8ak6BgaNHpxeOx/aUuNchwJKDQxM5DQsTq+zFtKZ47EOStFfBVSQaUSLLn/glncsuYd9UTJbQ4hATPZss5YRiHrN2GSJIksvo1XkNrhErSStGJYaH8yOopcVXyx8c9djUMMm9lYbni9vJbNvfwom7OnK6H6nfdv9YduAk4crYeTLWmgy+2Q8oT0oq/XEKD+7MuMdSe3Lpa9pPNtcG/AXbFCfTNFOAr1lPXyHDWELTQIt9SOfS26dxnXUSqKY87d9F2Q3X4qxNGnS9onPZ0ab4m2XGwcscAwCIkfsVMnXaMn42X3Mx98g1bk9IdJ27UJH6eeOMQ1AfXOchZDC9IZgY1dP6Ph2AGSLCu7bs/v005Rb8+ZYWvHg0J+jioZznYkKASk3FdITCxhhmamDKEDYiIfy3+4t15rWJxQIfy3W6g57SKBeuyFqg9c9fKZBXxdw3oQMFtAk5JqW17ewfuDQiVMsGmysk1EwlErNJtLZCn3H0YQzUTmduAb4k/FjUjKYP6AfUPz3SoMxVkBTf/tXHReC0nSkBtOsFd5lsHbEHCIZ9UULmfY0qSXtd9qG02LyTXZU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55930" y="1598930"/>
            <a:ext cx="8232140" cy="4879340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129978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inar Timeline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he training webinar will be completed according to this schedule.</a:t>
            </a:r>
          </a:p>
        </p:txBody>
      </p:sp>
      <p:sp>
        <p:nvSpPr>
          <p:cNvPr id="9" name="Rectangle 8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pSePy2GgFn+B77jGJ53DqJHFKeX35AIOkOhCjcHQuyyau3ai5EyqccyMyaM9PFj8l15LoyitQ1Toi4ZOdTLjYjwpbUrx1XTk1lBjWfQpu8JB7lVuQxrgVLJUAqFHspYKtlva3p9bZjZd2aBXEPv8AqitncfihimWx6f+aEzuqQIETW3P4f7CEr7iahxG8TuwmFsV7lbqZs4oZjcXIPTvzrA38KXDRP30ha+xs7jaIRpan6CwAGEAL6/ZF/Hs/5/11oVfAgERh3ts0MVHRDcyRbChGRQSXI4/iSomGP4q+o+mcCi8pLlFrSsb7826Njchg+k37AmxKMm+aYXpdYuQHRqJK7S0lh6h9NBqb7xr/01XeNrCQCYdJQKALrgjYW/NdIKj9nOY4H7LJuhEil8qhD665f+ptkuYSrYDWUGhF4LaBXj1XH07FQ4R7FphOZgi6HRlAP6rJBUZBIe6usSQqV95SqbFgQFICNVF5RQmMP3dv/ibsaWPWmIeA99hkDOn44JC31kmzHlGt78ISBa1+jfdHd7VcoeQRNEYAsBlagU89BMs/cjgaF8lYBgkq7BwHmTTQMWeXa9BAPv2oJknxJjqiz/VAvMGBTwzK+aSEfN/F/M4c7Qma3pqfAl8DHs+CfjhLC7Qoj0UDuHOiEW6YRgd+f0rSLAGt5FOVXcNJohSX7b0FGERvoEKFR4jJHV05Z5KUKks3FTi1GCbaGMwXttqz6O+nejB1/J9hQD/vTlM2QgsP0Ha+3nCcH/DdBE1MLI0F9zmW7U6brMjF3oWiX3UUfcd9Exi0U9ngL2qBBsjf4+SYo5AaEpQMn5S9wj6dLvW8vXdRfKUjU9ms00KoLrkYkGUofBkmrqB2rt7ypjrh0yXaxJNpv5e4bWhaJ8uq5nfiXE9/G2h4Vud0BeG+iQk2NSAP0SopnjkVuibGxxFNHQAYVci2cASh//X8qzgmNDtU+in2WMqQY2sQFSKcxb/aDuaC6XmOpXUhIOk7d8qkHrJ8p5CP2dAbd2JuipMYj9IEdm6d+csmKlGYMVhA1wxKBvwKt9beZWs74itFgkBXWROXHPUJYnisZzsFR8mPQyt7K0Gi+/E8VKVdoqcwthQtRHX7kYG7pqda53zdbHXvJPo5cZlwyr64P9xHLnAViZW5BSOW0zl4pUfeXiyWG4cm/0JUMJFqIqz4oSnxzkAKsrQyoSh1BREZJi7tvrnbXvAjF9hXkysa6fBUIKIBE/w8AVC/9F92aHybc6DFljsAdshLdhTMF+UWmxA3vFAVfftVYRYho+hpubK0+EboXx8UVCp7RmZIpwkVtwX4d7RtE6WWDH6432NQNSji4Xd0621c0P4IolYCGJsenB3AQ/d+7AXkfbaKJ3NaAtQ7JteEhGzYnsy3nysdiEyrbYykGAIbaQcVxI+yKWAfvdNjjRSPXQLECbSsmuYeBlRSRFRO7hoLgig4w3mH9qQmLI1ruKKV7nCVY/fEaYzqm3dFJAeGG66ad2NYW+OKf5FPTF/qA7oQEC8n45OTOPzO9X++t/mZ21RUg8Gf8TbqjXj6R+FWffSPvTkVQ/Zcs7oKLp/POwbDuq/lKtCRdyKEeYc4r/glulY0v1c0tHW2fYz45ul3bHoDxVn5OSMGvpKSNjcFsja48S0DaKZCL7rtlxKZ4KbDxOw4LzXn1XSZiTfOX7ymVYVAUxSERz2ku1ySLAefblh9IvOtxLzn8cxEPhKXxi/p9c7iFfPWlafVLVPvKGLTbJWR1lMv4XUEGsc6Fc6FbXWYP13JTvKRKHsNL4A7hi8uOPWNvOPenXiuNwebgG/kfV4aOwjrqECHZw8N9tNDAdVWDALhhP2i1vUlTNWedeIGws4GyqwKDtuw9Jyh19oAd5l/KYBpqqGebILi+ysEkU9pVdht0Ct9UledUC5MyVZnkgoRSBRcZRXHtx5YVBtk/Sv2oMwDOksl9f8+ONvKGt3vOpJy/VpcjUkk3O/JG3l5Vx+XAuCdzN9yZa0XIZwcbLiFArcLRJm5AhTkeJK91as9qd73ohX3Xhgf4RgtLzWaklNPjg4i8z0d+5ZCTeCcYeGfkU9Cr8ya7Qb7r+v6f5LFWTppd8XygfJXO7PXlWzd+ByCr0l/05uLPOYuGnpRAUASqMbBznF9XWXi52czOs1rcHYYYErWM1AUsbuVQOiuhI25u+ZlITALV79S/Y1I97sD7oHZGgY7vHJRurmsZaNM9zHxt8OQgcpRYPrqpjjmsztOVGbt7OB2q/5sbDmoln6SdK68wPlMXA6XvIXSVfZDVnhcwCc0V7FxrBd/cL20IHbPziYSxbT6NZkuM+qbDiqisbrOzZjJFdqA7TZgXlqw2++uXECTVyoPEtbXD2vTQ99ZcNJOp9zZV3Engh+vLCvovy8v/8RUDZYePUUwjpFU1qD9ZTBFElJT+k99hdljDlRDrT2td4jn/jYc7EXum9EwMmTkWt6VNknwbYo69qTzN8VDIlF13/r/dU95g6OO85NF17NUX8HVo8M3Agh4gfgrg3cSUTHCmWnwmijzQONCjIm2StasauKo+lOlwg8XM9Iqd90Q9+ZN6fsJDDdsKuN06JBJcoKlvw6pOjeBRZhuXTmuds+Xf9MxBj5WAtnia7WB9b36+n0LDB0/Hs3aNzGri7vytCYEnZ/Z0xexasxfYtmmP/JwhQbtBeV4FUQ+2n7oWvAK3c/la6L8wGE5r+KH5SOGeCcLyxv9qU30C9CpaWkdhLepIOfCaURiB41Vi5Guo5MT1zdO1Yq9q1JxUE2H86D7h6LCipDE98aaVjtetDi1S9a3z4oJKfnHz2lAFFyxKAGyVAsVUqyfKjQJ3L/SJRHJoF18HrS///Kqv55KphyoE++Hcu1aOUTALcx2ripYBMum+yEmcGBX9U2IK1wBP2AWWBdctunx0VegsMzo5/BjGJ/IFpFSnmJUDu6pmCfxz9+eXDtA2GZ60HwsgUBVURipMHmIcu2uvtD4CHP1fhPiNWBkaFkOFbCWXewOiQ+s1YBVTP3WV7N9MHwMhaeoBmNRaGyWvxloGQ9qg8chR1n7U77Nst6G9fMSSr2Ai7Q4BgNK3D5SX2QtvIpSoQmKmIvHuGALcZZOWle81j3vD/+pAgsw5CpMwWzegeg1FztwCNAYavlMR1qtcjGiCJQOPLO6LpRPsTkOzh4Evu6id7IeZ3OXisdE7DT71c/2wQlJO41eUyRn3zJNLGXpIxcqFdNOkGrT8CZ+A3FObSl0hA4oPYN3OXNUULEVos4x3wF9fat/RqjzfJ5/rWKpIfC7NCbPz0o8ghDZs2UNsLmj6REHPYPF2eXhDHNDAWsHo5xXM4NmJ2PX7bh79vEhbt0D245Wc0NOr+rnVLDihqcRXPHZAFssVsHyjG7ExwBIDu3Jb1B7sHDTlviR9UOTK8GIv/dQO9DOb501BqhC+SX7KqkgjRWPh0S0gu57aAGrJZsE4xnthSLgNjY/7vnKJiIKHtmIKsvuUzvpkg6y+GRY/yaRO469AGTuO50YSmxVbwc06YJ15LGv6vQFFFgp6ZPcpUVoelmjuuKxwdc4hwbHl8XcVGdANgpvLF+60GGTmZ7b9qy/73tEG8jMorOo41fdBxEbcKApQkjDlBUovO1BG6eLZM7rg+yQcYToq2z7ke2ukFeai52veuiugkSjWiJAMIRKbkTcXzazayOjmQbq/9gegg31hVuPMiernlBAaHLUOW9VXWuQir+IFCpCdFMHf0bE92+H7A5MWS4KLQObNU46l2v+GKywxeD2AvgKB42fTMhvMaZ6+LDsoR2R92JvLjb1E/2xt4aTzh1D9F3SPXU0s4NLrlcUYHwtM8EZmaE80FbZzB1WDfTFiZdv0hYSUyA06nxwF1jIgnRgNlAM8FSOZJsGNjsXsgtdf4TtgE4u+54JR9a44fdN/iMyVM3WfoJJbDtF2fF30D9XJEj0mOHbjd+aBDFC1273fNj1ESzCZIE3V13ZJ2iA86kWslA6Q70pPkwqDPdE9UqsvfV/9b2mkkZ05rfeQtCy4+cYKHtKIqj7Yaqd3w48nfqBo54R8LQiIS7dBjjqJ4QnWf65OijMs/yOte0Ulmv5wiJUnQr5/JnGSBus+i0e7nW6TZSqJ2Mjf+bl/fxX6XREGkBcw7BPxGBX6awQbH49Ow3jAq9ovxnR/8rx91ORjpQHfJZntt3pbMIg///jIK06u7zZp/SCVNu7gbOpF0rRtqzRPCrSKvS/jlERhrVUBfnUoWxj0vz0fFpiD0ifQcmzaQdbHKbmK6kxosit1QTzeaefSr66+wN1cWjJZxlAcuqXBZXas9QP5Ffk6L+AzjcgFexqjG6G+GuJFNSazwMySsuI9oueMcLLye/nYBnw2onMO8VVEETyETrCJpkTBZ99Tz9yJAcyIErnt3YCNtDUnyy2VbyUyllPnh3VfZPUIGfHwPA8JqvmgWiaZvU61idRH2JR7N5oouINQsh+6afDV99L/H1bXD9/KuZg2KeLfjQCq3FMgXpUjRApcwaSqAuGx8XvVecCeKt09FKoOKLb4CBZfl/CAALwgJpNtodr8ZeWyYH65kbWS9yoaQbA2J2m0Q9cxr9NGJaN+1GWSL6pk7IUnnTiUJGFNndJGDCJBpEOJUZR68WTwrg293cJ1hjRYjoD7XCrHa7/g3fguPzJcLkFGyCbxpY2ofT7bzL/yNBoaFsmT3oothzYxEOthY+8QktLyMCqL3m0SbYTKI6RLxVMoLfPeXDbDp83zTrFaEelNE6TLlRt5tsdgfXzVxn0lVfDKCgVAmLb9kk6laviwY5z3J+/CP8Gd9z8mqJUuKkDth5ezotwPUhzd9IDP2IPJvyCwCdJlCOulV9NNjhaMKl2ISRE6iTL42vGegOshP8lYkaI9iGFUAnUMiCsRIVdYUmXaQHtcIDR+CbxCeJivyKmOZlQoyGP8fnSij8lgZH9F7W35DGFuC+re9F8ehy87eShtGhIb2+uydEFPsajF6NRgkausy3GgRLbr4uADAfhGVIM/kjoqZxG1vZxUoPfwyL4z94wBcFCC83o89wn6EVPoHdKdr6NrlNRWZxv9ZzgepDMgWs1p13TA7p7oPYAWYE144ptAH0PG0beM7E2O22ZKQT1RAe1umPZofg+cjmH9gXDRVK24tT5SpPqE/GTEuERtG1yGPbfgoRHDBYKWd9F2xrOdpLqcZBx7g5GnlWcTE5sxdnygvUJXeGfS3f0A6M7ZS+tAcUQFDiBAKjVz7oXxVN4KsiFzmcmJxL9dUxpYfumPcOZYqX5jbdGVp05MDFhcjMw2Ba/uYRUT+XX6iLMyrdYacU1/KvWqv901tD8oFMo604gOa3qIK1Bq10vb/H1J/Rz26A4Wfsrpnx8mZLJMcUXHVxrq3O4W2lJv5pttePyLFMKuRSLdsXLmWk79db+t/gJd/SK5z20KzJSYphdW+A8ogbM+IztiJ7JsWCbW2pAjACFy1kJnIYsnEmMD/y8gzD8LkOW5oUp1V5i2i7rCfXZzeZsldovW3julni2o3+TCU1HBOFspKFSgOriClXxPKea5//wGjk0jZF0ev89AB0yL0KkrTDVcl5912aD3c0e/ms6Ji7KSosZMZ7HImomyFf5AhhH0atiRyuvQUTBCw3kBVHb062b5rGBaUI1xrECXDkltxWJNJ55s846Yq35UODO/lB0ZVULVnEfcmqggf9oc+BQlddbp+Ftj2Ho5mqRHAo5Mt6PFDRw9Ypthin85GcTD5Qf2nwcfyiebC20p7+204j9jJH6gBmuDbiPeHyw5ocZS8jqsydv/S9twP7rR95Dzs0DJMZLGU4sT3lEGYVzXytDGi1Tdn767YxczNP8ydchdB9pxNzwRHnt+AjZ14++nCXJoOoXj0DRzGW9nFPY0iZD9AYGKBXAeD11QnoMLT+yh4VXIjWXycqLjmhLll1dWu+auM0UhyWlHkInqSogZcCBzEmRjTd9Y2wkXWjJIUvHjmMEKE9OfWRhoSm8XEg4RlG0CTUgKkmpaUXX9RkhpZp64BMkWt1dXvo0TUyWkxJwlpfgkE6lFx4dZ8UpBLsxz1WJQxN0AE/loKW5NhBulX3NJRIHgKEDNgpMTSsgZN+upaHGsrnC6YTd55ya9xTaeMnGEg22p+K639gz98oyf0X+dICWxamDXKAdq8jKqdrLpTHR+eYZ8CQslksh5L8jybJHjbaCFPH2lHJzSgbU16M5kd5hPSYu3/74ZvC6wfCFAoIFR/NlKo4ML5uRVByVRmXKlprk+9uAFJi89OFhUvV5Njz+7VrWasm6pv08ME9yLr6ebEApiGDShC5o4jRAc6D5q4FKxxjCzApPgIOn9AGqFGBaFKTTvhk/OlNhMBObvO45i7T4ElXVZ4r45e2frTpY8cUTAJYVu1vBta1e2qF9tG0r8gCt9zqi8guJ/z7mEWkZ4RbWaW+UBWrqmkl7+6/RcrBJ7WaH3S+WHnzVox/hHfZhuTmcr5LIhFDOshrQ/h16LXno64Y/3hvrwVc+BByfLtRN9OWz1kfp7lQD8SbXKnif98mvYxFxJZoJqFaZos5ZMVeyL0cODAsWH8b8scD2gH4D8zVs/GJc6wVsZEifpbtdp27xe8iMwsVasmyKFOykl9x2VDuqInyqVvQNLQdvLx3gy2IJ0R9Zd8ht1KkQ8R5o5MgTv5LAAPMFWDJvuVF+1WSBNBUioXeaVsDblksUcn/J+37/kUV3lkTCavyamtIFp9kFqiTFF7cAJ5WwnGfztNKi65SONy3c6ynFRON0cYgcIquDWxLZI2SkdOp30nvo0XGd+WlOAL4Yc5pHG7iEa1xDld3Uv1X2SvEIH2woy1J4UUbqbMbiFgD5l1dhIkt5HACI4nS1Evp18/CkDAFP0s9jfTzaUo6gO4NtmDFekaNsbOnjYzq6UapMMOWdeXjN2Hu2J8Le2grjVMwm9/qyBtyfH1bmCbVZA0aOhh6vECQV6fYvFSPmjBN5sS4q3SnZrSGlE9dizHDe2xZWpSS64k2UJrTQMS6Z6QPNNa3grCBVGywItTj3pn/rqlJ4vBsjnXZbwAv7pycPchvysaIPqo9ujJva1MkLQ3Dj+fHXLbyrHWEnI+w6Gghsg3ItyiezFPrinC0wPKi5tSrSWpjtA03wRvs3KnSXLWe9d/ZJgLbuZyWqFo8Hyjt0wAgrcbPTpvBGmZE6Hh2IowiVOx4CfVgnfm0QodftUh7Ig+pQeASF/P+6R9CtiNvjcHUAkJddTBpTUQcCQYR8d9Kdb29DgWerCshysMp/aIHRf8vMkmktDOUJPePELnDgU7te0De65/Gm9dN3hoNUrQvstxtjhT0AuXZkz5dzMzepXteetZ4fdX+yV0nlu+9V9wXC+EBvNtLCYpXsYUwP6UcpTOP0SbSGdyESfxibbuhG2YB7Q8AjmlRv8fNus8AUe+l91lJRpso9G6+gJWgYnOjpD0uvBebBtii14jukVhetV6h2tC82JFXsodUfNU0vEvmp+7d8JX/g/TH0RUW7UNDUZvS0il0zgV9I1lMKyDRu3QxjRusiMEzq2fbqcPNgv0uDWLAYtIXFOvPw+hQgcAQe9x0isoMCBZpy/tvyjL1Ot5wxt3h+znrzKo1Wvn+Cm1h7TKfxLvZo7AOrHlh6UUJRFPBxOnEZ0OSHy6wHmaT7PFYhAiHvefYJbm2i6bki2achwaVTwKX4GCKoCFmdm9nC/u942r/W9TE7U8yCxs0yOrn6HnbzGv2YrJn7MIR8BPXox0tC6nuHUDrTK2cE6C9EaolykuX+A83l5HEv2nxJ11CAI6bQhep9DzBUOpfYfOVk6zbDT434yLcV9VaGqvmkkYPaIccxRT2AASZ3hAoV+PjNnlRjEkRizP5btrOpWQ1dckK1afAlYPM22AaNX9seZwkX3RHUEEw6lYN8V3BYX1cf1UA1i2Aku6gb3ROomec6+VZJzfO+oVRsFxJy4gIjjFj3Z8dVKVUVZOfCmzfvNGcav5EHmJbvb5f6CO3/LjY70H+z98clK5Ijs6isLBZbJRHWvVqqQUpKYkr8NcKs3iW+YeJb8EHiwA8Go+tDpkrjsr2fXyBtj5QPwKsxpeLzWalPRI2m9GEp1tfhUXXjdq5JRLMvBf248rIR1jopZrqR/M1nSR1FvtLgPhRFww0LlDNvbFLQV++8o0LglawRFf8zW9jQkhB8Ik13sfYcjw62PYFmVB1JP3/N7dhAWQkZqiXaFOjqAjenT0NtYn2JaxWhbfTwZpEYlOIX3P9rlgptH96I0DrJWGnXNIMH+S3gO7TR110/vgPmpTJmJCH6DOXRI83lXGha9uopI2tTJwUDzbEkxsmD2h9b0YyxKYvbghnr9o24Jfn7vm9n2i50ZhRsj2GsdDBChXdnqmnIQOEwuv+dnPWwswtbhIfsehILS0Ui/ut/4XYY38nKwAc9A/jdydT2j4dIT4TMl7zHJ726LGQHiWU9c/WTqZSgLnunFxjnwfSnWcfxN2nqLEdWjCfQXCWRkArdPc6UnqB/uZc7QD3KLK6c9HvFb7ddgtHVBJ2rdNNrI9p4VK/6k5/dO+r3vxK2f+Ifx99Cfa68Lz7ZqnLx72n+JWrD/qculF3Aqd+7k6+HXBnrX+0Ow3FuSzKeAnMksLBP/gJKpIVwWDauOgDeE3t7AR6rh79FDWrIz2ojZxAH20jnE5IRo5NfCKvDtyoq1VjV+28UmbyoMvyx8UIgzmF6hsY1bcyNwVosOdCdAqEpiv0JbxvJ7zyltt4WoYKv4i6lfx4qE/6PltAEmRdSVepdab0kQVM/M3XoyJNQb1bzPJl5NKX4vJ7c44+Too8HnbpANFXiMUPp9Bc07qBPWQCyDA6x2y2SC1k4pomJ0K5u0blph+rUJel2oua+pRQfjbC7TSHdFRyT9N5Ael2xWtdsQ1IIgJ4HddS+9nyLmiGXL//hWG5Yz2X5vbIMNpHudqFnY540j0TV8s1jacdzqax1ybtacAkHREfa+VOKiqc0/rGJ2ARXMrArKaSbf1s0UHX+CtMjE8xUQFNtKHQ8b0FToeJTi6aXBj+jsysIKZ1gpF+59Ekzzsv5fln9AvPpLZ9taAkzQoBPJ0EjL0Ehn1RXiPzTFGpBez7fGP8Joh1CtSt3p+laMO5EI2oWn+4SiTcK0WUpLx3MJswwurq+abwQgrHOCRu1198dDd9YxVfrVKQuNuI639KYj9XikGvRq8c+whF6NnwzcKjdq+W+7trJgrJiRBDpvNREkZ+3eAuR+3SBOQeGhL613ZDNx/TA8mxdEh5H+NTYbgHFm+Jq/kSgPGBbeMFqQWf2zYZp/SbF0ZMqZxHTFxNub9NuELiG9OruP9Gouc+5jTV5Nb8Vy8BeagkwSrSTJVGkHLnriyvZob2P1oSGlulS13LuW7jfqYpmZBX/mbCy8Q4XpbYDLwyqeUdl8SZK3jU5bDU4PRcLwgrTWQQiHrmASnl2Hj+YiP2/GeqzLBC59uklQrKUaQqZ5TQ7SNyN9ISDgaz/G9alWb5rds8GjYejhwKDpFSAvDHD5W0C+2oHgLipYVIv4/I9zA98QuwOhSziS6y3NVP/2aennmoyRu1WWwipyDdICtB3GDFhJ5nnbE5/Ip+c5jPR+T7XnQ3gmHTbAso+lYPLK1M73zEEfQvU1P+PXH82hYnXzkTs2fgmoe5K6ht7EoRPTuvE/+oIVsIaMiDJWbDrXo6V3HbBLfO3d3d2zic/LKRMgYmpALuJigdNV4lbEOEleako/xryMMmTTnQmDjBwhMAHgk/vUC7fj6HcJSuUBqhXy6zwsM26sR8u1otQaidAMsFmnCrK4Wsa9ITTwq5ixAnBGjCw1qYhTFpOUhJgvG+T9iCyMQbv0GDJfO13P+/+o24QoLIBs8tlruSDdM42cla4AuWokF/HOvKMchi044S6OP9gTMX1RZJ+qDGZoTWeO+6uZmP+zYoxyEpPblnc8XO/Mjln/7kffbHgepc1P0JARfQQvw+OrH24jl9IA+/7QtdjBMHgSkWV8r0e/ajDUwh9ogci1QnMHe9/FuWkJo9xDL3eWi9ZMpd5Ou0v3KFrNDyqOkg2Qb1seYUNay6SEx0Ckv/2kRGExqVZ6+HN3tnqMSqyvs1fiQpzriPMlmSDWNFzL/riljnsJBjBpZ1E5wYjHz72ZeI6O60QjuJYQdhJjgKCsxTGDcfmRYzv8SMgtinn3wKrqdGJ5joprWFMk5dt1d4CZ669czd4UnJqST0fXrCXztUiFHwWicZQLZMw8oC7T+opCV0icNimoBH6g+2hTTvYAzK+TaHfMhdkHMWj07YDUAKEToJjckot2AleERepq8V1RW3VbcecG+U5vakIe8PITMRoKVDJFxxPwDpSl0wQebmGpWxlxXorU/XMmT7Fs5BYPhyx04qZlGA3vTFZ048LhFMTapIT7jMPZsYWZrfJ0f6dLFtoVmZrnM1Xqpu0AAYGHVZRv7OJIu5XmSGY61ie/fJ6Y7qi/BXnoc3Ct+EVeHKpChrJxDxj9na8jnT+M63C00jVR1JX8kNF7/nIkNnN3m4EmxwqFJCED238C6BcOQBNHoe9yA/bHYbbs/BPfRcFj+gxevslfU2NDR/kv8NRu29VFm5tN+we4FyLbO7WUVMd6xpxgXlc6IMvq27ibO9YPRKYgbr2CVQAvkcaLozGyrkD3VmYCHv1pjiRIlzfNLD1n/VFeBstf8UK54Vdh8+66vhpxUMnu+t3ncXO3HFZNQ9AysRc28dn51eKt8ewHcUgJ7dKLVX5k+8a23SzSCW7btaohKp5wWKLo8+a7rgkGRXWzWupcCDoccBDPI7qQLHRs4l3FsCAdbrYd/uAt44VEmT0FnL8bvnnuZZsQTuMXbXKN51SynvO47Wzy2NbGtSERn3FqO3ftHtACa0zjNMBygFxJcvNuOT8SelWX5FKLuqJ6FbCgp30SwdfYfoldoaKB24yCbFPdEEO+OPlm/kcgWTY2YJGWQBMp9CyrCknH9wEFnjAuqz3aoxqnsIapeUfD5tn15Lcn1ahyFnaTWNeI2ql0dxsYqXugfEU8e9I4VSYNU3y8+YnvLQEUL5Bzas5d5YIADgBVFlMLSyO5FGn1S+cxmLFYAnYSEhxfj36p+doxltkPb0ADSgjbxQUmO1jAdPYxbXHZIAzLbNpLjvFE3mhKi3abDm39TnMzy8KX8EhhBa3N9/dXlDRs/2nE0JI2oMYV6AUqcXaVKAbn1w6tJkcjRLNA1GvHs4bSFH8wzecf45c1FjLqN04QkJZOzKb/77ZyboULt5zTUFEarHTX5KmVf3qW4hebxZPw/CqK2noTct7fYbaZsxmgqZmAsFkTi3H6ulKbeXQRGMUUYMSWofy63bzqQ/bK8bFkUtvDM5ZeLGBYIeqKBYNgNYoNNrFrwzb9UOO6eUsqmhW6H0dIA6wDjXUkkrdt5m6p0xMnWRDNq6U5/IWQXzYS8gZBV1PVF9dfJjb2DoprLjWEnKq7bT/klLchzipIzOdfQ/1S5avOCZT6aHUv+JI9q6y8FOBFVF5SBENFDAEpL3rQwB7W937lp4jmoOCBBRHQJ6lRU3gaYdpHl9aYZsdPn8hkYofk2ez4wavbHLvOY+7L+EEkZUt7iicklkmYPhaw09pJZSGmtqHkVm4GfTy7GcVeS6UETeZ6KtRGUad6WhKw1t1fJ+Gtin8+NiqYtLOypbuY+CawCSOkUz2+aTmUP1FeFVuUZOvZ8tVm3T6oKtpLC/RqyXw8jUK/Ro0gm83rrkUNiIrgs66DIE2pndlKmDG6XiuBtGTwMpJ1WucHMB63OZsAuOCk/vlyiSwdTXlRtAH6xCyIvqc2pJ/bAwCttNz+cgUdxEo7Mv8iY7qd1ftyjb99j01/FLjPzMlbst9mYk54fv65U46jVXEX4hNNQ65YZXfEThFwmub8mGkKqOlL3viI8GzgPSDVQZcOiFRUR2Vwl4OyEMrpnibq4qb+dGkvKc9BEb6gZR5C8mOb6CO7RD43Vd8prD6XzDS54ByOawhGjnXu2YRoQHHpbACnLjur4dEDUefHQigYx49XM8VuMtWo5WYJFbe+dbciCxu8dDTKLQvVV/ZK8js7vfzUmUgXqqFURnQAG5XOACu3ars0A/Ud7bF5xCpGN2kMJm236FEEYj49QF1C2LAUYa8rh5y/YK0O2kJ6OV/JgUwZTXTm9Xy9mtwoMkoUc87mo6MA+RyGvI7lFSLr+U/UXfvd0HJ9+yvf2PFtbo+NNRKUVENVDh26nfj0ohr7e/2iUJ4tpMX/ETjtlsOpo/aKnAqSncL0h07mx/1LYWjYOUVC17l/5Psl4X+qaGWRXvCHmsGf3W5U/i8hPHIhHEG+siivNZr0m3sXih3OYAtodwz+F9tTKTNy2NA8UpUUA7W7jUlsnlAQinWWuBw1F9wEQ2F/96wBtLZAlj+ULIkpG5YUN6WYZLZBaxkx6d4LOaliez29Dfyy+Xt9CwJyRSULEdL/dmgydGTK2ezPT8B/9LYGCzyu5yNMAosSHKOmnDd+gnYFQN9YTK3w30EyCJTUpJNek39MVo/Oxg8sDDwukSnSUTBC/kwxUkTCXdahzLMa1PHxINkYo+l9ZlveR10seFM6JAfpM9L9WUoHezEWT4rYjUp7N/2z8zYhEMNzcVrbkXQ+JsHEYa40U4KHHhVnsEOezrFZNTiupheyRJozOnDv3meMPGIi0nvQf7szkn7eiIaN6LOlcEi7YvlnOsilGsMgJRncVnjYr80hDCSYmDwBclQ2gEunGFUutb0QuWdO6ZiMfdc3fB3yM7KDdta310A32EAsllh6gbz4L3cLKjCyjmopxi8RRia+rSZyHWbtcJvI02tc8AjBVRNr98LAXn1wfw+2NUApHPzicFcijxBEiMYTKgagL8Qs3/iJf8wZBZ9md6U1ht5sevT2fCiFlv3XX3nI/lV5eiC+jjXawiUwvU8Aa2+SXE58wJhGbhttJiPWMmYqsH+nTyym4heG5SSsc/iWVL5iCKIsSszB/ceQbHzF+CQCfwumhFbebFjzqQOPahNawnGyDsYVFu1DmRpz0Xxt1aMLGTCkowjDkE8CE2lAoOSUOJTuprkJ03Rcp/G2x6RX/B43/hQrCQIf9dB7/ws4iiilIBlezDOkiWCiD6Vg3wg4anUVA10TyDh8GrJCK8qJEXxW73xfgL8xBO3h3Oh8GB6sLp/uWzwowypl6TDzmuxxGuXoHuHLdmNtX9ZFL1Dc1obHnOSIqEIRe5uLUqG0C9TQdSru3By/JEID2hOx0OHYlyq5NkFsYQTpplgt4eIHZSAvfwqWY5uB3Xd3Kcj1uJOkkkfSjWRSbb3hJ2oE0AoJUg4did99Nk8lNFb5bS2dtRA3t82Aqe5mco8hqWVWZtoMtKhYciBSnBByzOI3fJ76DJUNO0lsSXRiv0TcoWE2F4AvscoDvBvo0HCqzQGaEu9BsxqybKpUHI1cCqayzYCJreHPTrdkfR7gCIjTCSdbBkWzJcDH7SNYqjfFrGcFHVmkIoLPQpbe84VdWjxieQN2LTpFIxZN0iWoaxxyprRoWyMd5dk8ppldIqn0eobzzuHP8DS7c/TcSoyBR5s01TTeDWzZkmyBzSVXueivmKjtFvAHqzkP8YRvsWRsnHIm7YpcpTIQeWn4wji5sHvqK08xi/uOuAzs4fRehlx4QPOuubxk02M+wCKibBnuFFhxZVsHUlWCiKr2X6raRcW7kGHxuNfbtoFDFYtJZ4vQAsof62612oIfacJ7VfyAbKRdFhtHwx3FEH2xfxkQeX+3kHQmLnRTn4vS/2EqJGxdzgnv6sMJic0jYUui14yCLYqtaZlGYi2yWxlghrXHP9QfIBcLcJ+7LbQEeAqA3E66knBy+LNPsG/Q8e9HgSV2F0I9UsjnIvR20ayeA3P+Omia68XM3OZ1EvVmo0vZ59skj1xcgCFoFOVWYITJmlfyPH5QB8rd6Pr47kOqHO46yYcZ4D5hBuQSr0bYZCTGMHGrjK+P7PZ6CaEcWkQWDUoC3LhmSkjh/o4jfamGqOrpVzRto7i4r0Y19ltfq6/ZfuK1fUrVhCPlQFLYd9qoSHU5xy/XRy9HVlv5q+uAke6LzKpVai2x5jnUySxpIkM1PQbN+aFhVE/sSxkG34G5OISYr53P1ZnpobE0PHGA+BJ2lU1QCt6kqrucx6Er2Th0DZUy76jpRQSWSbgPKUZbeuWp/op5UprfPnBVbSHKyY2PUGAb+h5+fK271NpBO5gbfuYPa4iTfQoFbVQJs6w//T5BGUYjnpvIfS3h+jqd3WjBC2qZ6zJKCBruQfdduk8ImdAxSnC78Vx4QRifi3TXc72qAD2u4yLHTjXejb/56S8Ac1BfhvFvrrpocwNBFGoCXG15UVns/E7JZ4oFLA7NcDmifr2Qpj66is9f3ZqH6Nn9Qfz6EUTL2dtHurRJe6Fw/aAlyqDIb7T2yxjpL9NZ+WijGZJNpZdrm4wWFb1e2HrkhVpnaza9KX96xoH4aUuFp1PA6X4LMv6JIGu1uvYRyM+tsO4X4D0OzJqVX6xgTtzuBBfEp4qz+XcpZO4b/4llccuLroRG28qAl2opPJ/SUFMO37tWlZ/9/oZ76WAQgred6HT8cOAJLgCY4E6FHGX/5ZUVQGC8gxWOFnfRIWiF0vgYi+7amxrshP+BjXwivJysUl7eGKctgLA679KnJb1vT0A50hPOmGMw1GK4dw1ySDNpQ3npIjU/wpIhlipaaCdcGe0ALTRhVJW88ABvh19bxi7LXkp3jXIjYbJhDJJ5TEaYZi8fc79TTUOktVTAXTuw7GcIsDVZDmtwjeIKIQlGAWQ9CAvDg7yDGRphy8+cz4r8/ea22q649UdfpIEyeVwHMuafAmrqW3XBWkYTOUyATX89pL0C1yeR9TD0Mwgo/DppD4CLZydNvscWXSE3Og+4/NMGeFUgamZt3KcIJbNZT4i9Sj7sBdY4QVeqY2UWeoqc4yhjgbZhjYYdSfN3YMpEnvqvOJ7Dz8dZ5C1Ly6xw2QhSeAUHk0AHomb177gwnEMxsFdyBG4rhzXx1/iyohfg/bXp7XQPSnTVBw7/0kSDupxp65Zh/CGEgEnEYlnT0Ay9Kijq3zIDbpqEU/0oFa6zKCq5oXsFr4w7g3cZnT1nwu5QtnL3TneEDJuPgtvV/yI/TnAH3QiokZOpV+e8lwTrQkxAr3J5ZaEqzJC/qAktpmXpyac0dCB97cpdIx6kSGGehAmBbGcvlkyV/sikVBXXvccwIrh+3E23fFd5NZp8bunYoA7HmYqDSBpncZ+dDz6x4tV42tnNeIly2/VYlmYCVHV6sQOOgxkBxz+z50vYKhVKx28/8YNgS+6IIdy17647/3GCxp+OPQJbcY6kLVWBaBws6yy0XikJYzn0i0viQMqQauZKH5gtCMWgkk/J5qhutYGroZibIpZKjSzQJvkF4qnoajZ5OVvzofHnPRzbl25BBcsYBXlUYk6gq4/MXmrNup3WlsG6Ro2LSHa6xzU8xOAm5l+azxZVOKfyFoITDmR3QByLdxI1NtkIQ0t0QZ079ipkjMTQYss4lfPF6OwnxQqwpi5Rm7h0lkIorWPwxqyXRKduDF5friXE6N1sYk9O+COZmILQ77quocRdGAFRq03wJXCDifoSrg9jhflVf6t89ti6jVzkKOVVdUPR97g1hjpYPcvp0ldy90gnLFIk9HkyAe3vfRtjOlQ/4UmLy19mRoFJJUo5WKa5yHiqxBOpf1OjhDrx+pTr17pZ646/0lnd5t5fNgtGC620s7mjNxu8D3cSOBcnZI6I9wyhMhljCvRUQpnSHE0QdMz7HBnLwGvCqaiuvLL8sjAAFarjyo1DStRZvYetCdYbmow/IqDEBinWhBj5vCLtsCCTlNC9uSaleshwmOjlmyekFrv1Utu4OQom2BxRCgix8g/Sy+2tA6Oyg0zYtvWRz2ANFr1v3N8xdZAc7ptGNSP7u7PPbNBvXrVuFvrhuMp3Lm7Cp0F5zYk3r3yHpUXfXXzZqV+dqy+Dzb1V113vVOJHQCPtI4Xbk6BZKVDGGqnTWb67iGFfP/XjxKygye2KlQDn7VGVblNJNTBOBTQQD7z0v+1o9b4ePc4WMLIKMsuUZH+OkK1aQtXOruEJ5LY1Kjwn6iluqW0MfibNocxTTlfkDnqKibEhubrad3PQgnzXIUFzcJiLNSSuB7iTkYHjg8e7yC/tdphT0RST09KDLlNNsG2U1nTu9rRsZ2wmRTAbHj91bOO85iSODfY/2eZLGjOy2B0hOrNRAFPPZlP1TT7Sp4vWmJkIjXEbBUB3ImsukFvYvUEY0r3Nlyj0WVdX+vuxD6fb9WuKophhlHStn8MzsOqwfaVXLilOg8JQRydtnjx0zmEpNSMDan4KNQVgVMC3bbuuXsnJ1CaeCkNucJ+rQ6H35B5a9E9cve1vvvywa4jQxX+WQQIwrG4ZKNKc/4ge7wjhx8M8wUrEJBWacYpVpphpziFq5UE2uUG8N8WccKZ1J6B6TeZgjgoYYjuAlrZaZ+Fc6sv937Si0+sNIbkewpTCeAneUmb9J6kGqIiBVPk0k6Gcx2SPMKf1i/BqxJPXOMa/Zu332iBcBaEexkbSsYVzbli+zkr8mca1sYOe9SzUKB63JrmSMUs8DVA2xAUZ9BbMRjCjThejf+YHRCZ9fYndvvhqOrZFwWYTVJoYVkmfeKf5ZEtkA5EhqMkg0OFhI2CNV1vkMv9BPeIcEXmyl9+QhYP+PwWSxXO2hrrR7G11xTxmOWzpABSM4S7XaC8dRZsiMyGuu4ELp0aqiKAJNKwJl4yhRfvnyXCj0ANqydWIUJCErIN22vo6Ro/Dnu+yMrBEkNMG2sOFaTf5UpCh3CNx5kwmVbfOSF3QrAOv7YIutUZqUxp0w1Pw8HVYWUSNYu95AF4qzx3NqcPuGHgHduOsrSqdlfbQhIw+492MCZxlTWfhLQxe5byjxP3+/VJjFR85p3HFY4OuQUV170t9bnHhSBjEh8s00F3TQ8wggXj4TYRDzAah6HQJNewc+3BPkbO4LHbzc368bwtk0qvb2I6B3U7JIO4b7iP35ioELx6wqpwjs6VLwHiWZTn4Ch+p0k9GDB/nkmdjUBHiJZccPWOJhwahB/ItmravL0YLhDcVlP7JQUsPnWoPu+5kc4kMv3wuWMg7fMLDNKL94dqSiI3dQk24LYwVkANnEhUb1GOLxQkoIfVOFWy4lsHbJznkSVRyXHXvNCMOChPKL57DilCgkuS5dJ1/2zrwGc8vESGpTcsxGhAM5TE64DFCkfX+UPCr675Z7mduI9lwrHo1ki7Bd2YawjaRoYeGbeMvPPDoP21YYKx8lxpxG7Aq6MkSkqqROo8iCr3kcjfKAtVbJ1E9+gSAb5tyvfLTVcNufJ2VWCkfjoMCZOMDfyLEjm/1KV9OocHTvurFBoEVwV1rk6RcaoO8oJT+GnvoEriooGsbCcyOau8cn/OinbTWB5Ax9nMd6k7rjdc6ibdopvlqlXE1R0UsnKGic7Z95zUFVDo4lL5PWEhcv//uTWCin0ZOGbTTceX747O5JeEBNm0DTp4xOYZgXCbJqv1JVFCUG4FsMTNvfawGHpFDYY4cNYFG3PM368MF56u6Nc/mHqkkBlp2f7IMEscOVzxA5SuyA0GIKS4QPS3G1VcNez04LkZW3SwXVAZR1I/c4plloRqmULdNEDdIsG4Ec9O3+1VyA/1J96gj/atq65LNl7u88FdytyJ1fTA/+cjKeH63+tsWTV6rekvbQJkua3JCuyYq1zGHcUeeeXlyh05i0C5DJ9MdmcWffuCy3iKKhkTorinyhFB4K9sq4CA5mYB0//+caVpD97rrVpoy0obOJblZNm+l7nmE+p3HELyIcVK7qgm3Tz+cfdTFZXWrPjMf7tli5WuNR4ZVBdjCKgdCjm5P056d9nwbqssLr1ZL5pXKJkgNPCCAhTEAyO0abuINEUB9ZWaLEBxY2uJ9es33WsCcsznyu9Z/JPov+CCyUk0TG/H9Jcrx3S/gK9unTqygsygiXs+jUI8wyTxQyyke6iqBWK+l1FUSwuF5lbAdA/AOmMADNjqakFkihVhYRvVHc6B4BC/Vv2/x+yVnSIiBW00COcHn++n2ryWYhrtehVC36p1AijguSLzRo3eumPLPRswpk0KL1Sy2V5Zkz3gsPdVCEnzH1zXqoRSGaiCSofnfiMhZ0ESVrlWCkDMEt98nRPFQ1/ZgFHnpqAD1omZoyyqfv+BtUYmwxXqN0jbtzbc9L/0Cpcio/RcXtnoiUpNhuMtg/hHiMSlh6ZOiufVZ4D0Y3/IQwrgqV3YFrDdJW4bdHuFtvmLygUz/AvnZ8P5zPDYGrGMIRdkmwxet+D1uuE4NEw1BNS/zPMuJXsqoe2epgErMfzICiwW5eAUXo3SBRWcVXf2OqOVRzID5yqUq76p7IbU6n9qDbx2XL0hmyQrVYwLYeYX6OEgxNPP56Cfpgrr2fy2s8baXnaJuI9fb5X08TvV8zWmV4Ik0DEo238pEH2Nn/Lqd2LJnoUGUuwdjwXOl3k1fxQpWsjoASgdQXmAlbNPCKeCG6mihGYusfFV0bVZvxjE2LKKLx7eTyuJltA29veEV+t2Q+LhO5Cy4Zj1vVTpIj+Re0Qonxexu07S1yrSmzU1eGaLd8PbTwqT0COSubvrwyIcW4hV/XdZJ7tKUu4hEFY2pnTwbBHmUGYqu1xUPRUVuqzpW7NPnmcMtE3Q8aBYMnlecLouKy6Soam1MV7MdoU+Tvs/0m2mTMW2nzELRue53bD7IoYVDWWeIHtuR3jq80qVgqx+5hO//JwZ1FvwV2g8k6hFG6YUFctfZJZ7ETwB1jK6kUeGUICwOvYg0OR2jQVJ7hrG9tj+MCbHc8aepXXTT411aDKvmsGdeEFFnq+bNuRYzuIhsNOQxSQMldu208TwHFluwUzNLIyetVKfNXW8QlgQqVYsfISgxxTfJ8DIxoIqk94V1ilbQSlDjuUqFV3N+RZfeZioWazZ0U6/g0aAUItWilIxgcrrkojLgWPtPNNWFPLQSMkQkCVJgAgBFPrMNuhx/mLRXu7zrdfTDrIyDKOboIAa8InvuNP+rdaTixkeJICRehvHFMTPWx18sEI+63U7gsF6GrMckL93QQnPBM5UeYek8FN8z0ZJCr6chmJvHk+1RBnedtXahrd2tMK0zWdLtQb4SLj+gRk4VgceY+BthPCwuySHD95Kc4ueRpGlpZynkHNIMz7Qs/DxttncwbVQ7tFqQ/juv3Rto4Of9vQE8cIv1E/ISxD+T3QoUxxuDmqJl+MmvqYxk/9q8wo1ZzQ5Wmek99Ijheh8BdWqNs7lJp2dZjvHKyRTDoEjlZTI2105bEeykox7nPSEhCwpHzu3aM4X28lUP2MaAb+FPtgbvxRj9fk27ssfR4wSmEJBsRPFXkiUUEzyK7oULzg8zO863BHPf54NsRPvIS5vyYNm2vPU65GWNt4g/WbLY1nSJAz/DedjDDhcE/K8Js+LeUkt7RGTmINAKAsSPhi50N3LdauYJkfILptvaRLEexpFGD34v0uhXroci5DalaEYkL6WBEOBlrepFt/fZlX5liyjnKyW/8duEz+NMy+Co9BrSCJDeNeuZcRQia4bq1PRP+ZFrJOZCmwRS76pIG/+b8PMN3gEPLa1Qn9NatsDobrbTXm4Ncg9hGNIkW2QDNhUXp1oQ+EjVtfHF4DBQ/tZWUiodPWVivMODrsIpzLgr58CSuT9DYmdEVzaIPFkNBlote5jUusvrt1rmDNSPNZAOZ1q+ILLNJnekoAoSfMoHbqPSt77Lt0Z2+xUKXv5wdcy9aTeUxL/d9KWSNrqpHi9HryG6KrtbqbW8RkDA2iPJ5i0ywztjiQthsqlfwUdLLZFdfOATz0MQN7DivacM9O6eoJze2wC5Pbk+1rYUXbdaVEVIQzb9pVxHAMwUhqUulCkj3TDNX+JaxD1IyH6nOraPGCMTQUtr+2pWcs3RpNVC/e0w2XHYDo/H2WSvDs15DW0kQu594cD8atsavFwosgVqFrkNR7B4EuODZRfBITN6bgc/WwKKFBBE30Zz2By/NOKZFHNq4TzMJ694it6Bi7YTJtXhLlfn2LQ2JnUwOjm6gfLvzP1bkka3eO44HgHJku49fVdUWqCrKTDA3ZuDMb4sRNcX0KkN5vOg4EsRoTbkV2MMEeLszCmSIzvSzW5ygcaEPynum7qAVgiAcg+z4Z1TIFHQJ70TUI5GKsyVg+vu6aFWbDZzx9jhSH1qniuZK9L8JOHyyn9SfT5ZT4fO5RFYXTAFxjlRY4EGaPRJFK0ZaGqPCLIwUwS2CVpjWRzt7Havq/mDp0RguLHSog8Z7nNJB8Zn5vlHVj8LszAGDM64u+QrzVin7s75a8a9ON5bvI+p05kimP1vVK4WicS9JZj7VQt18fTX4S08anDPODz3enXddJZPOQpO6u5FbpwoPuR+RVjR3bKxT4LMNon/7nTOACaxsuUz2M+5pBVrjNCagctNvSlGzl0I/f90cvQDrAqG34v4aHYOUzE5o1EA/tQtgHWq0L1jmwGqQ72ZepMEotFuwy6FGtipSR6Lri+BQOtKoJermGe8rQx0ptYN62s6llupFga4XkThLtyFsncRsBk5BG3dX+Qm7VUQ7+xuCnk7vpJZsLj7sO8JwoZwXYmpS21Uz9qIM6tgnG47MHkUWqY/k/PuKph5aM/rdclRKkIIUAKz8Kd9Bf0/rI4dEMS4g/pGUk+UQ0a0+31y7bpwafq0sRLkaArMLd6hmVxRpZgU8GU9qU9AHt1rt+dWRZSAE9DHRNfuPW9k1fcsjqc69GzMcQ+nJjFG0E+LXeAj8qvfirVLusJRS9rOUfb+6DAA4f2pNtBTMpwl1P98tizSKaZAbxE3jOJSWGYryIRCPOC2jW/lkUUJQqadQmSj6cy1FdNW83DXYl2CkckLpn6+bYfrFsUAtB9LSKnmoknnY6ER3TWFvcgoa9S9vjzWUGM/nZLgreOn9sBmGKAp9vMmAunUWew2WW+8ZQlPvgnwKc8CPE4k/wNM60Gpx586JWZue2uAKH0AbL0t71oL+FxxsmF7+wgi3+EwHLozda+UpPuvLJV+c+/S4zRbbypG58uZO922UZm411QWd1oILCJ3fnF5d8hNUO9q2Plr+0SR9l8psM1dyxXS2baY1wnbYZ06JS3g4woALSMotxneInkGEAVOiyWNs6m7KcJYtUcTbf3NIMWFpCUxzblNVKNjn+10UzWib6DoP9VQkjGXmtxp8pvpSG2J8xj/9ZSJhenKQj51b2WiCr+1dVTkxqKq/tteimXpi0OiXMGmzoEXrhAS3OrU5tAHM/NlyDEUfn20Cbd2ImzB46Z8FCnTEXl3IMzKXrgWNZ089Znkw3TJ3x6/KxoQXcxGQNYH0vKksruCoKzX3hMigpEc8eiYgZUlzl93Z9wtwZqz1kVIUSDU9a/NyI36a1TLcV276n0R1Q6nYsHE+TLFOBJf3WX2T5kS7LtyBOS9LgX7Uc52q9qD+28MVbIf65lJ2A0w2AKsqaEgL/KFEmXh0EJlnnPh+ds8cnNuSzqVpqdRHuzXn7j8NU6zCnzUE0L9Tl4LpwJIn7JoCje6D4vRaVQVsanEVBF0nCPmvja300MW8gxWm9AT/g4JWH/wETVTdoj3o81ePpQhR8mYsH+lLBXP2YOv98G7gqTyOWsvVyzc8u8oGO0wNJXZT+1eNddon73P5jAZa7n/MTbuBbXD5YV1zlgRoafdS3wqMeriGglmjGcEbKknLvf2Nx5BZYG1Mo0CQ9UQ9wOEEQTWIfWsNsgKxHupHU8pz9+uj5xahOxlJDivWGj9kAm7XwKKoNEeP5BKXEEN+HzMr14tsVTKOszIy9ru+rKNjRTiGGPGu54iAoiUmbQvBK+EZ8tlp3csLPIlZkLS9+kLBVgsqHXHkTh09N28Utd0SxEcc+l4dT1zOcHXbESM6JlF/IsdojgkZd9ByGTqhDIktRE1S4tRZe8wlQZ0z+29Z80eAce8Yw3X1JGcaGjb6OuCAvpA6D9H8uTRXuzz/g7GaAerKMNOYH0ONwKUz3K/N3SQUTb8EygcY9n5mxh7zxaJXMCrEgkYgiKDMVH+51fq3UnMrZjix3xc6kPhisGn4oxi/bKOhiaaeJIO1+TI6QTZoqbeqHGAImjQ3hBeguZb1ShZPG1OCHwwOIpLKdULHBcmStex3JWYp5c4Kx0F41heuDX6ssDL0f8zchul4qaABbrVzlWBeNj7b1YylVGv0EP5h4R8ziphGCsuzuG39j9fqYebAtE6wOMkWB2aZaAmuXxLhmZBQRhEcvBH9cUGDCWVu+mIEXCJmY96QG3NEEMcLVHh/y97kEi7+QcRQszSxw+nXmSLMnWRHfHoCfGDhmp8yYoMejlvD/Y5+btWDscWny3/gAEXBejyQWshdvlwkanKvzyu134lFCej9WIkU3+x97vWA+uyYWSQ7T9gWFfGTfkcm7nsDhw/aufCIOlS299OBlXLjo1Pq19b6Ib0Lwsyu6LozeM+Cm5AnljKnuZ+UewM0RGfv2B9g249WYw4MJZMUZk+I5pf0+jAERQt9go4fKgmJz7k+49hmTDqwX6a9jWMSvmIn4SQR9f5Zj2Tg39wfSUnFxi+AMyQ4JGTWXqCeNTcxgGrD2wnQp8dTv/FEqUQGXZM2+C2AVlSMmE2h3pQGNNttuM06LcNNw5tZ/elUPyGkXkXozQo333Brcq1uExKdymoaaMUrPogl+2IjMgIWqThkn2HOyb3/HulgSPkL4UTkjVbaY9eN/joX9fAA+2Zts/NVBbL0ZM01R97t28xHDaUsqcssgN1a4BYf0fzz+94Oiz2OMVRZdDiDzCWI+LkOqsa1TS/qSwzd7A7fac5TZTJ5mdW908rCa3m04XtIA1b7cgWV5GDsdtwRXEa7KUH0C8ou52YTO8GRH4wuj/VxU/jxyB/Zci4SolCRtJmZZBZAGjy2D1d03T9S98r0FLBKzG3aFNSQBebxPHRIUnunDw7Ac+y0ug+f4I/ObjDa7OwVveJb7nL5/fwwUOwDgJ6Qm1gHgRRhSppOp41ETxeN+Q6gDyHU4rZCxNGyADo4xv8DAUm59zsegmQogFQa14kQ685MPQLzd10YcbpmjfIPLhiv/OV0ep1NhkrSzXak3k/eklsw4Zdz7FVhw3qvPKqODXK6lr4Jw+DgXLUILT/OYVyVxRGMvW4TqIXyBrycN2q9CoecNLQUJd8e3VzvnMncorZMdct6Ee5DUN/ODxnyE2sfSd3+/Gw8zRqZJVpxJuXaSZCSUCJCL5Q+nVadFStSdo7xmilnu8VGcYeQRytG9YqH2vi6l03927bgmn332bRCl0H5dNhdm06kXjPGQML5nyaRZZ6Bn0jTq8CI2hvLyLpUleAAPdULkgP2z2gVB1zppctTKqi266oIf8Ip4VyCQ900AJLEBUhgMvS7EtZRJ96gi2pnlFfdZM2Ri7xwryM4ph73N8dGkVXyUO7MGtFnziKWzepxc2DhL7SZ2kY3skT4SZJnHsRXsfWkR+851FTR/P0wnMZkQiqG5r2xFOCWjUQDuaLg1z/Df/ohbBYmGm/moxObuSSQlqUiGGTilYBwj2odaOXXxihBcE3g8VshO0jv9F8h1d4nPgHBRa1keKyR4lXuU16/quLYc1w/83lBI5uKXvCBFWAnaVXBEB8DfgHTlU3RRGGMVDGkj19DG0eru6gQ2htJH2knrmaRfOljryyUbQluRu50NZxIhaMh+YKBIus2D887PQ+Wg/rFiHf0sFmSdrg4xTag2RPW+YYo/CSH7nBL5T/I7vOhGtpNE3gUBdmaFr/oDtWdu49SEFNRNgLD1CtCBRgEQd/q2twsYNonKjvfa+msGOQ3E9paESiZrds1GGJ3NNaaeDw0JiSNyP0NwyZfSBmmNAA1YLMeATTnr31QT8HTw8HP94EVg9oDtAct+cuZtQLFlJoGX8dsco5jVSdYP1DKRmQ7JJkmeW6AEVohPN12Dly4DCw/9FgHY50RcnHTOhTHDd1VsANfEqfRfNRJkKj6w2bL9fJgf7XOtwFaLy/hzLIXmwkDvk9sJKpXi29fX4mFp9SrSt3zdcO1X+6+QS2/IqNqKIwfkfUXn6dW7I5xANtgjy23rpGkVBMp7lsM7PYF9FwN63g1HXeEz1QWuMHGrz8q31843XVEuPA2PeN5gOBBPo9M7E6j1PhdimeF+8lNe5T6m64thkzWYUNLaT7cTqyh62f5QdNY/y4YUg+JDmTX7nYOG9HlgpMAwHkPPpE+9szeGTEIVz+JA2zYEoCOwRyrQwB/cmX46LdTuC2KTJYp269CMa517AnxJfOukgfwC6MQ3QF/gVdPxsbsmFgarMBXinO0hST8y2x0DonsHbcNCAt4EAX3YdW1AdDvT/IeP+sOO6YifEsFlkldhWBCm+3XSUN/aMpbzgdPeA8TN1kL0OyX6WMl8VRAHA4MHCPOqNdLq+ZmLEURa24NF5PhAFx9lgwpmho4zZv7xG+EaidAirpviqUnU+WXNJCE+NlVnl5MGxNtIQAQHBrvSDMfcwLLhbm2QrWx0dApFUxDPerxgpsyFH7jeyCWjHFIHtXsrNgg7DZy05m9vuFQZicPDy61ZaAkT1sOIGZtmHUh0JeMMbv9JY/SP+NNKfRh65rcoaVlx+QkjfRtxtZIv+aDX+3rpRlwfuV7VzSTuY8xT30V37mqMAydWCArvz4BoedaX8HFuYcJR/V2xyk6WtnsFVcSk9ySEEnrr801dBaGcsXXkLcBPU5zeCvDhR8kLByJ/9MX6a93v/Rl9O+81VFiZN3NGqbGINvTpdJ5+iZoeKbsZ5fRWtu1jkE+YDOCRYSKCraYmIbsrRj9EZy5WIJFcqt497XM7FgpZhn1lhL/5SKikBQ9I14HCNomBZ/RkDOeuOFZOJD4I5xuQeopXEwTItcQKMw67MA7MJOMAeN+VlN3+lwgTMICn1lB0dTLvTLOng6jYgh2KDY8hmZiucpJHD/r/T84y+kmol3Am+dBiazrIlCr60zK0zYGL8yNlNi4Cso+Pq6Spo8PmvHsKvKr5YNSHIA45JkBt5sAAJ/SnSjY+8zDwyW709EsTMnTCVFs/A5SUnQqzPcNfDLgFtwlH7F4A+jKpdzG7hAtkYMmyCx/VwbXFmi8kvUzQ13qyqxJ8QACsY0KYZYcO8/bukRWOAR0r8u2L+ESFWkgD6VpoKfA+xO8MsOzj+zBaw2SBSa0ivT1YqcwDT+YAzIzDwG/4Rq2wSfP9QkC1nZfFk32VS7I2rj5YoDJ/cdBqa6NvJSinqKFOuvJ5/czLMvVv6iyGF1BFd1O9T9Dt3YgxK7LylkGQQDAFRE7lnOfpSB4cpcl+CQxz/qivs/MWnO3bpOOY17r+uuURLx5IuIyDn77UBX+QTdncIJVZ0Ld7E1aiT9ap8nD1uBrzfwLs/smkqdhuQXZ0YPgAn7FD1L1WWHYs36VA/HwC5sfq3DSnzGW2UHmFMjRmp7RAxVobHzCC82DEucoW8b6NRZ4044KlsN17cWsAQFLqyYcFjsdGOPH5UF2NTt5/HW0Tr+LCBEpKW61kzbAN+xmxVohMUUyC6kXzeFBLYczlmoAfZBF72rvWwk+vlUNJTRx3eg6htlGMTYSHkmkpBZ40SfuFI/6Fg2TJba+ng9vc1kEcx02cfRqeHSE6NtI4dTqHzTWarY2UZZz1+A1KAxv5PVzlUxDcYL3fZdWOkE5mVUKl3UUMHmhsPSvjrSlDWBKV2PAYxAE5rD1hI9Rmg5VwWMVcGPguKClc3jDKkyBlmLF5bGQw34PeZgG5muKhT+u3LldIEqvTmOgIEjLFSt84HUzTi/jk9v1a3/rehtvbboOvb/u4ViMA4f99g5jxWcufsfK7fA8hq6k/IpfaSAho2Ed2liMZnPyR4ZWUKLqNPl4Ddl5Copjso1RRh1SY0GpeZH7OFab001iQH0VJhRISG/TiUYg2CFfI+BoHtDddoiCklbwq/y38Vo2EZtQ2rfKTctRwqWZs06fraPwRsjzPYlaKT4BsvcozpZOhJL6vVU5nYZTVTh+/mwR/HJWApQQAkxF0ksR+C3xCaS8REskhCuyY3vH1Zk0feZbz+W8WYpF0wrINQJuO0l7OgU9e+PBowACWp9iarf5ANIMI0OO+tA9xZjF7dtrDiQjp0RNZbQOGNnXBNKK00i7gDB0GYaldRs6J/4d/tesXcIRnScYXLAnH18KhpZaiwGkhof1dK15dOlkemDhWPzq8hDJ68lD7CqVq66LnsCwi26kPuxT5ZKV7Ag1c/23KkX4M6jZ+yfWl1ZfHlw+hoWRZ3jh9x2SfP/dTfkTwltEgB8jCZbz4MnC4JdNgG8KjHJn+QAsnl/MeLMgNWwoRRnqgfB7eHQScLgm60/416sxK9CxWjcmRfTyfMzfrLjDIHh0iuRlAPp5uVLEHRL0BdcCZDstU2DLGHYNfUZ8APJ0cXH4jX9M16sFN2+xKPgJ94nceEtVfnA+1htn7CltW2kUuXsYpag+qFfUdLUJayLyUA35w5iaHZozjTQBd/DpmJJOLMQTxIhncFqIKyzcqwferfqQXtN8ZBczdTvBFFBSUXAw/7hNgW4ANr+wSoG1snSdjZzqLqP9PsPepdOUJd8cU6m5y61XEc9jYolltOkW9MgxkxDqesbTFhtMofQjuJ5tAerAukYJBx1V3bOKfwKbN33qkGdlvevFBuKEAiecoTfQt1/JdPWdONHRxcwAiGFUnCPQtUBlZd6G7REgBNVse/ksVub7HWcQSI7PbKP31bl5O/F08FMVCh99+IkSWQuAZq1gM/6y22ledt5++VtGVHBBwH/6Zb4cmtnPtp9of5s1HFUPcvMAAyITSZOMgj0QSWKiVAKrli+aq/VGKZZZK+0RszsENaY4ufiwU6mgsztUn/goJGJbqJpHgCC2u7nqMk2dtulaP9hF2ENc8Yr3jytJmWy/HwhzYqaDCb6gqU4xReYj+ESm8ZwJT5UyXJlUnQC2Qe0PiOGAEItyaRMJvJ+8oKW+PDN1olWhYlISettCg4dRNg47JWbs3HP88TqJvR+3gGwqxbeGJfYNg3Bk0mQLTmo0HD4BsIwV1FborJOUF9S26VXWlxvO4T6CKver8DNGEEbwHX8WwYfcNITDufCecNz84PfYPdvvFjm5f61KKhvcIbZdDkkxZd2QEAotYzeP9wejm5E4wQlUPEtHkuW1iWsKzoNBqCcdBWE+MVqgw+uUiR2ShkGGLz75AUwW9id/S7qbe+RjT34SEleD9z/ps3R3qCxn4u244FoMckhg692E0tlDwcjf3DEedYkDEwonj5ULbXyFz6ysdmfobExLkd2VP5A7V9C3LrIm29r5GtJQ+576fhzgBnMSqF9ax3JcWOfacUF+lhwExqaRKBATjx07IgF6BdmQyGoDTGnrJVW+PfT/OCIe/8C78kJMunJOxe4/Y76mjd2wt96eGQw+R434hu6cHRH4vtYC5ZP7kPe2xJWqRqru/RS2OqKnOIzCWAZNSbVFo6vwTKEw0MTiPHW3llGen4KsYXauAJ8ZqCk5FDLTolgXY7kQ5GwemK/9ohaAckTrUaALZ9xiLOqXkHrhbl3GzedZLwO0eFVgByW5zhhRd3LgL/gWwaG8qLpggEvvNPuQ8yZJlrVOYS7cYLP7IX+x2PMMbztJOKmD+KD+zQAKLsPAYDdq0BmJYhOGIyHiaaSZc4hH2xIssDYF+ZwxOBUi9AGoqf+fxD11U+DrKeR8pFEI7x5/N6A5DdpSawsj7HTh2zaqOKpGudq0WFHvWk0dMWmRKhnhv7Ipa6KnZOwt4GEiX0JwraPgIXo/ZukgEtQaKi2AJSxun2hYCgtCkYUg/7pJtcVdkbzyeQgPUd8YnhVHeFYuRnnIIkQEmMkG+bwPSxiK/CqxR1BXDowLWHoguzIRnfYRb5fscQ3OY1BlJoz3Tci2+hRzTCj+T4v52tnLCIBt7pYIue7pKU604mrnR81uaqhYvtp7X1UtwdF5zCGHbjS1tWoTuMBkgGcS8Sy7VwHA6kQNiWk+iYG5Y2c0UENMwxIONnuX75b+z/VnTN/y37sVe/GXaU72Pb3yjvzNTFCaegKVEWNdK5rL1gNn7hEi3SUZ7Jo2S+V2zRXpEsCDgEtXGETAgaen8u9Zh2PfLTNjnsMBg3yzfJl4PWB13MWB+KWNeH7hfms/n8U7p+LPfiK+grcpydC5un4bOcwoldFo/phR2fqpfDCDGFb+M7P2DFHHbcTwctpr8URQykg6zb/ArmB52mNAaN/RO/SpC9c8zmpYH1gZSLS1Di3rvwxC2Sz065fCUj1whZy3d0zEbY4Dz0Cx56nEuQFzqpaxZ/7OR8eGpD5krP9tAxxv4slRUx0zvLE8+LFkZq3ovf2NS73ytrDViY4BdPVgDRzDOFVzFbRorlu41Cw/742BxKd4uscYVxpF2klor4K/alM7HTzeB35/jp0v12Zf7XR4auoMLI8gjzQOBzbGFfJmCn8P9qXmQAd20m03yO/jZYqmPT7GtgDkRsip57ayHGEFyvaEmZip/yOVi8TcB5106pzWXNUXwmGYWgGX6PDsuBUvnn+bmT6rULE4E7v29t6eOKtUjv64b/xdKfk1axAbhOlOQouj/a7yG6UlKoIEjCwGJRcGPajcfxRFHQzw+ikWgHApH0DCp8+Nyl/R1EmPTconLWRKlYCZ6SuD0GU26Or68wXtIztUHnG3KmuGOndKpt3HWF8rxYJ81ndmSoRhGQiRj8VSnzxrGQKBR2SgwLM5eiXQeKZhCWE14pjIVCsGa8+bLobAB+mziKlleFEm7MwQ6r8scDOuCSPQJzB9eSfm9xsbqHDkhzhS7Jv4s7yEMpP2Qdbj0cN98BiRMPDKGpLypDKaccVucdnEtDcOSAKu/etTLSHxRg8uwajwlIyjqQoiYxnVFXerqeEMsiKsyWmwPgMpSu9ts63w6w/xwNCs/YnaDuOTNFkpJnF8mRuAB+twtRG66+Sc3nUS23OjtZG3IMnAaFE2QxGFfWLhp/C4BmB5RhVxnVMUDngOzY9vTQdnG9NeEdOeLrHmnpOhv/JM2FDdDCxlpHGNtO7tx6O9Jv/2/ijUANbTSaAwNOCIP/vhK23/G8MbWAaci6LpmmEYkabfBX1IMN9qwmWcOYOXsxbLT6qVTPHETy6kUZiKUBESkW6BnZ+DRpJkFkQuaCgMAChoQc/jP0kwoeylf32cG8qfxpm9vFS86caQZiO6Rz9xvu+lr6YGR/wtdth8mF2kzaAVjKUTrPVfin/tW0w42O8Nz/6qYDuoGAxIwbofeP+8Z1uAnwjDyVsTOOeJh9xaMH/s/i8xytuVusmWG9DjSslkkdsR+Pp3iJTqvdnu2WHetX6azDlLaGNTK5bDRNfHY+eHr6P7RkLIqSq9osLZFdHWPN9afklpCGeWXWDyMX2HSfX6zmJ5P13yIi6ZQ4++k+j5DzoFNAtbv5pKskqrYbHrEIv6aGnSOZItS3Av9V5DETPKT/sOSLjztT0QneyCTvvgMdnhBXe9xKpAJqsjYeXUcmqBac41UMbn1DC9ICg3hypOGnjJye7kfOY/ql3u5w0ilTTlCtoKS4X9oI03n7jV/4yKtbmHmRBDIWOJ9zIJjfciQbWbF5I5jYseK2ldZvD8onusX5ImW58my2hPhgI4xIEyKJ2V0L5J/KQWpYG5oGhSp83K+WBVUtCEDmCVY7VcNRL+VIA6FmjDc1RoUSiU49hO9TCk7BzUFKR/THLR4w3cnLxYBjYeZK0t8AKgL4ezwpkSuSTiKtjXalJTKg8urC7bd0iIi6QwBnsG7vx0D1303QiUB1DEyJZntfQhA/eAbs84dtIgsWqA48WEhv9/1tu1dxiHtmKKrGKiaHBaGYU3uJlauhDf1wZZv8Y0nvgtFaCsJabrFrxYHeL6MqwyKVKcbytjt5OgYZEa4OcgFVIj35GLm6GywbyHBsaGWntam9hKFtc1Q+EEpKxAGWXseKMoseg03oykvZH6XGdmaD7iZj0YLFC4+W9nEgvZkkf0ZhKVpxsxSy/93vhqw/cv1XD/0Od/wKX29+tZKBWiMsEUKYnBM7p3wemN8lPBZxYT5NQ7HNg4MkFs76j1ZXRiW2aTBhABjBrctcHUf2NdZ0j64B0YQQWOWaDjVGFwb0Dulv4k3KuaoVvt/pe6tL2roFoxB1ks15BTN//aXBn6jbE6kUJVevDhi8unUlfbo9XkuYvzNSJIqmMBmaPldiQQuAvAMo9MjRF4YMHCtbLQNHvTQFZPcGkQyFPK+sb5oZjMIPpO108oaet8xnBNWdbLBeCisThIQKx9yVH3G+gZXFP9m57Zj+qQ/e6HHwqEZ7bMt+Pmy8bTFSsx8qpW/kNjA8F7bfvJ07pPD/lrnKjyJzj0FZEV/UObDRl9YAL0YmcJFh3IZ2uc0mhKyLA2hb86NlJhXswnwzAuQ0XKQ1GAEW7UOF4vuN6COeUp0OUk+GTfz96sxfvKEX7UqISPIoaY3IdixdYP/yjbNIJflP+uIHNztrul/5ZYmTDAp6n7x1Db2WZ2OTX7yeG07ZyTW+hiYAVoZsdZ2RNikbDNqYAGusj6e1bB3cRsAOV+AwQBAGiBiUjpYBwDCrWDn8InFv0zz41eWT/RYlaYDCGQF6KLYXpcHhuem7DBLxfxnipLheZLX0IgLO4il/opQQnqTHlEiB/9PnbMFlHTI6LPRurueyGppu9nBcuxYJiBjgBVxLLth7pH8RniDJcurzHUVazYZNPSbsXqb+kZ0ZgFWjbh96mLH2KalOFcYyQo7pKGrqdoyF6mGyKQ3bbtMU4+TAQPDvnIZeu7S8LvTSwUrmX0ZOZbj9AI63JIPmrJbMi0YJNozkrYmhTWaoxnaKKakYUQ5BlNSVa01+vc4GtaI9K7Y4rFE52z7OwdBCJREF4oCWMEFl1ipebOfJNUx013/i2TUY95Dwr2b2gt9PAb4ms0NcdJo2AWg+yIDIZwVltqHw1RiWIODv0ZUDUclI5bpScEuy6lyFTCCOz2nrvNoEiCWu1i8B6eYgtkchthM+H4wXBGo91GiZADQvcmIBAQnr6b3frhJnLOiF6zHZ5Xk3gdKJuiszwiOZGnkeJ3818VVkbi1/AFL9fj2PJtKr8s40JHPR/GQfQmZBxpJCNnOOh58np1pZieyYCAVWEMOtX3w1zlmj2vMLmmHnC1Xshil52bLDNbMuef/VYn0Gq9bafJU0XohTTxu4jWy1vnkmLoHNyu7B+vkOvvyrvRMeMbupxb5hZlFozUKQLMt3LrV1JjOKktg95zo31fMJEDW9mkO1sls7KrgCkNhHHzELvFFqs6t/9t/aJLbN8oZMDTH1wry+A16XiLZjuJ1rvae5EgufySPIucyInYbvJ/K1KzuF3VwFwSb5rkfSDD4VKtRHaCxGx9wm4J+v4eqeymZU5o6PQHy210skrxiP/cde4YakCZGMMmLpSTFMnOyXFXBSpCtukIaH6ypKFTXQWdzO/cGFnGMqBxmzkOXPE3D29/UHhlSq1tLqQjjtZwXSU7gd8NEgP+pWssQty90GiUXVvLiHPRl9eqBLaoSMGLTrRfNDlfoyuH7ZW46P+xEZEll0VyaNbescCz9ynOwv5lhVJqFW8WQ7HGlXuyXi2M02P6A5lykVPLQcZtmtRjZiw633ZfvzAujG+woRchZQPxENz2Hn7xf6kpecuqLFE1gyvcJ57X8KsMmgCvQ62LwAo5vJhDlE4YT9VP4zcCrzBLY7dfNOv5sIF1heRbHYikVErQXCsHwWxY2y/0oiwr3YR/ekLrRUjnU4uM86iuf2hwaWjFV3qFkPYvy2Z7Y1/fwGo0tjhvwac7XyzFSjL/hc5TNm7w/h7hp/pirwdXGef76WnkIhHguohnK6V0pa7RX4sPfa59WTQzX2ZsRud8zQ9ChHkcYDXYvfjbd3AUJZwUcmoSYZusfqc+s/fFqmpL2Mb4JljV7w96Nq7rpZ6eFNyYuRGeyBGASMnL8KB6f6KRPNMZ8/3xB9gN2RjKXgoexlGcTHP9gsAi20VWMzeTyvDNbmnJEXd1wLigRkJFsD8SemfztfP7nj5jf8LjfoellHAiD+LAYrOKDmC7W67WZvRYHxdll0PeSRpyJO9ebd6hEe0bjjHkcHX+ud66dXu1suIUYpHThgbniVAmipc7UGm1iYQ4PkaFmmzs1fPCHdePs59MI/IdWyQs1iWocDVKIvIr+Ipx7jxVY6VWYFapgKYVQ5Rwz34Ti/ZAG2o1VaGwXzBhx40r9fGx3RlkOGgTyqpFX+HnnxlklrfaFJIjFjnjRGx1uL3DOoyyb3VuAOBjhueH2OgwuPgC3+FaO8DeLAp75GOem5HISOGXCOl6YQR6qeH5yZQF1B8qOV9svlV8rYAdGcA2zWcblZ7xdbDncuR/zmjb0fx54xSR1pJLHSlJNFtBjmMoeBX6rte014QwL3DKkIXtTF2aGV2l+vm8M8z9n3AToK/4DfOhh9jdEkA9NTGkGj/NPwLWTy2u92PON+Ca5FpKIUwc6OWXy4hhf+jBSXOG2kyVAbt3cTIwGfq58LQBaAv3T9ZXEAJ/mLbShTCznEE0m4GNCQtX5FaTV2pyqtRFNIE/O4fghpmFECXv8Tpgp0RYkIfQukvUEOiRhcta/HkxbbMcFXkgzgSX5JUUm/fNrPUEuluUPHRf6VGy64kk7rv62kCHAopLJbJvR5e5CBAGDo4exsLGnvP85qx48ZEbcR8COxNXrImjxkox0fjCcx4ZXkzusaQGj6H5xOQ6YZO5cLakrl+oRqBuckgLBxuh/zUwN+ltSqNMv2aXIBlYaBAn9Il6Z/WU2TyOaTCs4ZHMMcKwcxlAMLG8Y4lI12nUFTns1VyYZLm28G6Ou+3c2kD4ZzEb1yY+z9D9QtHlaU84dPo6WUiI/J1A7I4yF5DEXSLhOUZ3EOkfyTVTjg/qPpSHmod0kbHEUDmcZl0V/FqUEUfEI7abE4AQaBO4bG1CStrHgC7Cn9p2HIx4/nzqFDlsCzP0jy+yrOb5xH+3PrEvldZSHt/ObPJw+viI2QOP1CISsQWav2BMzYYSCC1+yclUk1BihqTtZfLXdaIrk93Y85nlGYYh04Oe7RInTWFttspqyxnu343pBv2f/9iFsxheaEF6eGjNYlzYDeEp1LwFefpFkoczjClzliF1MY1+sXOh6HkDjulVdgJnD74YO2iJl3+nQTWDOb3Mpu94Aa31lgxiQ3SsApdEY0xsnq7s6lVi1/zM0DAH9DbRQgSZTrme2Iv9t5kKucsrkJc3zWMdoXiEqd4w68M8HiD4QcI6knODukjQ/+mvimldodLaF0PUGS/E/ji4qDYgMVKaej3oqpyE/eWM8v+ASFaWLRjSOzZkdnOsh/CbesH5IbAge3edDg6z9x8B474Vob/61yymtCC9nt21LU4FY363PGBMxP0xaqPd8SDOH/vCAugZRNFeKTbwgn1w1ozK6/n6lnDRHs0sn/Z0ltTJxkHHONF4BQGv4Ea/pURcyLgqp1BtpaaA7nwrLFtDhKAU7xPv2OsTTTHgOQXrT0c6PQ6ztLJKlWWvv4l3gDVqA/3IqttS642Ng5J7/QRMTyFQAAiCrY+lDJT7CM6wE8llMvmKvX2hXW4HT0IPbo0+97/T9b67H8ya/ROaGpfQovkAR86Xl760mujxLPbix0/d1he8wLJl2xwWTSPvvkm6iGUCBTR9TWlE6kAm4cgP6OgzDDa4dZ6fuW4nbwkquWynlDFTuGYZV7WsGHqTaPub521zcGGrBJIbCxxzkWjxgwx0cETymFmvkY6y/JX1/OPrpPvlgYqGcBSQxj/7RouYJ9JlZ05xhR6+UKJKK2NNk0gk9q1V99INXLEOsSIBSGCenyKAshkXJqzJ1bXjdVIwR2qoNwL4KaiO6RZhSzFcm5gt4Avyqlo7XI5mcGk+ox33yMmAxngwu6PzsZPSVgaC1XgMWzByMtDy9o71zIp3QQF+UY4J2BQ+GYptdrM+iwEpBy71sq5LPw9f5Do913TR8GSGLS5jvF7K3u8QRqgLg7C7mfCAaGBIk3rgQ8XqCly0x6AJPKWM+O8KIZWVZTGhDqZk80Q/swFTjzze+Nd6RDcf/tFg3QLPCNeCx9aPvOprcVd/pk1FyHAp7RszgvylYYAXECvdnJkn8DEXRjFAUWMEru8LJmcYSJmngvc4tBWo+zoAS7lKPJqWsMjkIYc3p5c9YkUns36pcUFL+zh2AnipFcawgxbZGzAAEUNupkXmWiTgRf47DP+WmvC8Q8JbOhYiM6yxLkvmhZpqMUXQi338iOeA1jVcAm6uS++wvf9A0grEJ2Dk+wFiEPVJ8uzzWGEb+9kzOZnL+9xThoRSxw6wPLA6DXgVUhgo2KHr3XYpbisn62IihBi4fyvLxRcuD16RZOagy+vqy+bdcwjN1e2c1UA5M5t0QNzozusWVQ4h+MuTdvja5eceQ2ekOJsp4I/yZp1xQQ43hfByiDcIl0lG2Y1dEkKoML+bZbuRgg6s5LqQ4SbXH8llSRNEC31WrVQh50UN/hI19m2Kbe6XLcpeYheFgVWNG83ahOcYJPp6wJ/hA3DKWzprdIId2V1101O+X5vLgVhxCBtFOy/bSkHKU3waLx7AANNFFU0tGUqmQrVEFhk+/zZgLQEW7RPo4nWpDDBhTpR6mWpbGFap2dEo0y/bDDiGgoHCCei0seOBigwUJuI+Ma4Erb+CmSBYh166Rv+xkgvqMnfDVEAQZM/4MnSPvTb4XQ03HhOLtrQWK7dBsPL4zVqkqIY+HIwuyFdHEtbvhbM0I6sJjoSFEvjyEdiKTZiHgeaC1l94/IuHtzxpWFywHaLZzhBppwEtr1JBPM7fUjcC7PCVS87t2Y+MUn1ATpK4qy0dTzaHad60acw6vU2d9Gmeq4ixdQeYdOTxUxrbNAFOtPrIktG6TGW6C0DDqcJrHDwNEZy6nnS21/xpXT6oAXPSwlIqG/RcK0Dr9M39vBNtiWbIlwKXi7bSUm9SyXJ6LGYSxpCdO0nHuuXoTuLjunx8qEqv2YFWcJazTLkFRkhlUw2clw/bpTpKNAMMMncmuYrxjIUH8XbBAfCGI0W3lGKOIUM0eOg2j567tStKDeGXGOzO+AV2pHFdlvADGDAEKBO8rav4m27c2Oqp69Xefc3o0mQSTThZyNw15O3mx1kOB69m8TmHWmBZeWNRoUKCfPvL4zxJRo38yB5NG9Ni0BcRZoo+e1iKhnIafjE85PTNU8ko8USFuKX76xqlGjCgvON7ZGYeQzmbrTAdEOetpQobjGjlKPAKj13zqFtIkGsmjSD77MvXThtTVtJUSt7mHWHONjU+CdH88zMidSNP+ZdP6IHtDN42b/8rEnET+yzaL81ncmqJ46wfiG9c8uPJyR3G8Jk2GqIlvbQ8xi5Xxrihh/RmPKjawhul5pm2RGqh6H6sPl5zbaQBGhUkzYsKcO+VwQPcPbYgrPe/o8pwuAx+Znas6fIgk8Z6ef00zpsuM9OadRUSgJi6qpYZD4jO1kAjfjiRnbxUV2weLKgfceG1n4tuqg6ac6zTwv7I5UsSTjrAXdX1rEjm/Tg4cfIyadIyl6hHQx6WdT9ylTBhkUrHtNmPpooXhwojPAOEtseY1PDx0bMF302HKJV/Hf73zLeh0mL44N1t7G2QEqgiwcCCvRuA/MW3aQJ+81trb04FHwbKlHC25/cnpqOT2cieCJJVQudz+badTgIgcBfjyURpJmN0fGpjLa9eDuYI25+vlFpr0HdM3jbV9dTz6Q6HrcapDCa+3MfsqHQ4vOkM/S5L4b1R6m8oiL7ssCUS52WJs74GNtNr9tFCeOnhoZ0z2RwiaxkoBQwShKHB9lzYafwlsEOHmlBg6Tp1TQA+E6YAvcXtwKSsJnVMSD0UTg0mDkwpjd2Xc7GYMp9QMR4f82vAFPiQoXaS6tPTTEkN8Yp0pmMcHbjHhh9V8q5YM/dLdFa7o8qMqGF9611rYkdqd/vG2MMCFlMo0UJ4XHRK6D/VO8HmB7uYokOzOHCqyMrGqzkkxi3Z5x54xJwaVup+iYY+SFKHpjp0CzVhvFK9HYRUGtBIi8Jf+KPZ/y9YMREg4rWgWSANIwba557uVCG8yPVGe+yXv69NRhgB1bUU+M+GmX4+b+ctSA+sIXzgqEgtANuL+MPRgffp067tw84V0WcLFG0qN6tQrbv8ZPPR+PVsC+LLT/qDCi8V0s6e56hkBODtqw3zqpR/R1JpFK6kgS46qBL7xd8jIz+ISAvVXwia/YuHNnf3wQ0ZouUyXnS6peG9qz/OlIxqHl61//SS+MsfvcH5pQoxA+Q/MHr3qAGa0LzQZpoRlr12YBJXBrKZy+IKNDShHLW0mfx7masKEg7OzKoW8iByRDj2cxhx6Tb4GiwRystVt5SOCU/QxrSqr0o1U1TnU200k4jlzKLbQXFiW55bnInTn5s1kgVJwjNWTQBhEexvk3xOQGROJyBGr9PFxwhSzLb1AiNxWBaUcI2TPAffq3cSUc8QQaoFGu0WANS8MTLFMwjE4ipp5p1qqIkCUC/yk28GaDhUiVw9wTHU9AwTkVmN85VdZcIPTx7HzSw6Kgw3VoLLhSaGl91T6dkJ+5+HMa4R7wfiuXnpwTCV3T0BnJTF4nxvWwoCp8Uu/UHBD57nIAX9oiud3ASSopowbKV8IRRBjpBcxBxX5Ju8Cb/oHC9Y8/5DooDb1LaAVn0gAvzXAfR/zlN4D5IYkpvE52AqiwxQ4VZLFFPCTjsns90pqEq54Cy8Xw6ikcb93nkyzrvHTxso0N4qXVhGJN2zGj1IVoKKkqsdbTCkZ06l8hHUxUTYEvDSnAxw1nndHIkQTNIlmsJiqu1IpKbd0u1raYCybp8sR32i8N+BI3wTGL0iqIm3RYf2nDIXWvlmbL6szJS8yksX2yhajhdJ/AM211uMmNrXvikBD7XrOsL72URZPbfA9o+gbECkCyqx7KjH4I6MrTLqYl2+3xEPCww6jqGlS6aWJ+qVFm2kgpBmvUZ8r8nZHlfYxMYLMF9Ni8tcrjk+Cf08xOrvMjZpH57WMBbF49IYIwFg0w+HYG8+eL2McTuyU84ugKkQzN11V/br6CwSZe9ZD45XTv3hc1Un+Ziz91fok1ZONFMV4W8wfh36IeNOjdmWD7wxrB5+ssTdpjmSWDIn5lNS14qWMqGnXc3yQccb3ZU7FLjIhyR2H/WR5ZANZABfKinRpGG8ItL0hRk3hrWCx+qjHF+Dl8hnEL0MtG0+slNwoWPmerdyJBRb/+nrQEIKAdqzNt5Q8C0YKN9cqd8y3LmleXrW4jOb6YWn5WXlUAAPk+3DpgBKsvlR868UfPMyJNdgXNC2Ch8IW6aExD52R6vCYkEbWuuQDI1tZOT74ZDBOt/H9C/oXbFnDbYzPRljgiQPgoKzsu0gIevjPp6Gz5Q9dABidKmkPRpUXUYq7wRpoXwifLRIgHcWwDFSPV99e6TDVSfV+E334AYq3baC8jOvi0cbB5pptpvEbb8Evuam2HojZzVrmygYPjyZZt5XVDNBo1/5zcx3gfQ7F6qwGZ/3eEZKRIzndTKGUvJ2oEW4d43tvKpuIGBjIl8A96s+YZZagLXwEMjC0C9FqwfcdxzmHutAONpTTMewkdedvjcTJ18ZZdMUJcB3WFfLrQc17US07v4RmWZaTojTpU3rbfAnBbp+SMBo/BRnXBaamr+Cz0Yf6cNbAWc7nrzpEr+9ZzzrR818x/kTF0hR7geHDDHrEkP3qcmUyMG6FtXBOf2xP/XAdYHiUgZaHw0XXgVue5+k4V04Lg0nNqsmAS81NTpLSoIHxLJmDRdFByGSSToNL8CcpQVS1e/spqgcqWlqErnERxwcKyAp624IYqpCublv1DSoGdR0Mhubnyjj+qz/AE8Hojs+0NmD1qNai808mO5nrL6pn49VpoG9p258/uRmQoze4X+parDckfKSQqfpwSI/Kd6frbf9qyGJGPrTnFOglU6XNCY1sbNKnG6zcnu2cZPZk5knpGJyrFmaEJ/DwqV8Bw0BeLF1CfmHrXyceuWVAwbMG15CPOExIXE4WO6QJB/JyKG7iungX9dcs72RAUQmjGEMT2dAJtiaBRx+ZoMWxv/XxuoIgID+oGgfgTr/eZGAY77sCgPWxVLFCH7B3SIt6PLVlI9M+CN0gzaSgKfwcsJ+5okx1URb8gVQHbXiMvuziaiITvahiwALVo6+ngfPa5Sf4xGr2A7VVaNrnDjoHfYQhlxB1aoD1XeCTAxX1vFpay0PbkBz4bp8+ioJYKPGmcuoPEmT6BnNIRSrXcDyWujKd020po83Y9IO7Mv/oCrWyYNVVWeo6Enj2zHCZ5LazGvz8u2Zh0J+vnz8g/+ue6rnJiz8nCdOIS6qQ0wSK92bb8OZGyyiyUyAK1GOWHIUwPc6UFyCG5B6b3e0zfEMkBbs5EVlVzQ6XC850/Bz3atOIrDt/7LyVF6lOUJS11lBCT7vcSakFqnti1ozIqsEg/8Vg5Yuskf+14yX1EeLTdgVmhcbuNM4gQ1P3swziF11wJlX/MehVvUHS54u1AbNPOQyXC1FELCZNTYeZ4zyVuYcKH/VtxBJqIe+ggZag66yWEa8lPw6WbSWwt2peBtKuPVUnfDzqo+9kYho0mWOpmJnnlT1CrutLZcxlAsSgEVMOakAeOx17dPNzEosVDCM9Nfx0eU2rtrmqDDV0dZP0OU/QilWp2b4ceIC4SV97nnuhJWOWP6qGZw+RFdJEt8D42exjhFDOcJ8ZdDEepsGTKzpThaYkLOlF3Z6kXhERFxspa8FPacAAmrLQmkNA/byeYC5Z/LBch1HNp9HZLeHE5Ui3JYLIrbF0B3DR7XKQgtt93K8aLgPoMhL7z+dqOGlckw4HIus+Cd3U/vYE7qTlKHaJrtnzGQLQxOyVQiz2Fkh4fLydbp0GnszEulA3PwDWVf0O2OSwuefzCuQlxNXjc7/vv/xaR3VzC/cFWm92xPu44fybWXj6XFt5SKLdT9mRQ4SBFGPphB9Br9sVLvzBWOavsOOcoKqGAlpq4Fhg+G72wVyGhj8tItFhMV7IR+iuObILldRDQZET3pqdZtxfX8cKUiTCXPh+trDH3PupC94quOw1CdN1ZSAXfFne3Dt6OgnKaNmvXK0HTlamQNWVLLn1kbHcFQaz2D/syYJRPvqwkdaEXoFuXGCG21xt8qS1RqvlECPjwCEpomeJhq4s8AsKxETq3oGI/De8NCXE2PFMITq5nE3CmQypoxfdhDxHJLLNDPmLa9V2r/3XXf1uFAbmEJOvZrSYeHIpWbbu6hmdn1uW8vGIQMR7DQ3IbFbdaxJOWR65xcW0Ogy+9kyBZjd8JCj4gkw4YVdDbDzqw+ynddYLrCcaF2XxL36x70bZSrXItVfCYbrSpxvxZ9OY2R+eYRQn8Fz4ZHkMhbOhvPoJvsOB/2Gwmz1TT3slfv7Ufh4clzFn7Jzz9kAjy7SZz000PU1onqj6a5w9btoJ7K/ARmXQBXVdhGBRCKbCFquCNFzGuVREFJIYea0sMR9uaUbyFpvLE0/qTUZ92DlZ+hRixqnvJojF/o+D5/56IBpfXgDMMIQU5Sg0g7zycyR2wWpa9c8FJC0iziKcZC6uV0x97rJfEGfL82TsK6ziKNOPygG8pD+RKpMk7b1U4bqcxQwKTQ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55930" y="1902460"/>
            <a:ext cx="8232140" cy="487934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348156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ent Project Pla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We will develop a custom app according to this timeline.</a:t>
            </a:r>
          </a:p>
        </p:txBody>
      </p:sp>
      <p:sp>
        <p:nvSpPr>
          <p:cNvPr id="12" name="Rectangle 11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pSePy2GgFn+B77jGJ53DqJHFKeX35AIOkOhCjcHQuyyRNrcur+0psN4JT1iwDHvsbXVGDZWp/sNmApsb6N46ampZXDoYOD8/0at8YEfMmUyRm2CgQM2/BGkwxV10uGySaUZLPPT0C3LE7OJQxx237efL3M3yzwYsYUenPkQseVMEFt64rHqHTNw1qDRZU/R9Z/AfPTcvVPbTMD4+kMhFug0webR0IQ6edv/uuvJdsUNytrQDQRhvLUp8Xse8lPey7ceaVz3N4dVYqx62Z3l/s3en8SxRjnW7CIyA0Hd71DcePi9KA4AOU/KEIbaHJN2XpMmeyT6qxi8seh+Eu5J2pdodyYlr0IzVdU3ee0JKCHxD233nW7/vj7OmXnuf7nRqFlfAY9Zuvz7DSeaJyGsr/rcwWZ7fBZdCjjWh/YghedmDpH6Dg6+nAsHIR5XxVxgtfUD/GMzDIXokVevtivEpIgq5SORkhUD5RXEXCVGxrgzTgHnl9qJNQgEPDhZDKUvRKbfhtRckP8FRjlWDI+R7bT0Hn697Q0cnEy/D/oCCagCY5ibe8TE0dTq1dRUqbwfY3BKHlaPyL1/j21SZFsGfdNB56DhJAqipurdG85NFqxjJZt8P7vtfu4DlrHh8JiHE3YEsMbRgaNataKxFmo1iT2wCxqwJpXRfGZKRrGnRliJCTmWIHOK1QF30FHJYszNz/vWJzLOJdn4HIxIaHz2tVoJqz+yPbKDquucPAMRtRQu7CvoDC7E4Xaxx8g2C6YFt4oSqEk0ZuvTQq93qnq5m3SbTUZmZ7PJe4s2NMYvJzEMpGzr3fcMM9w9KTYyUKvyYWu+Gn0d8mSuAyJ9W1JfDyzUfWwYvqswFYMdq+Ka/32IDGWKL9zA5p5Px1/OJ1e3ZEfHbih3OeqoEStPZ7Fic5E6tePUEJzQdiBdf2mpyhXq6nKXdFWy4oRCUWUPTq1radVmY5jidcqldtCuf6qEysHZL0xZPzKoOyPrR6c+pAzjPFOxGM0n1mIVEz+S6k3L9tpMAM6X3fR/8ForGqnOKXqd0vUTtT4wCj9K8jlE/hvP4qITTI82501JCgFUyPWC3AJ1+zdsI565LTkq9vT3klzBP7vv5yyYUQW0DffAj7NaY0pKLbyo+uWTKTj0cL1oOiek2Mz2kUaetY/YE428XUX1IyNvQCHhXJ7DxNIyQme0+b1f9OXOV9iNH1cIJDPuowsZHYIlljnUvwwJGGMsoI90DnuWV5wCOVv8lufVIhJFiiVNwojK9hSUw1STrHMrGjuoamuYEQxvUgg3LUh0O+yFUxhJT9IiQfUIsiAph6pHv71wVYl0EzVFcI+gWocwaqL6DluDweKrogIi77bNw5EC9cwNOe0AKoJTdElcnuhoHMt8dHsd+6dYwhPTEME4nLVCYpNfce3wJP7XPhlWnD1LGKIiDjqv35p7o+ICOI2WTV/68D7QEMOyp974qmMv+xd8X9QMTXfGZh2tDf38j8mspnxXBXR/72UAP9JJxSt3ANFVZgbcY7JO5J0eQ2vJDJ2N6113HGLi1c7781YOydBJqJl9lU/3XPPDSsenElmFbaBfUKImsMkCpQkhMOm9b5Ie7xHn9lIIrj64jo+56d0g/2Xk0VdGmJD1ZcDMcn2hS/24z2SBOXfbMysupMIaBPgK3U4BggI/beMYAb+V0bPXerrOuhJuoyiWJ5EeFL0uYQFmn6BXcGVma98QCK7ncvQd8X98S1ouizheHB6Sm3IknAKkBpbYxfFwDsXVvy81HSiBL63OwpCLm72V/E99A78OR55ofH/P2dpdqRABxCRNhRo+Zwj3Z1ede7ISR3r6Ox3nYq6tZFZhVh1G7fiRqyDsku5S3hTHmOlblSca79fktV80v4tC6REL9XhwKLs+h69ScVD/PH3cQEsem3LzCD6riBqUkfPDoiYPQpQQSVpDa2WUqzzWhc1pbuPatkMC9a1e3XwjTqbGlp29hUP/zFGbq5AxovkGvWZNzfgEqsuijd/J1Uv6s3b9lY1VS3VbevwQKImdJbEKh25Ojs8IlcsPRDF4l7n2ZXcfRF9o2Ko81a4SwSZVO6TB1Xe/HNVPknmqeev+epx/cNdcXEB4ERuCpr+0D9SoHc5bi2P7oEtRUNJBzsX5dwnkG0kcGw+OcK41uJDwoEWGXDusebO9OPS3zU9qNvmm60La6UqHMtvRK/RU0ePNzLv//OCQWr8TSe+JtXclQpGkNn397ePoB9/xdPcmNZS269DZTxexMZ2fNOyrFp9+5rs41iYaNM4W6YhsOxbH0kvSOOZpzTanSDnbjq+MVrFsWColPf1+/d44aIp3YRCJcIVQ3tXNZhtLST9nl2TVasA0UsiaVkF7dZILJLaC5dvWOx+pSnwxSytn2h3vk8IFl9UzsOIZKUtvBsv8n9Tpednr35n21/M4Lbrz5NF6mrLxmhSbBnUn5XUfPPCM2XePcA5NdFMpN0iw7PceXOEyNDhEFKuB94Tw0SRK39qOEhFUufF+/ILesCXjDdpvTe+PMIrLZOS9ZoXlZQxlt4k8LPYpPPowFJBAraFzZKwcc6ArEj452eowQXV1wNFlTO2F353Y9cb0zBJtZB9ZVlQkpyIabCk8fNsTBHNKVbQ7LeJ6fIoGJMoozem2jbd0qqIMTP8iB0xUDLlrR16jdCDwDtaOP03bLwy3To2lUfjXcuKbqgB/MLazTdMshmTZYJ7DtqrA/b75myA5K9CuX2AnhQ9ZoenMiAs+t5MQobTndV8L2fIrcfN/+1v4v7K3B6gXYKpE8Qi//h36Q8rXYAkLQ6g1fBma1rdPS7YaITwvls2TkTWvFKw6MerHefY9hJrpjaDFNmym+2Hbj0ZwuZMIyFlHDgDG5d/Qib1gtlymSPbpoEToIaJyKcy3UCzs8eGk7jJCA1GXKQQtIgFItPswhFSHM17qCXBktunNyD4SDJxjpoGnol9wvMjFMSLjuCLxDbKCaW6mw0hsqpymuVqWbGqgTzHeXEx9U4nG+kMF289D/ae+ZO5OwWAnP3SZEr9lzKO0jZ4L0lZwuMdtHa6wgv9OK/CtVXaC/rEEfOv/N+DGgxHIb8BdOR0c0nEHCn6Zzwh0YZ0oA+LGd/SuvY1HJMQ3cN/5w3lTEzDDPG8f3Mr52+mqzaeoufoTsqYzsZ8ezTEN/PQlH3u2eCEhD8sdD9SJgPEByVbawtzOdtvFaLLzv65UurERTMWHWCcJRqyWyFf+ahD2ub1fhWb0dIlsoI3kr9K+kr1rZbH+xFq+uHoZpfr87IUJSci1O9pe/C/THr0shOL0uyNeHQAA7SC3NFLHjg8ou47qBTNu+S8+LmxYXn1mIqgl3FUgQliP9/SbIo45hjfvbyY79tWtVnk7qtxKN3e3gVU/jp/xGPPAc+ro+egrQqFXCk87GdNeVHJxBng89VrSldB75AnQxCf5prZ4/AEojKBIEIi7poTRaS5uMfRD9+c27b+XOyd1tj8IdlaOQVC7jDfctywJNe8u4t2csMJiJFPpUglMEHBC5Hs4wNIMYhjepGjtFZEfyds2JhX3DQSTp8Pki3dznbU7EYvPcaYBqzdhNXFV3BSoosk1bhkKpyf5a7cyCpbzgoxahP3RfCJMISgzc+5Sb9YxQe344MM1rx/q8m2S2vna0tm3WqggMd7ImqBsBA739bxHpDMLucjJJTjcUlyubnTByqhoqNmtj45aVVv7uJX1aPE8FnnEZGpH4b7OKoChRzOahOgXsCyYJDyuG7cH50dWR13XVhJRrzIEh5LAVPaWPv2c6kx3FH8Wzp7zIrLbNLlBUp89vy0FtWDvYRmx5QeqLmyW/CwEeD2ytgTUUSTyvTVMWPlTpSH+lXFMHzi8DNwOONDmPecvA9mX1cbkjczO3dSg4RzxkPyQMN0pbHu2oTZXcNmWW0XoTK0z0Twj+pNNo6oGqsfsOZBB6Yyi3XY7VojV4iZ2S+OSBi3kE18fD/ffDX77p2lLTTH7yo7WGoskbWbyYsNe+VNd4xf0Fr6LzqaW60eugtbFwO3nBdGIbIxTHvvKXNINf7pKD/EusfOwoc9Psvh1HJyvtW6kRDVaBh2jmHXP/D7jDKXLRJ537EJABYCTrfFQAm9fH6Kdp4OW6c1Sd7wLCdpMhD6lXA99NU6iG3OHxER8hSm0awL/ouyfS30Hn377Y+S2DcPldWmXR4Z+XHKWFBH84fnMpC/06m/HtnwIBQBTwNPDMOpXhm8nbdSX/93pI5Sz9x8fKQ+jY2FErSWySBC4JnB1+lkXsPs0rnA9zh1wV/krPWT+z6dPbULt4eViu0SkZ0c8s310zBb+1Md1yv6dRcFBlysxJwQ2yrggleBrsw+NTVNWF6sA2S5ztL7bUXyDGC/+Olej9BfMfywm2KshTmVZEAfgkY57Ch9eb2Yr+hVQ1WiH2Zromj9iNLCB5iuCH611sLjBLz1VdA+osWS9dobwgB9kb0rl124JQB4J4VuongcOXvAjmlbliGO8xTENCscKpXKvj20mjRITxytus/f+Dz08w5Wc8u/DzBtrbgRxcLbsYHXTr3DrvwAsUIcreb8MgTndtQuxt5j/FA+NHkgyhGp/K+A9f4Dd4Sz822L2liL/0YpxBKYGHnLhGd8jAjznbeIZFWBbun/BcZQkSOibbwHucbbQBOyuMdRNr82toSUKD1LUZswkH1y+Ngx5/iyfs3JEfZG8sIT+pSKziX8jaoTAuuQbCK+LPuLvfoZyTCYGwez/w/4bPddI2CnQNC1cbQpYLVF1q65RlsVQ94HGl9uZWsxtFzFtj4w8qLG0/VoJuGkMu2tSUvev6HOuOdbeVrG55oVf5yoyHtXBBhadVIe6GI6UYsPOyi+pX+zZ21VGwMuRDY5y0biWr+1UocL2Ys/eMJBpXS+TKydwFfDkA+bN2hFa3xv1/w93hCxNBMiLB5j4vKG0tIqQvV3/OgQUVK18Xq+1iPUpm8GVIR97lRUN3g4w+8JlIZtb7BZZDPTewUZVlSqCfUSrbJpiz4SUOo5rXLXSPtWAaY7PVi9hDcI6MrCAPIwlnqvn00xhjFZEc8bRpWTpDE5EWTOgbFPNwZauVpUJDDMFhQW4zAoojxrfhGcEvcco88fYA/sw73HlTVlmsA6ON9C00D7jGrj3evEexUqRyhSlZaRplfUdIE9xONPFSEgN66vw+gTL3rVEYHBmXuZ5FQLbJyWuNMwqlePe0SrRIwF7CbIG0ed5fnGEwMdr1z6pBKCH1yELrlXjXio+1Cz4cI4xIGmSiPFIAbPl7WaT5ufN+W2IGGOlMJXZYZKvF8O2tdmWiWCBs+w3gVCZaaG1naKSXX4hoYXjwwxqY2eGa58/jZR4onP7mZOW0oCJdql0DMOrO7ideG7+Vs2uUSY1qvHTVjBLkyHJiDZfTqHyrIgJzpbfeWRMSy5u+0n1VD33+VIwP/F8EkY/ptQbcqaEMiZdats9lcAHVIX73SrB4/AYlUM3YZOH/afeJbWAqdqiTqSzdMer6BFTiwvqG3MEsNBrIMEvKZGHcHGhRgiYEy6blFiXu9SwXx3PuXTLJdE8aDLRo2Gk25YhCiFoyVRAnQkNJikT3e229NNKX0l/IdgUqoxC8iOc+yBGW0OsBGAGEqoR007ed5xb3XERC7Ufhqp7Lkzl7Nur+ZTnrUYVnP31AnbFOoEstMTmS6K0A2ix2kuS8n+Ia14jfsx4m0mL/qJm/q6ElLem5KPCA+7qoyzn/eenItmyNNGnTsEgoniLNCiq1SStnR7Ej5wpuZrcrglYFH5HLkxrtXWG7A8XMrnYagedlrI654eSasMffj+gzG5n+77csw87swL4PsZ1t7MtMWxA3SfxHhSa+84Rs0vmND1rZNtuXGe8HZyfmlIGQkUHCtYA8R6x8eA2U26AFrElLfv3xM/x14vTeeJ1YlgR4NxvJv+bFj+55SOzyuP6vdpXnpsXjp0l3/UDp7+K3qUXDswBR0cUFzMWPTbpkXju1cO/c81RCMXuXAKHkFaym1cCe4exBqCNrpSRs0iTPf8fIXsTLKZ5JgPdsqhhv4jM2zVpuv8AC1ZLCQJmvlMrd+143rYCClpx1kWUzvclZsiVX9agUhwxqiWRRVBkYQhdfr9Uf+ywBrZOPK70zI9ro3KBXMUrgLlhDPtm6hfFwaNiIjNQmpx6ZIaGC+Jaq2t36kTDj2mDB97cpIevcI8IFNhHm4A9nbLnxbmBH6+oyv5XyYGIutqIBe3G2TNnC7dSiMQ6sfN7D5dNjPtzZlJrkzo3mYCjjcR3dNj775Gg5YFY+Xgo5ksjmKb5fi5alV8Zm3qHryoqWxbn6X4p2o2J1UecehuL1SMjsQ/RPJIAIbcj0ygFhfNBtdltf7VOwnm/s0l/fqxlJWKenqeEnMKjqbwjmd6EJQG8kzlKE0xmFFj0L8Bwafs+invWZUScHUlb3ma6ocQv2F5629wY5C76lkNZdakFHQC0TwmD5+IMSxIj1E47qe/jfv61IG28VYnSG/e3Q3RfGMv3qYeBnk9AdWQU+Lanjkr1Sp+UrPxHoeAauwWBDS/Ujx2cmWpnJHmIPs7NVvh1/wK2YtXy6xWF0l65SKWXEiDrZG5MG6/dcngLI34dNkDVCxiYZlEVpLL5W693WXb+gf8g+sjIurALnERGMWUHzdytPooFHHBYeVqZqzoxh/8TVEBheeMFkV42XKe5jp5AavTfVkIqtndVDsc1GP4cDaauNjyAJmKRBt+JT8idrl7R4CiSchjgnlkTwbM6YQWhAjOqIBzuHTZ/bLf6UcCLmWwb1h9yGENxf/+IhAtKKFgpbbSIrW4iMZT6g/lRqQwDCfbDz4RTaCRtg6hX1fK5uOtXV7TpvC1oAOJ+PKPdKh/d+pnMeFhVws+CJB4ukF3zlADd08tohioOEVxHAAq3UbDc47QcRRkVQ9wmzbEnC0mhCoyXqakgz88Cv4FM0qpti2BE8Jtl/jl0b1F6AT/Vvn/cYhHlzoSlZGLI4ihpwLZXvYJM2mj+68vH0TTXZ4b58JMNzGH14MbisTPoz9hkUGzFNfvd4W+InVqbxMtJ2TaJFFRSBFPO2GRdPvuj4bqrc5+ra/+aCyM5gjfpbTOy6apeLHuaRxuHbs7cZgCotfP6GU3A/djHZcbBHU2WrIuib5IkWaOxHrzNCKqKzhRw5wusK4Fgjav3tTYOaLfixHC7abmwRP4CZbYjqF3jhPpsIRmE8dCkAdNGn0fWFk3cBgJ7yavs071ga0HwsKjGzktTl9s3OsNjx0e2F/v8LMqPS4MWvvdIv7mK8MIUSxDIl8jMKoYgL9Moh8q30hI3RlApu/CtdEW2rlnx67HCHqXmQZSrZu1Ab/vbNxXfTl8Y82KfpwSABks6PTxzxUK8j/vNflbkMmukXfbG/EIXsKdp+lma8t4zdJRHLuCi5Oly+XDaLylEf+8LwJkaHtjg73Ko01e1UuurcUeWfqcDdlXK0HL6JC3nBB8/9uZWbwtDdYX/gjRPSKUB9QAiZD5A5dE0OHj8xUHeJCEUP1YIRjh/a7OwJyz+/oPZI6aPrb0zgSG1MN3BkwYgdobSKI1nE38sx8MV9THZuBwIAmSYthnrLcmrpzYamFUeeqKPiz0cCK4DliAzvTom55Mmf6G9S2Vh3xT0dqHpXq/CF0pcvXHRZxPeE9Ann8aoUdL23ML9mWZMd+8Pfjy05ihKsP65aCpbMeUXBQAOsAg4im1P2i95L+q1oKUZAqOxNmmd+xYi/+rZNuK834mKbFvHhpsjheUy1Em68gtxu2ku3Hh03EM5fbaNqtcf3467yFKpFityLesQrAup/2BUguAwc09AzdLrfLe1ZKSGK6fP2J0SPJA2uyqM0hNzm+BJTFpWfV6GO8rBr/cjh3wv7GJ22j4yfl0rM30mTHfz7SYAtxz/cj2NNwpPgbQrcMtcTPngmBNAIB8shO6cMoyYe73eANlFjmGzJa/9JDNR980Khm5q8E2a7Mlba2OZjD77i9VHNjiOCgjcFTZaX1nWqKcYzRGNJ8bq+qnFWp8G7dgq3XoAHnIm+yPaiWsraJq/DFcGFKr+gnxe94iX/QxnS6yvJiiZOMJzJazwyYEI1mEoQEkBMnCXov3auLKXsUt+n+vHc8F6hoxZ+b44SkjLuPcwS1UL2k0GHoPFBEJj6rSowy4FmPnBQKS8PL1OFGc74xvccDHef6aNIQgcjQvYgDiELV4bYu9Bifa7e5NEXQ23ikw5Ujr8LPWqrzK5wlVSgHLJdNOOWVduCSVqCs9HPrERWPMB+Rlryh1D4T2E78b/I/bfKIf16uIgc+u4UqJR/XvfcNqEIGCCyKappvy/BKH2T7GW/rjNlrx2ojokpUKsTXDpZtnxkQvIXfZ+K1/VdSc4myJ0J6eQYlku24Nv1/S7TbViVKgZxNKG13X/0TPIZDdD6MLh8CvnyQixcQTCbm0Nf7DUfwNNR6HbFuEF0Bk2jp7hhRiyIF+aMIwIdeOI5eKmqJ3Yyb8rj5bGO3k/61pub622WxD7CMknccOmq4ACVBzITFxZWEUltX5Ncp888k80HlG41Atk0+A0/0z8PZDCwNBm45RNcYhSxuW9xKidGHdyn8SMtTAgKi48SOUO1Tzame9X4XwDJWAbr06D0w4WAfbLjbbns69trorHFaCENq4bojXAXQQ5VIEBzOvW3znHVDaqKKfTYqnfIXzgBnyAzc6+eDMEmHMh6R7nVQFJuAeOgJQ4LjAE5ndAVKkhDd9JsFKjunVlgCcuMXWlNUdadPJmTbLN8FZVZ2dQBEtcISC7uZwYeJsmLrdAvEk8disiolFmigKdmt1S5rUG3zHTovJChETFglFjh/uTrxlZFeiJNxpH5Aei+FwxuO3j1zoisyI8k6DxILQLUSlIXchjcFLQc/YL1TEVA6r+dqEAljT4ZX6MMDS5vakG0YDzWshvQGLDeOsa+6EixW5ALhLQvzeBLW4jMyBIkIrdSkYTR7XlDOZNX4q1F/1c7dVrkp40bcceg9J3viBeNCtmDeHG1irNfwbM8zCzsjC9hgXDF27zEenUswVEjyyGPPnjJQVZSdWPyK19o+FQcM/qWTuZX5kvgK6YwoVnJvIw/Ey+GXZFHaihPkRG58T6kK/gKPPq/FUB5zcVVWQEVZSdL9uNniRdPDIhtrlcqyM4wZ0wA0xLI1VUl4P1nppopoC1Wr4kYurjKHqxzkWw1tQWuFtXUUaosj8YyyioZDfkr0JExMZW764FZ6qpToL4Q2yqJe9AllR+LS/H4BXRDS3RDiZEpt1YiLql4AAIQ7RgaL1fXMsebMxKnppY56Yj0oBf0xpMb0bIvBLT9orCAkhGcbfZdZCVBzInpcBp1HtGHLcM1SfU/O/EMgFE+wFRCQFk8aushWhvBftRhBO3V6b+DJyHhGszkg/1eFh9QuJ10QdKS57aS3X+MWWjEf70eChvY9eRmjAp67BXVm7DC2sJs3qMEre2rmKiB491wFVJdzoQjERZzMQ8J50wyJSCyoZMdxTJPcbKOodwpzB11hrKY1US7KQDD9d6ElpNuqAMhhhvPgrfDc03XYFdqOmRIR+ywF0BjKy8pG0LeTrjqWiRgsBHQqcRcI1TkyqkO2f0luCfQgyhyXHlNYopuNzmIKmG1npl4H/4fKYiQkHG+0gh40Jf/yPhjNj0TVMJI9dOK9gSDxYgT+alh+GaU3MH3mMMx+y3HHJtIV+exoeWwTJ5w60wdZXzkXJiR6A9UdX1NRGRLAZV+YhKWv5EfYcCkI3RRcx9PVeAFenwd+UXd6u087E2fUIR5BoLmEIRFLQWNgBhiK9tb0VaNmiEWBGNVZ5YiF3YsMAptF79DWLMMARHljcI3zDCvjrh6Lh42hz9hOst8jlLa64drPnctJPytlbDg/XtkN/+v1nd2tpizGlmnVT1FV7xK4s5/X6rI5XMeGUqqvPaEPg1Mxwbnug5GfgHyX4l8LLNaFgTVhjDouGvc8mQ4OrrM6GlXEjET3rTmbdHm12GVw3TbQ7GBOY2oVV15I9JwnLm00id79X2UYKsMyASO7PMoqUXfjFQig/0PZ5EcyvYH5C7pxREcaqkShp1J7982xfYOoNbqyJYH74aj48V0BD/+mcDbD2HKnVjM2bTH2flMH0dI+DKO1uKa8HMzHBHWfXt4apcN16wRIFCql+1zxBaAlW0ZdkuyQpZMyKCNlJmtxzex/f/aa931MK7d36woAIefcvBz3Hk/NPJfImoOmX2S3KCwsJut9FtZsvmxnS/Yr8fUyIJM2B/8f/EwaNY4GdL4aHzWRL/7RfnNTsn++MVAgojJ452BYBg/dpYSxyPKwlHnHZj1XwCd8S1OUULegERVdU1eol93foChsq5s3xWiWsqvW8OmDtLM8JKjuQSCPV4cT5zdBhk1nZarHXEDza2p0mxugj6Zn0Res+ySpwWc2WJ1H0p5imln8eGz0xCTE0KFJFknsx1GXylyXNcsVqXH0dHzT6C1I5x+4GftgA7RiI6PWEva3JnGwL1wVUo+1gVmuBpMy+jxYYCoIAONbtPIAg7qXPZcHk9nFqcJUW70C2NmC6S9Hk3WLsQRKY3SP7evKcA2LAlFw2C9hhXDG/FnMWC6WAX0zNhHqArcRrj7N+n60JdjLIRbNGZMSSBYBv4S+qG2HCNtLa1EpatURmiWQw/82RKdQz5yLydHxgCmP+7FMfoP+9fUTYYSuX+tXbXE/fP/Gu1xFziaxJF3BW31v8RAtn96JXG4BnG6T70Q0xGKIp6z16aDZmm/lkD/HMtoG8yG/xKJUwqukfmPmzGKwWdDjMpISre4EKKB2qzDyRswjzk3vPe5EkJAKThkuAU+StgJ4rWhY4ZQJzR/HaBk4ERb8F4+P6uNnQocuju4G1bDVolE1P2yZoW30CgdOjTfCtlwUj2IW/CyEfXvuAzjarIs8fBpAE5YDH6Jo0uurQ++ZgxKmcAIDANfdFXVWxLc8wOgMDEiKY32HdTJ8F4MBaSXx+coPPGBbsFfPDzYN4fyxyJZolkpufRKuc2z4gK6xgFoweZA8JElq+KbfWXOsVlMqzratQqU1nURfwgL9hbP/qj7wbmD3+beneuZf3Esfs6jHrG2p8i1MkQdTWwCZO+2CXxaZuN1Q5RKOjGtwUoEe1vX9GRxz4ryWwwxROJDDBO8BUn8Q5Uk5tkllPdFGv8CMs9PE41xoL/WZtxnwbRVKcyHLxrA6asYi2SSbPHUPAV58awBQJmpqKOy5DpdtvOzyVF7T0hbLtAMvuraTd/0Iyojticlh0tZUtXJ7ij847Ip5W8wUq8mXSGNqPFJW4yeYyPmQWEzJIoikz5F/jyuUTcb9EZVob96ujdFXUYU9wWyxjpNWxukgbIozZEBnqNgCOf3wnUgI/Uc2310uZcJYPDl1q6mzh6MCQa5UUPShCHNOLqxo5UByaw0QG7J3yiI5Hgl1/9T1KWeqb7cgdOX2UhcD1roEAptlCCyBrmz1vQvICQHI10PxKSRJiOCRg/s48bJSwUi1S15r4+oIp+4miuiINSkM0VvYQFIga9XAOgKbVG54tGRoceq/pYadiZ1qt/vy8OqrxHmhtPc8NFeeHuFRaEw9INjU8Cloc9l7vhZa6ujE6ghSHrja90MtGYu5s7LO+0UkypIh8yAiIxnuvT7C+Imfjph6CviwdKR704gU/dtQFiE0aweeY+Z3oY/eE9uEtWUb/gpxa6Hl7d9TpUXRzsxG+Z1oDPi5qZMLtoFGXB6hBxGGHUFG7RvVGTqYKQsxkQbEmtCAX5kaS/WnWv0bNQKRtnmLrWzsZtQFOaXv/8OwAZQlucshTKmwJbxuw4FB+YeTDAH2LhX8Hg9fA1iJbJMQeZPiWwe+RuZLwoxHfPGr8WHIElU18ArNWCVz3crbOgkAXFqSecMZWN3hfPC0BPIudekTdpfT4lBSu7aUkz3T67jGIW2H0xkVagkWiCIma0gJzA2+4Jrgcph/9ncf2llkSwD22mLLTQyjEi0m01nBPvwzwVKDiQ48n7ydw8ycURuJDSy2BgMvrIwi/6mjpPKH7dnJwWBHZ+9Ix2tG8duS2On8GhLPVQyVk3j8b6Wzl3yVM2oAiNvJTJKZ0kY9yty9VBtRnqyAzo7Dy0rE/puQjgqUSPHVjcRmQO9WbSFVHfSWHlPPAeWriGF9NTAyPMgauGX6of9zMcxXN24/v1TeWhJLSUTV9Om3Og0BnC1rp1piVDg8gip/kXp5mD/pkfj/0fAu0FpettWXt5CC+0yIJtMFoFSXRNoId+5Bnpcq8YbFY1lYj6CGSRuKGLc047xTS9I9sNjRNSbSIFlirEjUAimL27SYDEHAKyuH+dI4R2BFGVHuxf7QgkVx60QgHwBfbltH1uLRmWg5Mv7kZNCw7wpHua0AID0p9HvIsti4HIb7FLh/coQlG3SiIwPjM+9eruDw8feRQnq+hsRFW//SNoJpxxf2vMZYG1+Ya1e2hdXTLKhSVJ1xo4QEuq502MIBlUEnYyN97OmQW8dNnLE5jf2WO2Ah3LSEz5JvPAuZbWO/3UOlXEP8xeVm9luJ9caAx3ejEnEHFiK3plEVVm5phiQA+wM9nCq23BvVEMJpMh9EWkM4YfaGWsCQIbWg6OYaqsmvpjNQg5hbyxJUcpxosWXBa4W/09FmnEAqkc6UaiE+Z1NAyuE+/zqcf+awyM5rADbdbBkI8FVwPo8TjO5szvLSIFjFNFDulRcilQxA8JuYbyCbn1iEK2AD9W/TspNKLvviec5wWBtOyxTg5IeTmxQaYQrlh2X7ig5twfpM5LoWTFstqZb3PYusKx5xe+XijaXVlK9Ua2u/mBFPt20+yrHRtyfX1TD3+v4BqY0W1WdQOhdiIZ9yt0Yh4Se/tSHUGyze7IgZK4o2r/I/0cvkO8B3YlFDQSyxwKtZWmBqN5kOjlOrL/7CpIMG7ggOojhcccFVfqWwXQeaH6VHCLEOQ1O3xGO+oBS5M7rluV0RVAjo8fVd1l7Roa67ts0DVDKZYhsPSDIsoWuiMo4bN51Q8Y8mLGgic76BvcTMNuKc6IGnJPESFfVWbleQfuN/6tObvJgEXqsDH4MWYh/825WS+ihqN7i98smFu2k6MEbhnzbOUcdYCQdqL66gQQFQZkMw/haL81Lhhnk5BgqZY98qfteyJH1oE9OTiQpN6f1eE19dKyGBYLvU1SuykHpK9qQMl6Qpj+hBKx+szBFvnF7gA78mBA9azz0CpRe0clqtVTnm3FWs0FOytroRoOAOWE4nvoU938l5gN1cp4RDEXpfBc9YGn0ZteO9lCOKXyGz2HlbjcVpKZo5wF18yf+lxSLny84CsS5MkU0kxUq7Mc8gjp9TC+tsGU14AVL0o8R0uQRsCAe5Cjlc8Nln/nAaXF+3lcu99ePHvg5LJPtVtaadh/PoaShF9ro2p+rqisKnOSuoQ4mr3qbbIXF7zFDR4s5NWqR7gjU9gpKjmgjrpnGGAfurU6BSibgtgBRxX3mzZxocjgAaqTRi9GJP1q6fdwzkr3uKxPwavFjI5jnFGvWwu+jTdHKnbtj4rUmecBjniTpnoht/Sd3mMkhfCbSok1F7/d2nV3As2E1JN9K62jeb6nAtCISXgpFF2A0WJ1lzpzef1ztGshZBCX2DOhpAW7o/zy9Uxgfo24Tcs7F4qOK+6QnMMOsITyc/vVlfRER0QBfx8bbg5VhGzbnN0bdNV+c7nIgXLfrJeKqQn8CzxuwRQQvppY9UX+8IYp2hW/Kl2h/Ab00zvUHOlEK5kCg5dQB/bPyIcEzs7VHfnSYBu08yFXX5EfmEfjKAw+iKlJ4mNJWlpBlUMsoPRbYHdDlSmoDnGJCvPX+B0VT0IIwVvIPYOyXhpo3WKRfMHnWqFLcn/qI2/meqSm+Q5NjkvQ57eop42K9SbccQzmnFxYKb6T1MZWslM0Qu93YKEpU/Oogz/0ckdEehHXW6Lfl5iKkC7IyzvR5fvg7c2W7nwRsCqMqcPNlBWVMOEDHG+Km6W692IHQciWlE7PfU2qYbQFuGBOpjZOpims89kkpOMfSiIx/MndTkw3B58z0mnuL1MNKX+lqzUXNL2CRduVkqVKR0W6Q+04KbCwYBej994OWv1FDxZQfCLrjAk+7KKvCVZUgTg1b+8YGsmBMAeUrQRcXvM4wou+JgT5wXzXdib0zppXhJxGWHOmRUMl3tXJUFa7XrkinOM1zOwxHVmfGDSg5jvFnBku/MIIMGLuxqgjDrblYe2TMkWLNe+9yz8Cx38qHDpgyXqZZmZS4znmvdbiQfflhOPYIOkGCRhP36yyOO9/OQqlXAFAXvtKLY6Rw5VKMLPTQewwKievK7o3uBtlmOUwfs9NPeCXGVBjOJZiTDuy/9TPfixURsGS9/GHRhtTVSprg3T5kiBiy2/1ux/qAqvF+60tYKiTDalYjWK7BrQuGvUI53cE5FLOodpOccFa3lLWV/vKpKV8tcHjCldyBKgd436IuXUKojDQ39scdYJUYCPUtXQlDehkq1Xk+o6DjYcv92Gsvqh3o02XcFbqBxE80QQFhDbmSvjYoxCtzXAmYdn3H37uM8qIsNB2fnIsTUz3GwnTLz15TDkctQP1nKsR0stbRoWWZVmdjHGMYonb0R5iPaxZ7NkV1AkvwKgWEKlaG8yG04l57eOc6L7TsqnhZMYr/9fyv4sTEfO0JxI9IgUWbKE0UNECs0yHr32CMm9TjF9J34NbMCONibTheN5U+WpMKdCPmoxdSqwu/sZYNe5CnhI+tCjWxnwKnQf97ech+af7ngkPnmGQGGIvhHkyw+60qD2iP5gx7kWgTyL+wKOLGKqkz4XbAyOKrDA8gUxFFnHwAH691ACtuYniSx1k+vOBS95TxXueTslVl5Jlacw9uiVti733MgnoLxCENzRS7coevDRUk6aq1VV4MPVJrsxjtWr+NBv+CM0OVv78gHIC4AfQttpGF8hWw/MNMmftA3TVpjnNOLQpacg//qy6KNyIzQ9A+sxF3YuoGtqmdZznZuiZ3c2I5v7IlpLhic0y218chTL1r5BgIM57uTItL4ZO82Fa5AY1Z12agFHNYaAMFmajZMhFYlBfgqbtdKShhG99iAUUPQy/o40MTRi9q+iuQTuX+gfM/ekNNkXb5/rYdjKSEFyiARXx4CyFGX+ax6L/XcFO4Ao3Bammb+BIcrpje4SyvMDuTxfX/1T1udjjI80b50qObR/0ETxQQcWUgBams9A97Y4fsKTPKel6+zOL+QldSYG5lNchHcL+YUQTqiqOMPN5VkhZMVKhRSeApAYvZ/v36gdzJiBM7So60OB17VgFPX3wVyuxdIfACO1BScHMQqDQrsw8zHbS99o4ad14Bn1eoxf7fmy4PT1sh9Z4rAnKbnHZQZNWeCTB6O9eIhTqlGens1gw3WG4DKMwwGUP+jJSPFNzgKq1x+L1LKBmsMNcfG6a8mlOBlTDy4gjQzSFC9f3wbuMxE9Kf9WeJ/C4Rd/w+cZbq7bJnXgn4f7j//Y2SGmEDBHmQWhmwel9DDrwkvS67fyroAQPQua/LNm8qPZAuRlC2rVCv8suTzsS4ID1KkPVZzRtAa7ZcViQr4j1A3PBJUH2GaJ1sVSuRhxdADnBP1Tm8Y+CVcY2wu+pLE3Q0QstuPEm4Y51PTSmL5bl+h1X0OiK+JQymbHTA9vJQI1/y1LVmLA1kNSsNk6YwmwRvPOCFZjMCQ+EB5z3IO/+cfA/Uu7m1sCz9L3gAM6T9RkkiimBCnGKidbLE8NkdqdRrW8XN1DWjGlMgSqVchZ9vgorqcY9wKR1zXBPZCWW3xq8pmSB8QDIYSfsdwXG5v+VB1VDYdzjZ37uPQFA7Xn0EBcGNcWdNsj7sFHONxjaBrudK6+82uRWo6P8oAT5rhQ8Lt89dRwxXFkzcvlmBoT60DIAsTyxRpbL00XPld0wsOe2HcqG3E0j/8fiEdv6hsR0JXHkwfk4KJvdXprg5Bxa8/QFdYk7U5cofzEihc6OEJzU8zP9w5AFhLBdKEughL1n9WRMBP1nMrQmLX/Hbr1SQVPza3TYe6YTuNgGdzw3ti70gjm2niWh0YUBNCEwRoTSD1QNRULYe6wsSzDX5fAID3EYVQBMiQkPWSNXYG9/z6Fv0MsuYLQQYxCs8tibo3GvCrCbl6qhefguxLrILNDQMocn7PvZTMmBkSliX9HU5SJFd2Zp18ot96oL3JeVhufTJDWeDEh21UfPmJ3x9V98EvPF+/ZrZYjczTTcHBO9LIhNC7uWcZE8MZhOUsRUy6vAAS9n6MUpkNW0MgZ21DT3dQ6eQTWE0ZkfJEVfMnd7TfNLDzOI3dxjehzbo9+CGCm0kGWwFRnBFddEmifCNqs6vk3ybTPKmOYXTjl53WJ2hi6oGbZaue62Ju4e12+ZBtkmcaWKH/86trcqn1ut5pRqTP4iwv1SO8PQVNDgoUYUbjK1X8BXpvgdm1Ae/R1WIqrRZv3Z/x6InhFC2MVDLnrWQzbFpYmvCzx6ApLCB9C/PUsYkGUhknrjDALG4F7TWEkXhqyv/nR5x0F45B9FUL8ZYTvrCgrYL/S8NOFcH3qwhXnpR+ztuRJQk8616KQySLjuAPJNcwicHbziNTS44x4Zx3/Z6ymdzJx1fBlhSHW5mKp1AgXdrn+YZrLH+CPDbm5KnWFANLqD6YV/Eix9F6POagCFr862mlcpuVC6yzUrk6pP8F6oSDPBfeSCsIaDrdw65WjJr35xwPaOHPbvUX40k7NavoT6uZMXSNARMUfB5MWWeemE1DO/HxuZBfptQLzn93MX8ObNOeR5dstjbbmp3BkeRCt+SYYu2DKOjKK5IdIyemRfnwlIAKUpZsImmTlqrI9Ebnd5gJipIkm1bM7U6kEPWD11LorqeB61URc4DRo57VAA4dLDn6BqNmRvJHlai3BlYVnHMUROsbH73kCkohSMhkoiRgsY5KhRFto/BoYduxRymDQQFAur++ipbh5TRB8+mr3KkTMO3oz9xG6kPWDfwLohoxSk0lsFcQzChhfS+tEWKLfuFG3fxSqvAvRVawtHDUPOSqFZZzoCzLT/hVZCd8xJXhgeq9zdeOy1RS4+td+zF25dUhDLHJyszfJh9Bp3ZNmxeTUg/0peEPvv/O8h5bbSB/EoQPqFZezwK1P97G8p71v1tl/veP1wA7RR7g+lrg4s3R88N+Pq2eU7R2BpVdFGIl7hysZIHkCSW65jC+zmoTHiw+5D/Z5RQYM95Ad4++mOXcEKTv3Uhdlh2x+OQ/2qo+mEPxn+m84/XwOyox3bENnnFmly8J9C1axMLJM8y8FjNHxxlQJ9SuWl0bIUWGjzNPKYGmGOuww3PSGaAVsKpvft1O0eWPJZ/z/DTtAeDQi02sad+hTFAZFQV+f3kmRNC1NCkRmKcBJnNHf+cjfTPc+B+dhQrn3Ad/9v1bYnLQft5t5ozv53jRCco7HkoU+ZAuvlyBJwvq8aL9TruBpr7W9kNy+HKBstAZwBckDlmm6da4juws7p5Tjbc7Ecj0A9Bl8W8Ou7cD+XgQhfrp1R9QHM5slKgZvW5EOXuBAHBkmq3Xtq5F4/GMGOmqe6QUHiFOAzo7IcJ4MFd8UBEoTzzo9a/x94/tedre1oZ/EHKGNTv3jcF91hM2umgv+NjGoORD7nv/dgWEG8RS254mP9jgtsuKf4o3TDc8M8q+9UuF2+bDELJbDq2mLu2yxbOpQK5rExc8hzrasrwWg2fJ4OB4rUtcaAKbR+ItwTNrMdImntwCeiz7CUEaJP6byjmy/aTsFrxMMv/iNsXR3AshBWH+5VJXVMwMAYOgEmzAl8L0RlJTgid3EhjV3nQoQhfPwdU16EkPI1s9F6ENzStGw+kLb9DoskwVDbiEnk+xiyErhfQbiQyNmg6Kolwdmlbxg8a4m6dJL+LzlSl0tTU9xbqLHcntAUgJUL4OfWovKJlsYf/HnxAxashSUO476zi/LHrkv5oP4LSDl1xjFI6rBQ8OATQFp+DCkhfqnb0Csn8UK6dqbKwtpEAvhWHdlLLO46a8fkfOthIOPZaZA2yfNOIROkWhJPtg8mmyzRawe9nSDj2LvIqx62BGRc+JYLuKwEESCCqQBtRBChRJEeZt6l7aGm6neCFrPoO+IHJyx7OiTZI72RBktXA1P0dQr65ZKUqN35F3B/xIOCMtxFz9eU45tXLFIByhf+sCAx+vMm57WeCLiwikW0x2iJv1iqI0dVFPMd9kjBwkAKMFKAaD+xDRVPrl3max1fWgCZI5Jb24l3BVC+1cde3wdbAelNvBGNtSXx6s+CyRYU5DV9oRi2AFdHDJDtWO6qd1AlLXcYMDq4ZooY+tXPcLlcRuWuOApLGeLSeMUQbiHUwmkykmcKvlBpta2LJYpAVzVBLCBzRtm+Qxtr3JCk53z+Do0KD4yD0Y/tZkf/tr8PmMRXsijFuooVPKa4M47k3r7u6iiopHekft3q0JrjKndG1HmCqMnsJ5BpYhIhBnDGWLOXIhWADgsPzgxO45SHDDavx8q8wlF7+suNPxSwwdZnBGAicjOytmaAyQmF/cGFRL8e7WXrNitjIDOu2RRcYNp+N3Rg9kxaS5q9/rFR19TD3JvZIHwuCW5rj/GqyRORLQm/P8yi5CdrZuippKG0smIGu6MffjEsCjOFaQYW2Lhfju5gsky/0JTUW6AavLgkCK9rnmQmtFCZ0tvUSgi6TlcWcpm0BjJuXDdLVrlh3oJTalwMW+MCw0QEZD9wEstCltSduHj2NBZ8Bq7GEFY3/dUgn3qzgUHSSQLJVU3K9ioW8cO0WxirUjb9+doSJ3wLsN/Y0MK03Bogs7AtKURG8Mz4PZiltS2D869Pv4XtNtlLw5I5ePt8u0j/cj+hMzxxwOJL/QU/p96cTGMLcakKMxOZ8JHXAa6w3mwiB0lzciiPj26GOiuFS7K+jelm3BCwrMZ/Q8Hlkb2k6xW/Q9hNDeM1AsipIcwOHGsBLKqngEV6eG6s2mjowwWS1tD4NhOQwKuJA+74BM1yNRLWctVJyTh7lBIXEsznxD2zclLNrgoLLDZ3A/setGvgCf1JrTFUM06K8ZiltgQzKv94PSMM/+HDibONYKUYTSauAOzkjgm/a+nnUag7y3F+um/1ohmmYVFdth3mwXOjazErG4mogd6pwxlmHzNu469cVRnxzoDEiE8MnXnuKDyjQ1S/jePDTg4Q9hb8DYWqlR23Z5y5eHEIqcGEa+4yJy3dw+ym518As41AdEG52R08NE1Kd8NRhZwhfuabX8cdf4txnsfr56cQjCwtEwoWVsYx4HYnh2r8ei4op2MUQEuFgyLg77SvUdAkccrDDlEw62zwQZ1Zp+jHOxSGk8kxUy9UmJUTIDJPhihKByjg0cuXGySF6MLXB7YwT98yBcWRgHk2c8qF+yBa/aJ4WrT1h3chOkoz4Ji3vjVXPJZQzbqGeJQ2Td2XRa/7x6PiHHRVGLpUgHyNIKjxTggO/w1aSm6VHFgJ/722/7JEIsaDOFMK5w+0mzwPpt9TgYePfvqCVmXz3tLmXQvU5kTLuknt5zFMIgIk8ar9s4Ytj5qYZP5qHcF7hwPI1vgCZqhiaNYeF/2WeI8Bigz/mUqqSmXzVqKu4mC6kVATPl8QB1ItWr/YW45xR0NlOdAjUrYRhk7tC8sBzHNF/mOvhMkJcsOEWUIKEM/Agc75kPGH+pvhVHimdQgOmWgGGSQhXlWJ471jNPpmNeJ/hiS7AapIaZV6t+SpREuVqPENpAbD/rLbw7sNsKmTdLW4CM1pXbY97lk4sxqgxWiTuGvbIBH2WFwwHbdpseYwwXeA2mYpdOkL1xVuS/oynsgJqvr06CPIL7kO59hu8wbgLlRwOoHKF5wRlzFZhVZ6hOo8YDtfRiHjGTtmo/NG0I+Pua4R72K//4pCsVyJcrNb/+EwoPel/AyZshANRjxnyIAcSQzfUiuetPqidu3I6tDLokII+LmWjxpaVaI3tSWQx5rO/7SgNX3MSIhJ5ROxW1nxvXl2FoFGMAUvnHOSMOh0/OPmimp2Hg6Mb2xzECSn6vhvqx7c6OxJa3YtV5jPioP7VFFlGeE9IP0wHpdsDZEjZNX2LBI2P0LR0wAhPU1uRcyHygMErBig7+vslprf061ik/3HoMVnapZ/PbO20ZmqCFoI0AER7i/0ZPc1oVV35CWXMdroZNO6gdFoxMM16pFzZOHMeZmkECsh4RoPdYJzBqCf+0hxGD33aRzykW3fb+gbfesQ/wh0b49DkURlUosOm3/C9ypoaSPlzTZLflDbwsatisJdOhkdfC2as72RC9QZbTPMDI2lvy5c2YAUB6BEn0iam/gsMcEhtbmQ+dENGh5ru79KLUHliQrSKZyMBRG/dXQxOgY9/GCmPboFOg1061m3VwU95SrbGJq7AvNXUUBTVn5te5xPljGI5WimhDST+fGqzBXdq5rhMWkQO0yxNuu/Yq9666OBL/bmO5aoq7vAlvU7n2NnqTauTyUoRdTbc+w6QFM09M5tiS1yngsLT3M2HRUFvdbiDPcvhoW3YHwqGGxkiHPPRk8cKLiggQTCYLwSLG09k018pD0xjTnYv/Tw5U3dF9+AJZrgM7rltNxF5PkyD53D5G0OYYJ2XHDtLlcUBfqg5Ny8UisJ90mIVmHDUO3CsFf6aN+WuTS/Aue1yxVfBquvSkcEa1PAIwk+6E5jpES2FyJ0BXf+O1FP5r0ANYXzGyjLP5yDF5FPq+qAaynFcNn5BkHDkCIRdMvhp92EEYHsTIdJFutsd8MYS2zb5KFU21RMuD1NblymHvONm+jk1rUPWExmVvw7HWsdVtExyS+sXB3WlYV0SbydHmTA2AiWLfXDwR2fRa6kQAt/LAAfzLYKt9yaukP5qpBygy0kKsFErt9uYkQWUDf98hSG+Vrm21IkkuDRD5ZRMBMIsn2A5XWFbZoLSS3TrSqTcJusFU39NXxNhpo1RqWTajEq6yM1oGzviS6uyq7gT209fr9vup8a/VGcZM1jCVvY0s6iaK4HofXuoglrBql0Sl3Z/E7AT+6A2WQuMhwiCnI7goPGa2k/hT9GCx3bPw5Yeu8xlbM5/zQjUC6ZHv1JWIUBaJSGj5MhMqS/i+5HyXTWnUYJ5AWRAzd816rwJxp3jq6W4ec3s+FPgG47D+pbvqdLVxNKBRJX5CSz0uM42kW/vz4GWXDoKzqvfWs4nneB8TF8aN2UfmDEREG6dPGFrPWvTIHTiqee8ARB73EXdgB//CiHFlwVUzH3snNSmApx5LIu4LLrFvrd7+nX+kZ2x4jUxL6kD25H4lQNK/0pQQd2cTumN+Fs1Bo+rp2JKMVRS/ju87cZg/xBdp4K+xapCeYNGANIGzt/YjTJ5e1d9dywsEBG5W/YrO8/9c4zsj8cVFUHiDObQIhKXrdRziI/o6UqQvNDB/OEOYNmUNbHYi558hD1LaNtNghPkroIx/+jdgTdcSkOPyNhBVOZw34lGlUDJtklirGQg3LehZoYf/wZnBRXMUdUQ7J2/m/CY37VxgVl11hYJWtPVPbGDHD2F61xll0qNGuNshtv8J90KzxwHjK1Z+0GCNKTPAlNGzuBMxqQWuxrlUBcthHtXEdTx0oUCUNc0BYnXkJesghl9icM7bRJCuQ79mMJkIuZZ3yxAKjtVc3aB+m3mrcrFig3ecpTh7lyFH+fJrVMGi8SuQzfT5pPntyTzbH23mo3dSnXvhgDF34TRPiCnjscA4tHEGds1hIUsQeShp823Nihgbu+1jLTr0Lyz8Dk7QciIBvKjjSNMD9F9UmSw/DqIh/WLQc9btytlxdX8rzukopORUsSyMb2hBNdq4YMP1MLaDn6GDuXTAR4waDMP2TGkf5wSCx9tVgEjwkFPc0pFHvYrFUr9jxy89IWV08Y55DV6ejAZunpfO7wGP1F8ErVVCHw+ZmQ5esnTbKmvk+ihS7W1D1dsXODOa9sACO4UP9c/cMJWGurYKG0k68+1K6OehDlacr3YlfUMfzzDttVx4y0wA7NsmepklEkshp+iotfwiyVlLiTDRbdC03A4/FECvYCwBf0wJk4MJTYziJh5e4U+z6j59nBHSCde0GyRPEoGXrVrOPvavvbTgjmMTJl/6q7pYosKWG3Szk6HinrDn/tg+E2RMMOv/pkEZHugz1B9otSkDXf1hUHrhVWgUf2uth5rYGl2bSWCcEO8I4kzhCHSku3CIP5djV/14PQ84SuWDvuA5YbyyOa48e4lDl4azeylp6MnfMVF7Yk+0sHKU8wgD2bRKkXX5KY4IKl/h1ivljSkW6jTukYfQp5pcKVg8WR9JqGsWIkDBDybB5s0vqSzHSMQOZlXQhSkaYQiBIG6a6noJ3sHdCSHG7K0jH2OBPvj4HAgyWUt7xZorN/igIGiKmLXug9wyzKshgApbpc7gvEgUcvIVUu/VLEKZIoTqkxPHr8Pg7e4c2wJQhusbguXFHARwbFO4MhJ49pRqIirkuaQourwHNoRgjlpyco+ySbpspxQx+xWUEtPv6ePjOZa9mOkGSffdnWQNZgEk7flMOoWB6MZdk0nHIC+fF/pkUFiROR8X6fQ9U8yOzcUOqh1jvF7ge9oJfJEPppCOBtguhIGg/JkCWGfeGS0nvg1HT2ReA61mxKdJPlAPAtsf/ntp0bnwaeHlcKcoIKToFVCCTAewWTktsjzzU3F26bHwHRBm5D9t2Uah+Tiuq000zR6In0sw9D1qikR08GIqxnWVmOHwFHNK4TrPUReZeI+pNzdvH/hgvTIk6pXov4UIrBLm/yILm1vFW9Y+IFsovxxvcllWLHInJgHlbBgFpI29D0TVnirfWIEZ3ys8nBUyqCe92fhAeYDx2xbNI59vmOKUFpcu/hkQuLPi1ustQvQWZmuISv+Ckrm7Hpf8SuExMoSd1+tv8k0xbBzy0jYtoe7zvr+uwJGSdnKQYewfbb72YE+EqdZZGnEj/9gU0XPMSD5TfC9cVYjakAUGGiGRtHycRRCbXX/udElIcwLMdw1ooP35PEagGGRsag+dqE4QwxrAlN/BQVG1Pk0hjys+RXTfbjNNNsSHiBzM35HT3ntOhe+VGTpGHwDswCCpLXLkf5CmYQ0EbAlp7HZfkjsmvQvyT8d/PMauNoxvKwFQTxC3rkLRkgfOuRQEn1uQm41J8rMPyzEnJ/ChWgGoDoYMwXIwefAqtgnL/HXCvGGGCYmfAwgPn1pu6Ft1rCpH10En7Hmad5Clw3nIcLlAQfp2wteeSj3n0utd6dtJd/KVTa7gMsvXcQ974VP3TOhInkOHLmukv3LTuPobO/BexusxJQuipmmCEJgxI/leZy/yIJ6Dka6hAnTN+uOaB3JSEtGiAV34uzAkI5LqZ0v7eqdXsKcwgJyA1Zti86l86gSyhwHIUPWMjgEYQRqkxEo/XuyoN5gOG64gnc80Yhpr8MrO2mwWjHoL60WRTbTkLFWWE+JP6Weh4ZEgiTqUtqASg67iTFIrjvqJvOmUJpiRUy1Npww660+Sva+7/L6IoszYn8HUk27ZGhiQuI/8MlZl8Wv/07oS+v5Gw0Dlkc12yuVMR79yzNgbyXO7+Vr62l091q+AlDfpOs8pcNhwrWuMy31c6T/+DSXfpRJDJQY1I09kMvWtLn7ns92I7aQmbLIhbgddluzbeoiS1364ODY6kZCLl2SusG+asfIY073ejqVl7gc+yInbDaMQ2masCTU4/wHKGlFfr+sIk5v8AyiVAljZU3+M1QcrZFDST5sHQIXO5dE6NTpKPsVK7D4Qc7hzSCs3jks4ItM1Tv1R1l2PaKUtXe3Jcu8oiot9lw14t2a05DCrc+fZ63jVY7LScZNT0wzPnq63JLa78fzGoMLa4DLrLVq2m0njYukhMqNYa9yRRo+w5NuJVSEXGEsY83htB4VED7mpfMa0gZIJpl55v1mt56BYhDDOBXJYcdO7Qdgiq96kjD3WhaycsZnMonmL2HKgQf9bz8k5twOCacMl+/JZaq3GxdsrmHMH6qF++nxTv/318mr0huFL3vWtECnx1ktmTgevb4/xTfYEcqvYZD+5skUJIAhKiAAzj4Txl0h9IcGt2ne+UKeUw7uQMNtPA1s29Hct+d8JhqWOdBusxq2KARCCkUmCIuqLPHfWIL8IiS937c3/rndlAFEqOuSdHtFHoetKDY1sUhgZvgtpC1S5KOzht6H8/gTFC/IZSsUMKkDderX9b6quwm209BauAp86DvRLQgnQVCHLLGD7ULYdJ8SfWWB79okfRUDDtpPVWpx7Ro7MOnw7bOj9IS9TGlNjgX79pZdN/SHcX8KyCBzuZYNziP5Sj1jY1SCzv71oi4UnttrvoffNM437r13i1/DyItNkpKwuYXtHmUJlm3l6JeWQxn+h4pItBKV7i162H5nSSlOSeCDCK9vZMrjserspAc6oMdE8J+c6TxEGVEBJoQk1koCAbNBHz423dlOOLBwez+PYIDiAn34grtbJ4CFgJ0gybCH4UrVwC1tIEsu0nto+ZskTIHgiU1DWS1Mc3iQZJ230rusBLea79Udx3syG4enGy+X9ZhXOsO3f3kCsn1UjUoyE+oJZRhca3Xwgs1JU4AfmU/q8Dl0T9Vdp5YM9RxYsUWj3dTcGt4TDTA9U4bH1S7r5ukcAUfhjQITcJ8rXb0CceZokSiS4JSemg/ue1tYMzqVJu0K/0BRxPOPuNXELRnM7zQBUlrb7twYuaKGWQJtXvnFQ4NJwHexAFI/WWBIVyI6s8/SHbd/NWoTuYTHxC86zGJ3yC0YB7l+GGI7g5D0HZMk35tHLDEF3SnZ9PkDe9ZbXTpGNX7btif+sCgTnpf4uWZ0c+nVMECtc2Vp14OB9T4huMRmg0nQ9nO23h9rHnoyp7MBESNN4iw+FLEN3xwLDg4sz1HdeVusSWFXTOnPzAe3Z9c54eXQAD/+v+un/mw7UC+fbhJIryT3hoy3YljQ2vUQyOTz1J0ubVMTbRHiCLgvJ9OCOQcJXDt8Mfhe8/IA3qV9U1WBBKh6KsYswChqls66b2RyDU9dj9yqJTCvSyPfTZcsx3pfW3ykMcsaQuKx2umVLaqDniRRDvxcmTzHNhobNIr44PfyhRJxLcin1G9eqIo3kgBOKU0VrdoDT4J8dDKJH3DLYPsK0lOE1i0pWJ2I4EA3LMoMdZGBfGf4gqq4COBOXl5e8PNG3otXySuZVjSqWtOaVAoyLo27/pRnrLxJKtb88Z67Olf9M35cvqS6aR+Ogt0s+KRI/D3ZeLeRjmzEBnax/DpHyEBkyVdWF7Ook6lpiuUTdLAVRTfinGeFEWXjJEd2CQFI1vaDGMRzVH06G7Yqaa7dPhZj+d03QL/C84d7OK0aGRKr+MlAPaCbs/bUcgqS6Q1xZi2AZfdoH8o/dIVQbLbSt8ybvJYE7JhOFqHBZ9KDSlVsK2tPGDmFxwdR/eTPBi8dr22EqALR0o02DInUmf0NiFN4XTWD7aSjcHF30HepnqIc1CMqvJlO+trvJjfTeE1QSTygIhrNmB2puPSJ++bLHby+DV3LQPaxz7qyEhjxDi2g+YJeeIeeoNuejwF2bPkaCGK8ghJ76zTLn3cKvg4ZFc0RGjHo5JXhj5eYVPq72KZ/UE1a6S7Us7YDJyVYDHBICmYIKDUuryCi5hZpqS/1DGzq8qiAj5RN9ghxkqvjcb0jcMf6HcdjuNuuSa2aWUUt5NiZ/HB/m7aNwet5kig1dnUn3AAQ7dfEXgRQ1f2mTRIAJIOO/uAU0MQBZtFivYSqm+IlXvQdhAJC9DjM1sB1mF20V9IP901scO7mFS0ymBpVnMYaaW7xdYwWkL6hNWuRhBxE5i2QYoMUEfT074ULxw08d0qGGJY2aMjGNk6bjbNjaIvExm+WZ0gatBpsM6apk8bgFXfH4wZmj7CP0tWBn0phdlCZo4nliLuw/WtQmze1om0RAyxLURn9R8Ck8EmeCq1CEhUW6uvUhU4r6cH9iDdPqvNAmAbfV4TQ1XgZg9x4gFUam7RSjA6nCPXWPBLOYOw4274KoByY4WLlEOq47Z6q9qgF1kMJPO2uaiT2Emu/uWizEwHIezWzdR4JWMmX59D9m+7HmEzNCWbhPRyUK09wVEQHPQc9iF/JUdU/tV5sYNR9rlPIjNe1RqsEiPyW5M3lArf0VKsi/0piWrAfxPtwk7mveVny5k9jlLRaAboHu9paI1ZkPKdtT2GSIc9X0HlE+VazF9Tza2jjukgOQVbD94TYG8W1Nz5KJr8hBvDGFSFlffe/YBG+/MNNfIqVS7wGaBfAO4fnPDRhP2T7+HTZ6veWS2HdqmUo12+ie54tO9Aul1cAjGr54Md00oI5lMTDtMzxQjxnClyKIcIdrY+yBxLljdwkIHcrbzHrswu3V0zMaDddaNR58DJucHwz4b3tj7OJpwe/Uvx6wk4NeeA2HyVzIeXCjI9/cA8NA2yCbYk9Xf/NdX/KyPz2wW1z7R6D620Oc+uwd2hG35VI/ag4OvbIhpcZinyCVFd2nrMIN9w7U1IFQgWj+9gZ0sQEzu+GhfbfCZOQcLU8ktNwZm32tShIH4NCPCC91OgkKrwnvc9YrV5nzVRt2SBcQjlGjZR2RY3dT+QInMZ8qwooZBFPtcflgHZPkAaBQ1HVhtaX25Z7zSH8m3pi2uZyOlFeajZwknw1srJMZ5wyl8BSQDRLttAPB70q7WE/e23Np2ngWtg/KaQanJM7dYrjXKXQ0PfG5zpPBkcYuLsgWJKylRuX3LPxgLGer3NY+dPUZn2PHgxTSinhxhbQfmDc6Wsn6oiDmRGg6+CgV3rc1ZSwe3xlKTt716JPeRki4dQKXR8UkP4HCwAln7NdeBrkJZjbK5KzNNtpY1deowGZOYD3sVOUbbPca4sdVNyBF6QUOa7DRK4X56qn8TjgM3ej3hNo/Vr7kOTSiOqNVNjyOM/ERUA4E47jhEEi+p9kAtUz4bWrQM5MmInYvwP70VSSwI04q10VT+8pmK3uGzIAVspUX+Iv2X2Bm5uJNECFpTlnjhxA+1k5whJsabb7WkUJnQ3JKJjeUFizGm99vBaqvkpQscVouzM89N1iFs4J3u2HmdkxuX4rZdEgyi9O2u5UPf0oYGl0EpcuLnVv3xZfrFDCg3WJ9u6ylMhQufiweDU4mdQxC5NxJ5/8dBCXdUt4maQIXvk81IfoxeXjwzcRLYGESrVSCLtDaYKxXhZ8t540eICAcE3XmRjqRXOYeIQUW4jdTYDI4lT7TMjYJYsf80XGlhXcOlNLQ2jmW1YWwnF6P64DLW4Q+lNFRQjlB7LqjlkOU+BwkA++HUk2XsSlT+it7aw8LjgO8Aoh+pm3odowqDgaXDMFlxR0KFB0kxA5Vk8EuQB08qSR/zWvhnxUChabDRwHzBsfOlCPNd++vPv+sCzV7bvn9GNisulytmXj0zv8uD3HSevZ6awrAuY+dudoGACETOj/gOsZxuXI4Qv1UcNO0/MJ/c+/g8ZLSaD+wGEaSzJ7r2S7i/KuJ6+2FpA+TUsU/79mh0R0eScHqqis9nJcO0lC2uFL/0lCHGtGv6wiHjk0Wu3BlQ+vvztWjLMeIgr97amId9OJFtojM+c03AcUHGBH9sCFNngZzjNfy7hKhzdyMZcEAQ7OUEM6JQVfSqUTs9a1mLMXfGdimF8n0/d0VUYYQL+UMDu3YkLcYJxUl2nTTyze7rC6kJ9vGmnBucvlfAJ+rUNvhHX3PHzaVUUMupF5KitgEfRZ9mZ0yDrFbK1luq9eceaer8sMaa0k5i97Vy3vzi1YOjC0N5xy4Q7WfrQ7vGXnaaRDKq7p5/fMndNJBIDAgE5ghEJGyfNpPZk6lJUMUWbwBz5JmYaKNE4Ex9H20RIgq2eRyFU89EGM08o6XYA7PdgnYp/a8Ip5PI8wATQC2SiDqrXPZ4bEVDdvrRL/IdhdhgP/ogqtXrO5G4vIVG9HTAGSC8ujXh/G7KkdX04H0SZlpZuYMI2A5F8ejpEFdPj0yya9HF2/fxHiZUOSwM6+IvkSRlNogt7bHUqvkD8MP89GT5jGPwgoW1vcwkSf11hgIZiFbtt6EhxirNnnGw97OZ6GLwp/eE7Gg+fhxiHeFH2kE+o6JHz+OfzR1rasQhtO/tJoxFKXPiQ8vNGEOZ5rf6X8dko2ZmIC7PFGRoqClwFx0gj6LH7BCXR0IOsTFB/1DmQny1ZuXhNEBA1CDmh/Rrw1omiLJe/9WnMY8TmH1qK58LzNzJCSnfVM/Uf2slJgZyBFOEnKymKKH/unvlzVa67nVC6lk04qU3eTGfeBzD8bLfaOXDbdjSBH043m1TWS8L57Rz2mRlKHLp8jc27LVcrqkl2qUWjz2hCyN2I9oTBj1TRt/Z6aeWnVaPJzj/capmyJyS0bWNT7zfdMlDhNwIT6guSIRpzojkwM2UUAs7MWx09qElIJm9MVy5513PNNV5XGMsZ4KPkzSP6YakGsonmxd2B/wvRJUD7c5B9M7e9X1+Qu+OOcR470E4JuUALWeP++FTCZseE0vHXhcdzvtiP2OpK4qBi3yfJxH0etDESZ+U+m3sZtQCKibtr3SvFnQfPwxZRRgI6DhTwwLl04XzDXr1zFkRaenkAs3YcB8JKxgZrMIEP8f0jpiYLtW9kzJBJrzhZnP1HOxPyeuid+TXhTT8/TO5TAFo1uX5GcjDUp1ppk1A9bjJr2xpICpDjpOZtXmN3fCOxBVLeUg29OM+b/ysedtLUx1ESudCqiS/QhEhEpo5l2uXEmbCQWOd7ceBvK0G27n63PSNV548liYoIVZUKjqGa6H8YCy+r6c4eTLhXvtnjjnJ4nxkNcRVOSTt661rRlqUY0TrfpopnUWhN3hzAzhxAPmEzBhk0/R8U/WlVaBrA5Qe7UkErJK9C0YD+mEPOb7XloBb1MrMTkQf43aZGG10tPZVCCN/aYpfOd/XKoLyBT0g/FNjIXI1CSqDvbMf8pilUDf7+uS5sCUVD+7yCSLA7DSXNyFYYUz+AQkEBDdRgy0ojCxy6pgIRP51pNmY4xmWKlL8WZQYuqjL5EUAxW5Dky+6EAFez+U5R8lu1OKf9+xtiZmSHuhAs00kts0Lv9+C3qYbFHbg9Pu4RjQZdwThLyckCyz23Ogh7Th9TKScaB1yKr+kXlzMsQ2r6arYKRW+nUtOFhlNVGAr1JuQcJieStIPJWvfozBqrXNR8Dw59oI/cVOIJ4Gtq1LqwFEwZ30d4iLasbTR3IQAd+CGEZZboZZT2+sYofpKRk8RjEJZ4dyIbnK3+OuGWb2616oP5xttMKnkAhYEkEimGzkO0j1CjIhKnNI4DcopRf2e4grFNPd+A7BB/7Kw8P/VbyXbbWmyNUrhdfW6lEhcQuWTF23XHcl79Hm+vwLoZvvxZQzqgqgcEw6qqA7TKueRNiDpJX346YpIWe+OfF/acf3qjHponpuqjRnf6/KvYd6rPYLqSkbneUayamHnSG6at0tPKnaAQ4h3QZZ33OnymzGsju5iqySFI4yZbh7+3qrsye55SiUhQ0vsuik5NnD5Qqu9y9zmN89TAlvsc9RUF2xD5bK/b769EXe7t0gQ4hPfIcCj3rRkVe5UVnnNArXwGtWQMNWsYhzS2rxyN/HT0NpmTBAbfyNrtnvT//VgpbToXXbdVNTLLvBZC0oeVW3eavvHeH80471eXAiFP4qp9Eg+AMEY6lHob9vBtOTUjfxrgTpOtfJh+bgCyn9zqlzllXarMxE1ca43p2iaDWWMEwPQZm39Rcu8g60QugqkiCjkGWgHNpXASDNaryXjb+113rJxvbtbY4F+ZWnx2Dm4HrpFPyeEJ30fMj9SDUrZyyGg5isINupyOrn2ICaMEC6Ekh5VSfmpdTbnymxDjo+TZ9BYQ3FdpUBFMS8zIYqVhYjitn25nEvLpRYXwWUFFp2/HfXiU/0mlkZJws+Yx0bWof0axUe57xE815MoeXRhqrLu+PqUnKCMUdU2UGZk68jNg5SdgXfTD+nXq2EORdcDNPWZv8WUx0EqDGE1YaEyfTn6tK2pRhNzIyRMm9Sdcxo1WYJBB/Q5oxAbr7PCsEKpBauSXdvzjJnAbjLxilvgfg8j6xt5DM0/pycj8StAnfRCrkCiI/ycZHsWJYpLBdOvGQ5GXSM5uX9rGdcMy5e/FIm9mIyxjbhJ6T/A8Ur8CRP25HmfaUHafzCTXCvWGV87DQbWkBLZkY5STuPp/mU4+g+tP7wAb5T4T9RSWXLQSS4G9kKhYtVAdH3eHMJbguosHVTdrW/TWjiwwsKXLxqfycAjwndA3q0bNmcwd1tiGuQk2o0XUiidATaSSIbRGnK4Ru+ak8r68cKseTHKCSRXcG9iDXOgz5mqKLTkc1mFyBCv4BPMNksVuntjXkhuVZ7ceCARkkIg8r6I5YpPdFPq+lJOd9BBMAdJiRFSQsL1/pshg3/ghTe1Yt2MJbzHj6oYzRwFYPkxTtAEE0Ww3cdQ4sBkzfR5MgDR6JCJUv+PFKbGtN5ALR5ZgMROi7q2vJpmSeAhq8wV/FuTeAzawXy3Zv8rD70F349gfZZKWTQPmOkSWi8UlBzs7P/yxYTK3s2wdnbIjOFos4cXM0yxlJ5AjRIssGQxZMtNvxpzvb0P1X3e4hx8KUQbqZcA3ILUhM9yS6DQ8l0GjKbiTLsjKl5KhqHxO+Ik4qU3voddKbhhVVENYBtJN8FaW/LbfEPZD4DNgw6EGkzpHcZ02gdTruVrJl9cCYL/RXf4Q1MQSABP+PEBAWFh818Am40/hiLU09kwBeE3MrGMfTUs5Kp0jRVJxMG/jYYFmBjyiXhr67n1x6tTznGSsJKed8NFShcxIRcYG8bRH/kMDJDeRlpz+HtWd0rCBXaNlllaya8mIc/jbMku8QxqVSdOckzjpcVzmz33zyXu1w4xg7Kp9gRkNbTYveEWmxXjv5WCKC3EWkVv+Yhm9SgNLOSO/QckwNcA9cc79iGPV8m30dqk6S5N2WLtwErZbnaHGq6s7F5cy4CHDhXsPr+GNVcznPjb+y/6OCQB46hHtPZmpdaJjxRXdM3zoy+iIVIwX4mcU8VbnVOTJbsDfuIyb7q3xhQ+oJOvvW3HMt+lAE1Pat5MyUy/9jAtrVizJpE6Mh2CHtkyCwv/vNDsMK7djVWa159TEdN3OAePntj54+9OjPdi5g6nr0YNMB3FDfVCJytZAMcggTvOEE9tbIriKcmIzgYSHvbObsbLaUGvwMikwJTrr6corEvp4jZJq+8i0CHs4lfmJdDkhhqVhnivxXuLoqgFvWHPpAUjlKIpKm9h1ott+cc76qSMCTo8ZNhWfNqqH4iW2U2XDoA+Dq8nCVhGq7E7OSB6fNLdZx+xxdMVQjBaklLu6VHHN/9+NP1ed9Jv1IZsF6x06bp8yHKmROU2s/M31lSlvON/CNpkJeWxEijAJvWhlM0/PCQ7gfw0fNXYGlW4QsWynx7gbEwTNiQp833LwbpM9culnb1AYfLe9dri1DHvVosVRB8wFNc2GT3831ZPYMn6KmW+s07wGlbLaxNQnDvKGDu4ALMzDyClsEg4hUkrsul5QPj2JEFCbxNVAQedjIHoqDT3zOQHCjm4UGVomnFVkha8/Vvx11o7sHFFReAeDsBrXxJEDLrPvQN5xPBsBghtJfcf3mlbAix6QYZ/9yW3WsB4qpsM7I/SnFzKkkChCWm4SGy6yIZcO5TdVWtHk2sHLD3DysNxejpq+vlWYbYFhw7YT6dh9jrYMorg8WhtuzzOZAppGK98khlrHOv6CYFHjvyXxX698RyKnIldmOBTGdpFl/Z8Wl7IGsp3Z2dMxl0gObKhsWFU1wPyyP0LVLpfk/1jdNOznG5if+36gVkWVT1xawsKBgG2B+J1kGzGU4NGs5JGUV7Gt7dpLbxqqgjMvBLJDYU0L5JDeja6aTC5Wqy4bTLXPqgeXsBhoTyPxMeRO/294wiowpATdto+tGK8xIYtLTq7e/jvFQEisZQw3zjwtCUrbJRNMZ2zDtzVo6CB0BJWLcrAYj0qFwedtHEpsskliYqVbbUROEYWp7zUwPbjYwAxEdomtBzj5LTR3SFCa8IJDYD5fCisIJA32wuN8y4eqtPdViZIe2TzhSVW+XXf17gkofwFYza9MKNLpD3p7n0jFv8XCK2hzLd83eVKd97uqZiDmgT3capWw4iI2ugyZ7E9ZeSROb1wgxXbyVVWoxHIA0jURW9yn3XjmcLHEfcRhQWw9wWBN3LbCyL+fQwilg2fNmXgZDJwyN7e4OwT0zxTjLIA8zlquNT5fHOG7jD7ZiDGwTcBtkOLvsWBQUagCiDUlJfiCHhNVruUa2CWsTc3F5up7qtQN5jlPHxzX4P/GTyvX9KWlfV9nICRMqt/NtIm3mn6K2fNF9GnQFEAyaAkgVD5xQu/KlpnihbMQ1B6OYBTO9Q3VGO510s5noCmveTBx+9YyK7KSNxKc/NQ/8srlvF0BpmMz9tWQMEQhXc8oqFELmxRWZAhmFWvKp64p2p4dIpME1ajDF/HAkt6xkXTdf5vXug9UTzdU44QF+b7D8BWXLyYF5QxgnnlwcTvKWftXKC9qzJgMXbplTGnlm9f830qHIAnsngGIxubz/CGBscfkFiBDlBZSsuCHHu4s5ZzMS5clGlll+sAJv6WyUgKMBiCHUJ21Xu+65+3Ee09Hty/o1vfli2foGwZM5L7PvZPhkfgf1CmqgsHaeGYn0svDp6OyPNW/P9U2n4aRKJCVWungj2ZQW3NgClEizFURiT33hVhuaySkuCEQYJeSqYXWU9CFjNAIrRBWLR1xTXFngY+9HIKXXzIOn9O8STyaoRGSC8kaCYpKVxWhCRT6nfRwIDER0BRCL1i7n1q9DX0QI233rzCZud1NtrR4UPqwQXI0IR6TF2/e0ZfbBl6Y+LJydCN4chwPtYTDRkqC6NIUOSiGKdnd2EDorbqIHW4i4hEka/0EsTlghyU71kqrNOKuQsv1o8l7ZQW9bBHXRJYE+jl0dzNOAjTNRpYonB6gDl1DgP37MjngBSLc31c59K/pxgInqI11FfllXF8fQ1mipWgE6JaZhIo4Kc+JNXEk81EI3qhSzD8bHT9qIiJIniYuURBJzdBx6putEM01wbDZHhxW1PoKkj4AfwEQg7KCrYL/sUq2mXxtpm/Gd6TpjkZxXzlamTrH62ZOTHDeeiVfZD+IiJYafbhGLuno+5wDNWldwS1Opb1vDFrvDNrFDK6ADjt3JeTK5haEQ51W3mNvk1mYt5pXrRgGlaz5HMj5yrqBexjJNtJLD1PYHqpq8Z+iG/PQGc5t2/YLWe6miANthXkWnlG5Luw9EVqC5pgdrFF5hJ2ZgZ0QLZaqm/Do5IVEq235fPSK/+PQYljS7PHEEeQiGTR6YdcbAfBhaQSGGR+I8xUgKJJMznroUjlj4JxSyYWJiRKVZRqfKe0FLujC4Rc79SAfc9E3d9c5AVQ+a/Y3bsnv4Y1ydmO6tHkhSjR0i/3g8liCCuKC1E23CF3D6jHXI3rK6GKDqIo+e82ijoB4R1pKkF24uKS3zCzyg7+Xg++E+M/Db0/7xguQVpQnlgE9a04JSmpEp0A1TQNJ/NSQiiY5EHYurymWf5zENYqBwAX5cuYkjzNUdJ/ePrI2Vx4niB+mjSCYJ1iMmCY41XLm/tkmwSkXlahYLI/leAGCB13AcwrhhwIVbCweEIFPLdwHu2L/q5TWgMqE47ROWugFhIVG4SmqjtdeQouIYW7hPMjPGkqr3HdQjT9iRJiL3vUvvlpfmvdBtO2jaXpVXAaKlFUcPz3WzcvOTXiaep+4PB3Vh2juF/+QLEeVYOGTq4uHvzGB6soUKjqFqKSSZRkBQt7k44+7VS6F6J68dRZSSWwk/yA3RXTemgXIwttcII9Mm7e8jERXOcYztbJIUaw0pahpHIwzCmz54p5aTTG41YVerXJNBzIs7vIRF2WHsOK2+MR7bqe4PcgULzLWqce0XDnzP9Xjww5YsSy3IzpDWUgeld2hgaphbHJKkpoYn5O23Jwcrg58kifN/BOi+X6nvf0W5b2sLbyKW+DR1D8pDcGyW8Q0G6LMYwIHGw0W2iR2+mnciaqxZfCRJPOZGJrQCxWYBUG17KnMici+z2hvOz3JMJBMN9yrPRNu+vV8Liu16TWifwMoyJgL7hHYmzil+CQg7rvyHsY2O8Y4h4sgoLdlk+Z7DDcFZz4AhKUXAkbmtKiaPD86nTDnHlCILOZRMd9YZ97d/Xt4d8essn2rLVzcAvXsmdQgb1eBVCYitWN6HLUZ9MfI8yifOInwQjb7G4/W+bro9oiM01TTV2iNYxuGlKCYEu9Ixp4qFA/z5IOJqJUyFhoiTg8UL/xjvB4MH9RuuSEQH8aneApFo0H1zVapGYJoN7smwH9cPaV9RYuEnIgdK141i6Q2zeQG+MBzHGMXgTU2c9EP76HTZpSVDPJRhZ7UwFkEaVvPPhi17BpCdUjWS4Ya0d4GTijKT889GJKuvACjuJIu16+77GezYm/yFiIfruQc8w0QQB7kKgSR1LCgIj7itKgg9RdKbmS8eYBjCY3W8xIEuVIJHBQZzV5LpLlw3Lgz+UXgwYnhHgb8CCD8vXb3g6BZovJQm6a/NZhRpmdniOrfLgk83186Xaj8m9W7cMfgGs3L2bH3cyucLs3AXmJqEiCmYVlGU5INnZLu6rXMlS1q8V9hOz4ZlglsJb3bIgyWIdvNU4ADMGpPaFWzLvZNmNx8dcapEKhhL5SYxpFSRdyrvW7nMQhsHSbxWCPKDYHHkNi5fR8fRsz/2fGpBiT5oiFKjHX0p2P5vvGDRrEzbbaEiCzrtV/fmvH56FlwiO6p0+iS4GpSBquiV6VsTS+FyIX3vOSVZ1QjycfQ3379PnewMAwxB0hqR5+r+wYFTguzf9q7Um7eF0hIpyWBoZqFE5q3zS9+vk3PmBguXdbYQ5akORBxru7yN401JLTDXQsIjUdDd2HrOh3JsGwSqXRRM1ykD2baf4DFnQewVUI61w4rzWzy8xAA8xM1biKuoZSk2aI6nAlftTwGYgSF6o4vkZzuKBTneaKDVLjlR4/LFT1T+rTjkJUWm33Fit3S+AQXu6qKoMklMCBcf7Hp838+ynI7c5PXNXAoBLM+9+QZ1uc7LD4RmzsIXnwCGzTFZKpaaEzL7HzJx4JtNH7BQYVlNmN63+FYTsS6DYn6rLH7o71oxACqWtboKLDwKlLGsHJ+W7PtTjAUStDrMffW26LrQAUvRCLihdynTDqOal4/2dLpgTAKgj7T5/dd4Eb9SM7yTEBcciD8fEC2nmEsentzH3kU8kCejw5PAHJxxcOPMMnkUQ3jL2RkvnRD3WfSdin40sKwZogzH7EnMa0SdMLBAU7srgzECE9mxn5fpAbJ9x8Gh8uGFspHEMNJxUeVrhiS9O8J9WM6JZrMyfgR2n3HCAo7AOwE7eAhpBtFfa4tBtYPM/r9cjxEpEsU3IK1SnhG9f8WKKJVEwlB/RGPTdQIcvw/VHT7E57G6F1KNhEsm4p9dvywzHA1DFpcI7vtycSokikXIbwMJmN507SO5PaxIFb5erM18VUaSVlobHjyN3GqF0TOVRMQLnlChNCW40aTA8zP0kHrfjBSoj05Anq+R0YpRuM1aPGyoKjaZi0tMqDjf8NDz4KkiblfX+4pZ05j9FgHMhQ+WksukHaX44BtMHf3M6wQwRSuujmNA6AqNL6coDNYlHKK+B+zRegCoi3dWltMI4bZHw2hUwytDq3pFlRSsl+DMtJdxv8ReLqXGxVMCu7a4sw+PxfcNdYtq3+41GNs7pk21UkIYYYi2gcu5EIy6ct+S6kyELWq4ya60Yv+1l/YJojIR+YQ1wqOZxOTCUCNUiO1KjozN6weuAqeoGr4L4BbgZaufVIYxGFXiKKgBIYj6RXjmqecOrXAiIsarVOIZgxG7vZwm03DZE+U7TkifWuRlhSQz3MqeniZxywcJ8AeeQZhTiSQzWzjNzSezfdelekWfFphCIlpSU7ugvnZMMLhl47Pb627GucRYM8HoNds7uiULH1WbfVaNNtTc/Dqqhs3vni3W65G1SED8cQeavJe1MFkLZhco3mCnDKhVlvkmyp6RvlDoFdL0NQA6MK6nHM5En4/f3q0tl7gKfVdllUi6aqEThkZ4VVB5rdVwfAFCVSo1REp7LTsB6/qcxAFrtxcFrymTltP7YuFOFXZO6gW2YBjDvXm6HWCQ5CErs93D4OykErD2/4Y4Ne5E9HyQHGBXw0FieIvMh/qnNIT8ZUdPBT1YgR31M05qQSjSalvbs7AevbvX3wp2h8fkoaT0neXdqXTm9fZSmgxS9OzXuaIAb06RjK+i67aE/FEODGe9gbnC5x8pEOWvzHA2xhhLynxcEdhq07cCwbfPORujwLtlMMGkyX1hLxNR3DywwtlsELtI7zjMexeiWemwYCqqm7bKC4qX6jJCUefwApE/74bl3lckrM1aLSq/uHEKC7ztsjVx8MRQzyeWU3Ro1LqwxyIHsfEJqVwbzXYn72AXG6DmA3/7uWoqwR4Cpdqmj3rQH/ymRr9iVIJeamxV9ZnrA/pIjnqyNFYQl7uQNC7oqkPXDYH/iLC8NCGhBgmZTNSlZz0EdkZRGHh44f3HZKD2cQEK8ZEk6ECEDjDcwEvoSj1QrbItwZurbAa5ArwRnMABaP+qKUyUKqt2nYWwU2CSWvkBF+VLjk+Z1cph4D/Kvuq/qAYLl/RpoMw+XhzZVo1SLHLTnVqSTatrATjuuBtXz4Ctoy+HhxbbbqU7/SqqNcU1cbb6W4VvPe0FxR2i/con1M7kWF0535fr50gsw/a3OB5hNvUHYGgPHBFTVS3xwktXAQNwe0UzshAhNt4cvLI9z8zNSlS25JBGtHRq23sFA7ZBhRmZqTmmQlcylydbNXtgZ0Yv0Q+U5i8czgjCpaeK/NxGCDKTyh+WHh0VQNfS4IXhFK1ihVZNHuNfcKWc7+t7bJ2D1SSHtI3NZ96ER0fjHT+lZrFcUZY8834e3vF5c8VTW0M2u6b9COHoCerMqj+/OwM5aih0m7/K4BLYuzHlsnNPKMp368vZP3c1pvvs6+nlVC5gz/WouTCl3POjx6lmYQquP+20Mzyjc/EP9zQHCl7ZD1uExDDi+KqVhPBkeuvhlB3pX7pcPLQeNp1b15KWQHDXdq/yrp10ZyluCG0sJcwS7zIn4ziTo8G/vMDc74xqEPPzxhJq/9MzD6zileGp+d//9ose/VYxa+2ihvkLrVpm7riXlHBvYtppJiTKfKhtIvdbXuOgWxWpMTM7PihNdWnpqnOQRjP7AS9znPHXvtcAn7OeLdMa1jlWBPo+v0f50cJ7DVYLb1t0tRAIVYdcpaU4LVMz9Z/xFfv48OUktBOrqP3g6PkiV4SMLwvQxh9BBNi+rm1frxsF0Cvo19QEGF7sV8458syerVLPRZ5pqZrER/jRXMGcGcIsCCLjLzmBCdLBAi0YhinK+4RXP9jADEsVj3YPdBvyX6811zJhfWMtwkmZBnfOcDkL8GMoPy16EtzcDB7/S93FbAwneLyvtvhBLU/VU6QZHVRli2oCbCbTRHDoVuWozMtzXQRCz98IsFPaQbOeQ52wEUQSLcFVsEgCWh7wocBn4pGWtlh2nnN3SSBbLCkblyvv8P/aqZ8lAP7Ncpt0rMejePag0cmNhLbkAP0cmNDmcn5Q6Vq+ZLVZzMEux3d9Tve2ktT7Z5lOxx4iFS3nJpkeTDTfSSNcOrdzlrqUV6RE/l5XR5Hpl/ZEU31tGEB7YdOp+VNBm1s+aSPBUmOLTqGmYyV9JnZbjIhUXyn8nGhKuBmA1e8eMJiNI0LCmkAi5bDV5PKRcwbJJQ815tE+m96GY88XKvA/aatgd6bd5TIa4M2xitzg9yMPZgnXgQ6ve460BbP9G2fzMWLO7Kp7FpVOomZvu7c7HkxMcBlmBvtOokrVUEXb1UheR+NvH8Dj0GWdzS+5RaDHA+tXBO7EBzluc4QEUlIfs0T6SvJKlQy6KT4CgHcXYvNnG+OKZxZZMjM0Oj+AsKMdlKtvD2MXVUrXgpd0dU/IQtvuMNWwu3n6WNYtxbyON95CfXs2HtbCyuwItnTiU6memgQvotpS7S1hN1llu9MPn7NFEsfk0siBvW7sHkVuOadlYBBYbA4sFmYiGyPk1jibZv2JpefEOSOCVJ6FqKKYjUDlHX4sIbQIONVmQEyiHY8u0kvzYt9yxfupPEaPKrOx/E2CI2MQTjN88yJUylJyTPx/fyc15Jz6BWGgqvxPn1XS9RI7Zxay1TW8KVUoChqgs/hVwnO5kjpBWTXTuJJ9Gu53ZSOVTvsIXZcCy1c0SKhokAu+HPjV78vbyyrRGonupEUUJwsk+d/9Nl+R0uZAX1cDf8K93cr0kOURghP1VKCK90wemo6WBLqrN0gVswwLcEI+3p+oL+DAzeY7u0d3LmdhfYpx6/jJBRlxeF90CCmwaqDNf4SWX0xcPwzc06m+31h5urkilllr5PkqDJjWgQZwSjAKj5iVPxVwrmKq169BjLoR3FWoFxH5Rfuxov6kfN3OnUZQJMJr+4HorLslGlsSYUTxMIb1alhrE1nEJQWYCqJwcTaQbRWV0DFl9CRV7vX862zYaCy+j8RIqb+9tj1Zb16wXVDeZl7CR7KpYF/fb2ZSEqpZt7p29Z0dcj3C+h3awRGoRmziVowDBjpHKf8RxYRY2M9SJmNjf+0+f9zwkWrfL8lsno+MQIv1Izc91tqslGufFlhLDM74ATLUv0CdPEjKXujFjw/W4Kqfd43jlAdNJT/7rC0uBPQuqaaZwAvfKhMalWQss3ayEIJXiD+PKMkv9HQCI45C1TQHwGkQxpvV37fidSrytJbaXnc9o3R0E1AhLwjbuZ9szA6up8RWrrN4xgbG+XAIpgwbuKoxyKAU+MWMZXDXYxk59LmapGPxqKgobimzySwWGTfPcEcDW1w6WajBJd8ibtyMHE64OPi6ThuQH50SfAk6dA7ERIr0eDdZY5vZwZoNV69btO1Mg9GtubUUG5heG6baHP+oFuUdW8DYhlSdIDqrgNfG7kdC8293taDqMiM0LsHHNgyYpY9ivcAvERj1kHv9yrAYcdrReEP4nRQKmwulOtiUhvlITgdxGvJB5YZBc+8FDicGDnIs36UgPdHCrby66wEbQpw+6t6tYoSS4ST/zqDqF7vpoNwCvFdEjvE6NlQ9At6vvnDU1TWaoJUzXlO5PmVjmEwmkL3vXBYV1C7fbRe0qED1nm4Vp/AudbutWab+YAOMnbR9yI0JYYAtArQmbUKe3rG2eiOMwFbH6cFRQkDcXLGHb0yqsps5ihHbZvlrOnIIwg+e9fzgUSRZkj46faB0jKfvHeL5BeFm+uEdfusij232zTBnl174h8VOyOQkD5ZoJ4ZT/OwMwcV/od7IQJgpSsbgvZcl9UqzzHH9lm6udU6wg3bKhNASreKYM/kNtbqGNviSS5CN0CPoqUQkwUCiCiXef+1JOwKDEQ3AWgE6PLS333alMp8uB/WoC2mcnPtRP42aJZgIAMPBp/4k71uH88yW1nRfpdFKpC8tlXYyvUzZX7qpFStvRqJkK0psJvM4n9e78pMd3x3b7ENDolnJg94qDYpiyPdu9pzGzkjeC/qQyZCOX+e5OM5py78USRFhqWcDvGH4ZhpDXxjWv230UnaiQMmlIIn4cnJLp1ysWSjhc+P6gFHc+MnxpFWCuzBjmdfOCr+NpVuS0IyH1tNz9iTY+TnjiR68fg+EGQ30GKyuIsPhGnGwO9YqKBFHGKPmZPPQqbV7VM8E3GaDF2lEzg+O3hQB4CW+GJingaps8nBquf8mshKaTgGGLmG9aXXFEZGcij5/Wb/WDjypWKceEJGi/5GkRxwJZCUQxTZAFbElgXnsICZBqeLCYxonGKuQ17OJAsK+SnvDjAwZjg1NrYxWYl+x8lvy+hAABBeJ/b5sWDgoFD1xh9kX9AYBjCll0JUVDZUNGKG3zthy8BwXNVvohfC3gf4gZTfHR2EWCgoselxeQnKaQtsSgLKfDne3GnsT5lFeP1+Cfrl5CvD6x+vPON/6hBucIudDvxA3J/lSeQl+9DU+XZKdKTkaTjbHkw6g13nbodDItZ2qLUqVQMwIcoTu5NSHJCUwK3DmVts8d27EA0jSExtBOJZrquxJIPtDxEv04BejdLhyjCm/hGbFvUXM+S6zbeE/KMk3CtUCPREWeTyimeeMsj8vPPL7ppY59YngNAGwBP0AEZNPaEdREk9MT56gRZUD+WobIcqw7ZxBNvY440OStAA4SNT0eTHecsgrFaO3DAZlRSp4rN0e26TLk8M4zML2FzONyhuNxCD/SzJMnN408zAFSZRDwxEDljtYBIvGSIl1pwVm8HuBjL0pLo8LHRDD1+2eV/gSPsJ9si4Q+RJcLgZ+FfwACLpocSZBSyx73pnvTKlC9LsZBfwhx+fhgZ/hm6B8iLuhYkWmk8ptl/HLd4/zhk1jGRZe1EpKGTSSG0GWxSwD3YuQx9Z1zLdTOKpauQVCa0fel2J5Q3uF72EXg2XqUAvg4CTyxESRpUHQcNYQchn2kWzQyK0vKczrAmublNEiVA9PMnvg3A8mZazfh6cmyX0fIEgeO1d0qvB+bJtVAvtfM7U1jUvQTLW1k/JIXIHLj9GDEM83c9DySotXKGCPjARcKU0bUgm/Vq3Km2N2iprdQuOp6q0nqFRC29x+xow7rdTweipVrwi98d1sWK74RqlCyoTkCDBVDPEGpnaW1E6wi3qE7LrvGP+Avxv9UmmZ4rMEPMdhj6iNOzUOVu2671cYSOvyvTUiGWBU+F38UxlIXDlgp++pL/3MaeVdjZ9w0BVKyR+sHIlpTdF5YsVGTPDG/E6nn0T0CrB3s7bVZhmJ968tnV3d00BYHeCxxPqelN/6nj3DIN8DB+BOmdQiqOcjA1MMbi+/pgwCZrVUaOa21AjAMIBhv7enm688K0K6KFoP76FCwA4wsQ5OXkguJNlsC+Ptc3F6sE58SYPAGUGAZ0U+pjGJeMY6LXSoCirgnTr+Eku6AxhfX/WJg4xU8DMJi5MJBXRscMehEGvTOQGWpT3RGCzg0YOGQ2iBnOyMnbiPl9BcjkVUJMJyGcJqsd4Km+/NUDmGcbql44lAxsr2uL6eT3q7amsqRi52Opo2Nxhvs+3NFd+SqHY6e1Y1THE86y99ESIL+7tnGQSj8Wc572ggdDKRlnTNSxtToMeWeoZgPyCWuTsTfuqXv84U43MtvjsH5qnYSyEKaRxRC7BZeroIbgb5tVanAg7Bj6IXCZB9R3yFYZBhzGT1GbBV7WxLht3S820/PIk/+rHK7Y7iBW69TpshHkZjO//rPWWaB/dryj9vM5RhODJgn2GV0H5fkvaTsiDmDpeUul9e8oG/I/VjCqLtCXlTo1f9b0AS6ozX/TL5J03yvgsj0efcMH2Ymo4ziSlwVIlROHVZ+rdwlhDXuq+HO64isVnclwMfciFTe3Q6ULMx/GqmozIGkJmqGZZSmSquwefHJGTwCJW8vUGaO1VAhPcNtQQ1fhof99RCOtUoG7iZnLHHHQqUtH7DLpvhfs0MsGkSH/VSkmfYvRkngsdpH6Kwsb0fWcWoMs0rV0xRltUjJ2igfbzIAbQoOibKXFdwz3OaQia6bNPPaTvIal7dx5e6piLXppLeYEPaRpz9J934L+/FNlUKWCgaAI8myqYX61n4JAYq39MUHf29/mqaHIDbHCnCkbAlB+5dWZudBSQv+06VZuI8e2FsvGZAhQhMExYSohVuaxydC9b2IQlA2J4msNXHerqRcAdogZbg5DS6/ar+zlFTxnGOBYFeCXZkulArFQ4o8+mW7trvKzmK9iKl0ec0+F33VfNGcFquY2/E1RPOJ4UIdZfWQO8Oe8HuT5ubmbrJ31lWnbQE4gPn/+rmHUjveKuUBKM7dhaOC92UaSc/bBrECUZc7A4n1pKLtb6EITYL3rJ0AembsupSpuRfz/Zsyem0D/RQIgqSUBl8qPCiIBZ60Ix4J1BCJ3YfF7e2NA2icOqNwjJnK4dODQxOljspPnO4wxFEqGyXAAUMF9+K5Om+5IONc3c84aZEfjH96jHXhBdYMZgeUlarkSVIvixbq7ibN8vLXehFUvHKriCJXBeCZfN9UObDMq22tu906ElxoUPADAybBJXlQCcHG9TPzfSBr2KaQoYUO2jsDCU5grPF/NXsFXcBujgVedVd/nJhn3QHFbqJXx1QGa4YIYzcdfu+9KyLjbbt4raZMXTH14kxMD9odcGt/WKTViaRLI395JNPHY81jhJ630A5B+HK5hxMc9f85GkThiOyIO0XsmO1JwWpmV9OMCCySYJJXJUCE4LPzlt8mE2NPKCMdcojivSEkUs2lVBim6Gyq9eNQ17MrHhOquM4ohugA747IvLlgNW2alXYCjkTIJ1izb8b/iSBbR15C0EuSD8z1+dtTLz8y8RnYpcDHvHs5LBt04QkjXxtSKHZpredSvDgj9pfRNwMKaXWasGAg7xMyG8g71zcl1DQ08GqZiPxrPKXkBwiPQuZKXy6QHWlpPp8V9B1tuIkUA1ff46rNzB0Yr58QNJbZjmetUOehvh5b+ABBjJurze18QNJ7LF5IoDTK3ZkrrO2olgb+YKFtR4bBShTaAr6VmhAhh61EPFH7OxVODiTLKEw8ABzp1r+meKRMFDBm7tcOe33LGyoCvFX4Oq/Ak9SIZGGZSjzJZ+Kg9ZvD5OQriknQmNyl2nPqWyls6rvRZgG7IiYGDnt2R7+dTcowY9aV0DFsThhBtNaQr8uJDhgiI+4ugCqwMytEfYefey3xKRRASX1etAKmjetfTwFoloYY8anfUsgogt/BGnXdUgPiiYVckfOGM9fDPIjZDf0VJ1TzSlSLnXjj916IcLVJgdBirBvWHXRCmNOH7iBKiyEiKWbQHFvE8WbJyVTcQKEaxmixtK7TGdfhK+7RuU/Eim6TUWXpMqVrPnh28RA79w3QabJ+hE8IaEbN+uaH+2bvgH/oA+P6Xi2TfBlzepTlZ5iKtLafr9vKYSe1qWJPJDNzWRM5fjqcGSt35GogVFEp8YfA66fx3/wzVFrQmQIjdnBiNLQcPMxIAHxGzchgowosnsSlEmIs1l81OGi+mTVd4HrSlO1rfVAJx+OuWpYNfCa74n2AEFZnayZKMvWIpdsskIhjI8Krj+FmJyCosNY1/KTFODqxSWxOn7HYxE8WGnI5R0U9kVEtOltIvZDGeK5KNPsDH9VZq/6UWncVydgjJFvMstWyvR9KZt1h1WKbhVWgwHfysa98Pp2cWqrglhqfs7Q0E5qO+hmHRSDtFdYhBNjbJ54EBcl6jW7i1L5D8ZodafXkaQoReLOsnE75r89AVCKmXnajB0szIkagSvkidDfWt6UHQtTzF9zE6qSY/mBVqzW/dQ8/9G3fhnNtwSLaX4/QzxU/aH94ykaq8vBf62lEuA32Pf1vxL73fNflJwj87TuTVbcnLWA3PoJJi5njvpJu47agj9W35yeWKkP8NvJhUksACxMfdJdKwkohy76F5B3foeBzZqcde/aGpcCSAR13FR02WPtblDLu5pvJkI8f+GFEg8uwRjkrWSB4hO5aaUZxupf00Od72ojGxnsLwmBIWerExWN5pnxJ+DrV9nbuLoHqght8L/UtILi1X6zizdnlmZ661KY5CpVWf3ijwXeTJtWEhso1N+JWkpFNC0g39E6CNCk4Y6/SkjYMJaASobCuISFXAFzrSQq7fmpN6AGeDs+35VxtQxvaAtwiq4PCDmX3PWXRjw+Hf0eMyvaOrgBK+HtsJpMBFZyHrax84gmSsyxOIsNwDnuFioQIY0r+qd2pXNP8YFcar9rdCMEKK77+4iL/AvZohsucdxel64FLf8HBX2QFjFiWUAySyHYrsrEwuJRdtciyMexBMgWEim4D1MncB7Og86FJq3fQZxLMKZ+sWqOgnTu79k3yaHbcICzhJSkF/TwjMDfQLx5o0/UDIme1von46xa1usppVXEfVg/VVjI5JqLeKKialG5xB9sQcUzujuJBsAFKhVKEZOyj+IkLDvCYLMbvGkJNiRROIXFChOXMR4A5rJDXCLn7Dvfoe0uPvN5Wd9ZbK7/QTB85N197/M36y7+7/d8wRs4b1fk3Z2FYgMKf2NHDQo3gHVAskmhSxEnojgCan5jR74kHWx68JYn98Aj9gdVzreDw0oWSMScQXBPmyOTPeKpn5iskZewZ+iPDb27eE1li7XXoWxmx3ymimxxU4+W+gy/PIiF2Fyq3fvLqnGi1WlNbSX9AvdRJ9WHGtkGT52upclR+1SlZ46dWJOh3tAn658e5PRbZSYQ1MonlfOiRFrNwuwaNDXbe6oU1GmwakThM3F7673PJ5y7k/Igb2+RHf9hFO50DBc/PBzrxkxsvZzIpSog64NIM9x/qPsScPwG4348Yfl+NwQibhrl5OFyT0Uz7I8OSF+gtqWMd1lt8kUUKeL2QwFsy/51Erg7d8Kw1pgrD4funmwzilNLDTxtuKVT4rN9bYxt3g2N3xvetLJ3sQWrHtoOdw3Zpf0afFUqkYfSxL+9l9lJMYfZnIjokrbKI/WqYJakfGDyE0W7dB7KIUdKkGpDD2lJvE9J/JZOi6kXF6J0VLIvcuSQ3WC42N0YI8v2mq2fHZMYVWPYMTXD+JjUX9Nk9/vhKt6nTR5cfYXAIhDQcxcqW4G8b3Qy7a9dfg+NCENJeeR0YuFVN3V05JW4hZZiWe2Ov3Xg1UbJTBJUibL7QlXljVJy86YHVdgmVQ7VT6eeItCQB6X3pP2wgLDTIOnAdQBaV4m5CZAO4XZsdcbFUedGK+xR5tIljxKHstYfFvMEC1LX8ga5/mTBAyZ0aGbzpgrgGOu/tDMR+mvwSF9giAdBqc31bZ/7bDLSQj6NvYXAIyDxSHRttcKqHCGNR+oMCszHh2nzKd/gz0T3uaN+Ui6KwJ0ZxWl0RY4pZErinXLIIZBueaunGHEMx+ZlnH8Bu71cLYRAYy8/lForP1zfAryBuSsvs09bzQNMnxzNfRA/A4W2jyhSTwBs64aqP9Q3sF8A014sGKdKqbPxo8PngqW+Z5fpHoiORUj10EPaD88ZZo/BCPJJXbUX+EFwXMMXbriEd5jQyyczWo+Kfjn4p2tTj2xrQ97ntYtP+r1DCL9ILBcESkPGTcQnD3irtdnN6vWZmgi6azR2PqKjsNrG7wL8KbGg5cXZylPY2sXkbg/j0eL9zgbMV+eYg3d0GPaZXGHD2w1x9rD1v0hMAj4t89oF3WaTIJWs8qnNMpk3wzSA769IYAupLn0B7yMeOJ56v2ttbidDfSE6kdH0tROYh51LzGci3P4SOUjdfXhZ10r4f4g1iRF5qJRLt7GpO9AQr/+4QSgcWwY2pC3vYtju72FvW5dtlypmN02ygplZ1xmvY/916W/v3psRQfPBDd1531b2q3wkf0IDTrBy8rRbrZBI5HoUK54kJGOCxoLCBfIM6pMfjebAQovg6ni1+rPkutXXA3cswFwvF7lUSCto/s4r2b1i3W6UXv+y/XQ8g0qV0gC102IbBACbhZBJeZmgmPYYDiZ+uHIsMlJbs0EQNOn88WdRuCWoITi2leP82a6f9pJ99FAteSNc4+MR4xpPJt2frgetVwL0yXa0sisF5N9fENmhK2rGeHXY+nnEfRxZp4wzW/IvSihKXFuYW7vnYmV8WCWy1wj1nozEk6XfUZj0Wh3WD3GhgrP2wFfPUGo7t+jl/+O2QuSzHHz9BmL+JbLp00gmHQsAPhFRFsxn21SPiYrYsDkIn8zrxX2dIU/Hok0UggYzSggzCi4e/+IiydW9quRFQB0IMxMmFul1Qyx6Wje0NQwCSl1qG6V+VB9S84/J9WNMf0sfQ8vrowt7i6cxZ4FFJh+Bq68ARMKefu2AePHQSiMNkREZkEmq4JOJoN3samQrD9N3HJt2G++RdsQHD6XOiwhal700fgBsdS0oOkT+ZXzxvB7cw0dxUVDxgIVfxG2bj+SEakWl31JmQKRD14jfD33iIufas8s1SiFkvbIADw0Um1S9X8tl+JAMynC40gRiebEW6FiLWdT5QIUgUlmjGUby2gCRcE3sa+mODNCvXBiOm6soWHMnmdQqSy5Yb2vj6Xp0dS8hx7G2eRvT5ONgkvUB3bJ/N26zPVfM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81000" y="1902460"/>
            <a:ext cx="8232140" cy="487934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982626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ulting Team Workpla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his is the workplan we will follow on this engagement.</a:t>
            </a:r>
          </a:p>
        </p:txBody>
      </p:sp>
      <p:sp>
        <p:nvSpPr>
          <p:cNvPr id="8" name="Rectangle 7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pSePy2GgFn+B77jGJ53DqJHFKeX35AIOkOhCjcHQuyzXlldtHlaSPBDqaNbb3dEC6HmTPRNw0Ey4dg3aCSXCujqljtRDZqwjZqcmY2bZ3zLVym640sXgC9MBJsHSoDb3C+mJ5qcVfvwT3AJJndgVHwfpQNIV/IaYUWrOg7TkPcMjYlUoSCB/WBujejYO2FHTNG7LkjzIW1wVnBEykL/4YrT0INddG53Ad3UbQOyRWLhTN137q9JoZm4MuzsAS1GJthDjAfD/qzjuBcZsMG8uyuz/9Tc5bvktMStzQ72SGukDB18Z4vqfcfJHfCEYH4kC104OlCvUA+o4ZA4woefCRexHosHqQ6RHzwEDcJuAkTR5PHGUbRWA66FPLYZ4krWus0/IfWLOiwKMiWi167rInhmTfXmPjxPQPbuYfe7K1Z62kH8ETeIXHgdOBecehvEizchqWIhHPup4N75c8rAVAF2QU+oTZJO040TzdvCFdnpMGbSDNblUub6HLlSQkFPjBFtfFGbHk2VE3gnz/IfP8sNM5KClXjldHNgDuLQ+kbnkfmaabNLoniDaedBNVIgFFU1Bz7w3EpVgFCNAfLn+vRTrX+9pa7yyg2ZAjWxK1cwhmfcWxyI+RGChCZpVqRTM+ikVhQmyyBSgwRZ8BLuTMMNg+TOzCnl2NCP1HW418LLHGp4fhiK+p1Du9NLNdDxQSv2w6vLRRE/2SMNjxMeR4cPi0f530eDtulqmDeCdm3uohpLgIahpl5tuq1+6NLeqRunE9DbLAWFQYkf0+NwUCpm+MXoTK4/oZTIfn8ICI303FXEVbQnn55PBCR3wcWa4zt3ttTEgEXF6+PkLV0WK+GMtrUYHyaVNSaWq8nkNlVzSJpHsvDBVrcHWBp+1bNezpzO4aJYtJpvQvLznQ1cue7zv4X1YQkh4TbR6qYXuH0P8IZdK5l0ow2ue2fv1I3Zr5w1jvwzg1eKbFtuo4HjU6aqtscLFEdbf6+TAo1uw2r3vJ8e3hX8h0fVmZ4viUU6iarrZTEBpahHtXa5Nml42rcPktUGxuc75s+AzM/nvR0pRs4mQ1K8PwK54UxTpiVfA5P6NEz5yiwkiIRKZ9FPvCpf3/rC0nL9AiLbdBY/RWxcC1WFPbxshTHs7amNFRJ9opEKyy7BQDht6yow0KBJgY4x1KyEOJm1ztq5Xe+F1t6BbkKAczJb2O8LF1rNa56da5sjWa9A2Wpvm9n8SO1Nkuu/fdQ0xTshwabUyPt2swnQARnZx7ndjntZN9ACYIcGWGj9/hkLA/7vH8KYW1catuvVXKfJAXzXLd6SsG1aNjMkEUKXLj/bqiB7heM/LSdV266WsNo332EH1HBs7p03yiSSL6q0hPKvkGV08rvgclifzNhSFz36xCYuf+Gj/IoV+0vxb6uprSVENLLXzDPqHt4QdOfK3rOuptblcMIT7Q/QeYbyDqwMlC09h5U29o7erQvvnSqcmoYdg4sL9noqcVak3WFm4XfZJfY3aS2mTeDM9xShYXa2GaOWJCh9UUrHBR0K3r1oJkjXSNKGRaFhU+JrtijbqEKQclY2yWP9Ie984AGkRC5XtSRs6gQwpmFD8DypJwGNNhv4CbLCMqFMHYNAOmZeAO4qN1GmiW9JEqxIKMflkvaCZoOUj/TIObL6q2cQRd2ThiiEdbhcvYtCeOubZQhNRzMCb5/8fWXO7TayodRll6CU2lFAzQkrmcavXD648NJ0DCMIROsDoUFRP2lnO9Sz/RKY5hzv2NA3quR4HVgr9B8tXbzhTabBy9DqtsZX6czyDzU1Jf0VfihZGBU8upKiH+XrR9L4wnmgu8RyUyEtvOnxTbaHuTxKlm9v3zrSBI9lyLDNcw5v1PvIXTFam9oLHsjUA+H2jNEzehSNqwP3+TEwAKDKUKhWMkT3xMmQ6gwEb6XCXeAmktTGlvm/1NCpsaJaA96DKCkiDDnACVPwmzbQkrmdr/xUkSKnFKIH1YaaIosrcYyH60Gv2WLqRzVmbzjFeEQu4Nfl/obq7C9tB+u2SYsk+mqVXKeLslqR+YzYf8OlYGQQwvZkpuDoS8f7qm4++2ULcDq8J+R568Phbj96o8Pl1b7sXC1hIMr7L9Rrkikr35U8n9pB448a0qm1/7yo52Ji/wIperKfMq7+pT3bDZ9I4T6Ln6tyjCM9YKt+dOY3fQUWs5yXHpXLgJ/NS4RmXhSN9H1T5O9gYCH0GI49SqTi/UkEAH/pyldskx11tiX6IOnzTDFCQx7PoWYzxcgJXeBtfty9Wpx8nj3zHSPG+qzMiD6/NL70vKgtPsZqafGWR1SadyFyhVTh+ukj8W+BetNRIqDI50FoF7wI81EOpSUgB3wiJJKhsziV+HTo1D/l49AL8/Ap3ya7vRe4p76xfmlERKebDfdru/3QnWiT2Ml9REfXrlRVrscEDFTEdWlQhpPLbtK+rqXF3KyvFQR6GTGtsjBaEMjsKVcVty6jbDEA8dmPTlxSmsLXf/YQVKHr8zpM5yPpb1Zps+fZJX9PVAi7qu0rLCeLsPXB4OUpYc8zXSKGAdR3J1DIpx1b+3ZSfkZ4uQMihSuw3JpnQ1UwVjRZ8ciyQ5vzybBnHn7f6h9E1xmmCHXbo0Z0NiBxfe8v7kt3g4VvsGY53PkDqywzLdGe07GxVp7WrBReZHsnpoBNUV9nCGTI5wkctaRjEIKkBqxc6WLe6SJVqMWFhpPO7zM+QlPONZW3erpS15jY7WAEKkK3RN3Vw7dLlvbXdd8A1KP8yuICbc6qevWxN4l0ualA/lFipjz8+QAnvGVYQXUPakIXrHVv0dyn+HZtKRNEZP0pEyfxsPPFs/FBChrKTcO44W5iG41eI0J2k2iNyPZ0NuMPQjpY/DYQefrZV8tgzL5SsQ92G8HcoAZTPeYqUAOalFOq9Q9r/L4q1n5tYSmkLaTTFwO9H0Zn4j/EhMiAbeqaEAh7SD0sotOcmfMTBtFzRyF92xqOZz0GyyO3MnnkDa6EMlwkm+30mubqAP/aSlpLABtcSCG6XYsfpKSUSkx1nf1/4qkB9GQ7zuivBjRlSd9mjHc+QYrqLPRpOfiwyhwC8dAk+PsE0yYgecNOtJgeQDHOj1M+pf1qmpmhri2mGf165pgzSVGNIk5Adp/7z9BPjwKmdyEC1G2vk9my+SqAfBc6j6fgdKTDXuBQKvXB/Pg6SiPEzOaEEa2sfu6WKqSwVNB8TkrO66v3UmGXf8naMEUH0xGES/SLsHCvpdzv7JziS4WH6e6Vsorml8sjZur50/Q+mW58YoeZQCBNJTnD+mfKctK+8nWbZUKqChcFXi1IOCv0hN0NeiMo4xGHKFpZtr/o/sMdpojzBdDdGkmar0NllIpXkCPtxzCC7ZCkxjtj/1JKIo3J5nGVKHC8b852YXkKOnkEYshrDPPZ/m1/VRXkjk3/Q3X5Aww26fh+QxaMyYpj9RkNJJT9yBBgouGFvXha4neYTHHmlEl4BEbOTEyyCgtPVqsb++rgoBB1/EOo1f9Bflm1zvZ3FT79dw7eGbn5h+T7Spi1HHXlJ5/cQ7mk5SyhjWVFnSSKhzvC0dbIVAeaO2cOHWqo3vkJ/vr4vpDgiNZRffU1dtUQL0qcHlb+ty1wf7hERz2r94NFsSAtQ/wPb+GShQQPiGKZuhO0psR2daCVjfhbzvE8H/MW97MeL/1GD3XRWne3Vn3q4E6UKuJgEoLwoA9mpMHkwlOZ4AD1cz8i5c9LTiN5c5pcCHsVe0MosI3n7F0Tmj4gGVBE4vrYQoT0JTO1Pj18xVndTjH+76+LhPiIogrJ43nJSWecL4m10zjh9PcSKbUC8C3zjimjop5q0ZIdb1k3xFY5QW8nkW0Ex0DjFUlvIelKDc6hhxcag9pyaoj3yg9baiiB1R7EAjxsMCkP70bvs+uNs2XotfwOw25EElwCYvESq1fSPXROA+VquRXElB1AGpgd1DsRUMKBrjQ5vHtLWuILkrhnm3KJVe+WpZqq/82+oyPWR8hVJhdfqDN1IreJTr4NMr4VCZ2ohNh/OeQT/jCHi1P1NLsbo97Mi59qPJomXx4SmVXuOFmROtI99e1jqbIffcuBT+8JcHetcN0hqT48q6RCQi3ZRHZl+R/GTF3ovkC3af/vyH7WH4U7j8aqdu4QQsyUguz9HrLil5AVbb+DrVB7ljjK1AhAWJvhY7Lk3yBfJcfuqm3h1XogTZMEITkfI++O++cYx9ylnXhBwoso0Es+vdCFL2jYpGwT+OksSuGazNUMJjh2w4Q0cmbO8lPwg9kUPf4tfRJw8CmS28f1lyQsqf2w8bnGi5rqSumrqJktGyYXY6nZpgpX2nXiJ/pBlPqKSl7rkVlTHdFW5EjJMiYur9LSIrl9KcVu4ZjiFqg4yNK22DKuYvoIN8zskkJlqMa8pGA6vBw9DZB88UNAgkXk0I3kPMmr/bkWgb2S61aHef3kkiU0w/6Z1O/wpJmqovq4Vfbkm39m6q3A1kuFSxinntQYlDbW3c8lVMcAYk8n/QVLcF7CGFcYb9AceXrOiz2QTR65Uoqjd37AoL2f634/mg4v31qfeajDKCjH4fwDHioNOacrhfKoFBEQOsdEJnRhc4Inaw+NROoXAthIry0KXkxVMuOOAfyqEx3jZ9+82Na0nwx2E2pUmAuyLNZmfE6ZFMBjNHx+ys8sKENRIXE/2/B63rdmFraO2DdNGcqOYcz5Hc6M6i9DsmZm1S034t4+1NG7Iyrdmfckv+6Qdnzft3Ti9IcUQWo5ZUVABwT8rRUe17j3NvN67dpuaGujcr98TWXYZvv+MhtTUFzIvwsFV8FfK7gTrp1x76cnExR+S1R72dicbRJsSODcdybYiqfQbPG3WNAhsYkyRB+QfxD713VkVYsty+uOMjqdHyiwcdSedLGMaoDmeKLz32+qxIMFpIQvJVd6cWrh+5nl8WGNEU2phxdQAi/rFEiDA0M1ILUPY3nxtr/6BweL4siyQMYyHOUIm3IgqYjH7eDJxzoWtgkhexcxjEF0YDUNlVV9SwJpYhc15UnpMJ8dBDXFFYp6t7bvHtEv7lADIwoD7jDaQGyCMPUJB9c2PcaU0Ntv1Z863aPEfih1GAnIP/wy1JzCuYlLqZeyPRPKS+QmtIzFEMf2KjtWtrHDJGBJwuRezqjQc9biP8Glve3drSU8//AwMk71u6kak5LqXP5H+G1czoFqcOrpaJVnhTyfu5Aw6K8bNnqCn0jPmTkVUTa0rOTfgu8eiWW3sJDdMjY5YiiqutgeVzS290U0hNolrW5u/D7Kd9n4ErmIejAkwsfbOE5VzdMlG7QeUc2uJj4bHUTlXJjvFhRvT6mCc8QNjj9uG3DNGGyqfesNSsa3yG9IFknK36vRbFnA2EqQBJxqFGLi9blqupCbBOt8ED9aZrRsUVIslH6TIBRVAIxIB1yxYOV5jtXcrS3rBICA0QOgYQTjNvGwrwqa1EmbppbOSvY3+BJwe0cYpckRBKW9xhhiyQqFg9NzQJuFv6LBcqhk/qj3cG4cZOFG6fIHEHj/ZEX6D1kBTRye262iNCcQDR9+eb5lv3X3oRglz9pH4ix7AlrH9pEU6wGgjy4KsIUX8MR/KndyBrB6D2/5nOE2+A6aM/f46M3Lldiml9sb2OTPW6LxNf9CEOh+QVuXnTjtBjw6D6ZH9606jOahZCL9EQm8dyNc5YKCQYkY79+NdV3ER1aIKt2BneBDGsTguv+dYndmhK7VR/2sMJrCbLpp+AymBLhhZL5Ny5lrDWGgfwgpIvcurfbFdUqpyp0DauXEYL2DxaqUG1waFBGNL+Mei2EuHvScbd2Sx5t9svjd1pJ5cyvGUEnH9vstyXMs5yzbbygqlg3hOKu9RhgZGS+jQ5FMepUIAHEkK2ZWl2Fh59eSx8tngXPP95vGpmxl9e0kEsMkkv/h+UBmcb0xnfnazexk9m0xYMG4prh+DT0baSdv6KIF5pY7YkfqA+RT6/nkIEHpfiE5JI2aShbgX4QNLnm6WjGHAIp2lWm748fUKSIxG1aKROezbqKOiNhlIALG61Ir5WTQ2k1ZC7LQ/nxZZh0pk9Lckg0GWg7ZB75ZBaNH+SgrZAXCpdeDtD1aUmhWb5cvt39KBm/MGV+/23xnIvXLonHQjP/Rr/0Mmxc3VGZ0W0z8Toy/9o2jN2UonsLBzOiP3VIXomCgeAanqyx+yXD0H4ZCMvOXgAMkg8n0zMvFTMeOQczQx0z7+nqFUN4IbFXxP15MEnp5xN2pff+NT2VPb5Srj8MQtNrIgYzn0JuEUP56yHEuIwn7mXgjKdIEWUzFXde5bpjRbmpiMpVfiyutMRw5qp/t9r6HyrloNrAGwAXTuPcKkPwEovS3Q96k2RdKyeTxl/1t6+6RCP3sfPiEpKXJJxNyPAIJVnPFuGDnU3FlCJ8UBFeb8/s6f/EEq72vwLCFsztmuo3Hl6ouZCY+rOTNjUxW5wKSIXbEGntu+ZVi2DG9jM2ErY6GUaKljYZWPUKLshIawnXRFOW1Cz2jEK4gx5SrNJ5C49b3Noz99Zuoh1+3qtxKv/z2i8LrkEeCP8CrN1LRqaN+L+45lKHnw4rDDj4FxXHHT6rcScZNXjEKI8/8tRtDQbEnWr5lkHv7eWmUuIx4O6xM/K+UkK/+vu6O0LeMtyUr6NKmWU7HFrEdhERmf68rTmON6pUJOWLENttZIILn4x9W0BvnsCaywGNQfMCODwsVV8nGhtW/ggOfUebz5FyiklaqzwxDdggCFkTa/hIptIQsjvh792s7+X4yzo/YN7g46M/pTykGHFc2G2LzwHPsdP9rxh2hC1eb27te/FjgdCtSPW4fTXPRi3rfHf0e4lQPgurNzV7z5O6gYr4WiinjOfLkAg8r+cXQ6MtF4IF+dCfDSsA56hmwhhyMU2XoMOTsJaiIK/mbi9owW4+JT200PwaupzK7EmR0AFybJeHe9XBgzOrsExluimpWJUZxwgie3lwdvK7pzMeLuTmXIjaq7js/rElgnGnLkWwJVdB6VOYfW+CyTYjQvw281vZlo1x6wPpdG86/HgmQVYPR6dK9cW7Mv2HCQEwzii6tKsM1nuXGW6RYczkgkAcDJ+prLyl5lYfuflwKXvxkvZKviAmdeYMx3FhXP9V2xHiqKJDqQKx9Auut30wTxOho0WWt8rR1ieMMk/Q+tjVUwp18FMfSXD0rTRFyVFTDiK15yKo0p7AYz30+Lif01H1zITQTc48D3FNnpezASZKLNsTJIUDUpakbRlGYARuvVZBaaojWLvs1oK+6NSkpnGdM5xbZYvN9igD0H3LuTDBL6cFyzvLhjVNXJhJ34b0ZXZXcTpmhcMVmb/pMbmaZOWsLVby1usHYeTpzW5f9HvGLqajBXbHzfpMqm7REWhFp48vntcBbWuopmKgGtFOpCsidsFE6sFdy+a6T/G/KbeTide8R6env9YSMGb56XhblnRUiy/XYgRmKVlvysZLMDxksaNf2mZALyy7J2Emgg+S/2cKEuxp1bRxVFmdI76mvmfxodCEHu5PHTww7LnT7uvsW3cde4YcdGVGfJMwJ/QGUlJ2llk0FJVgEnbx84z3ZU+fBHyiDxfcIYZC4ToLXd+p9b98fpExHOIU/UGBYm7LSg051SMP/EtzQy2f9sAA/rwMJo7NUGtXkV5Qs2uKbfVLpP7M0VVyhpXclknSgyEy/1IOWu/puCdPPaT84Kjjk4rsZqc3O2w3Yarn86qYEnLAg/gy/dsxDQSTZ3UISvhmJXKAPaHQFx4kGZAMOVvKiPjCFuUGsZQXmPGupIkxiq3WyaYi1YEP8aq9Pv+DBkvHYACrzpLeLl0pBwo5TMGVt+Z01kHJhDCoHiWdveQPRPx4YVK/ef+D3APp5r7ULEK1mbhFOjwTRGCXV2gqjH9Jtr7C2g2kSjSIYMQTpkK5p9yfitC9LlIUjky0gtO4KH57A9kqKqy6WRpP8FtK1n8dr2CbZ0rYycCoigYBFjT+oji1xymLFBLUIS+AW3HIduHS8XnhpmlZJtz0q1B5/v0qrkcvsbxGsMfSSNzrVL370OKMY/adirJpjJRiGpPjm8MQFU0K2SzTBak8xUaC8wn8wMUg3EdUBOh//XsFuhaEfDBrl1zEyCuOj72emi20ckySxqwK99i49pP2vGXHVvoSOZ820ePpgveErCUH2PkpoKlVi/DJZ6YtcguftxylcKFAu67mPAwK2+1WOUG+OSg00mhNqoku1/uuc955XYaePPQnVSfctndnE8IQjpMIEv81F7JYfqIS4VVd5br/Mc1Epfmi46nJG61/CO7Qzq5s3HCIqq2MvlNv6+tJjXHTkHqClkTckTBbTJkkVx3MDAFDK7jnaK6521ze4qw2hcylYYuNTiWxRR15US6QLInplHOocTvhEN+8AeOow8P6IJVWlWBy2WZsMFckbPx3JXoHjPrbj3eaUSC2Jww/of/BLGfzpm4R8RscnwQT74gOmz34a1pPgsTXF0saNHwI7sQogmZ67UGoFPSUdZpstamsKLrpU1INrPUyIkP81qfba33HP9WP4zTtu9O6G1hrvO41nJyo1H8Me9f0u47pIcQGNfNF/2SgCTQOCCGqT2nNfecy8Segv/piSfooUt0+Yq+MXB67YwXtok40FtVF+T5svYSnC6qQeUfpgkfjuENUWuH67RpvsVbI/DfUhMS5QOqVmgT+TctYOpLHiPgfmk6S7Vjt51QHz+cJz4Lj4G/a1hGq686gxihAkJ+NqBi6jnbxu23CFxGdfrNQR/qgMWoLccWjQy1JjEouh9NCKYLKkjqTgK1ZHjJGA4OV2PlGk4BeYKtYKtf7xBDOAiG326s1YXesJVPkcW5JEu5Wf+rxiWMH9XmMzedd769OIGG47mawZl/5L5Pqs70VkNlh2SgLwNf5Sq4jSceuFPneQ1JWQpQjc6BrDL3Uy9Qc3t6Nq/IsuNFG2syDaI8hTEta4HTQrgHv1kB0ikS2H3pa+A14h2ttTzrZxLEVvu+uqFmqly981SLB3Vd8x61DCJdnqakwwfXOMHZ7Sq19CYG/FuXepQ/4Ak6WdQ9XZMMWCgf2cJ3CYZG47sJztNqeqM5KmGk6PK26yXiTr3JgWlu2ogf6SraTfvLxsqBPLPuh+Skefq/wdj+F+wcP+tqqOnnoPw+Ty/65+JYmly3VaaLjHS1KVW7+odIpUZtixoPCUCd31SoVlHzpX2LMIHHfUiXkCZ+cP81cJ3A9EsxtQuyh4OcLzCoHQUOFaAoWXYNQ2QExN1H2B2sK9gWsMtW+c1VkK0yWC4PLJPE70svTb4q/6DAmNZIgVXxW6noe4KEBebxfJSalVrvslRhuFjk1IDkPmUxvh1wbYxEE0W/ETUvWHNka+vCf7BDNA6wiyfU3YMJU8jX2bOSIPATeOyrM7oBjo9jajmX67UvPVHKPjlM00ZAPC/MRZt/r2zANH9NRzH6vTGdcmInOJnXrHt+4dz3Yfn9YZfzoBf3hpUn405DPVmpdUahH08tOa9b9thbUcuf2hIjn4ggOa958FJOgOUnJTOpJSrOo86MoAfScZkwuRL5KRKCDMKy4yd6laeg7+6CGwizFZCCdb7wIRodtw1PgSGUwHWMgi3fzsd56G49TVSl7I734WrmE9THYNFN0t1cKkiaGepdiInxvxF5hSxKqQFBo7ZAKEwxTPV9/Te8hf26c5b54j65aFK4X+X7+PkYQ/r5RXG0/Hu6s77TpndVAhMMf1iIOdotQfQECFU4lUglyyvPwO1G4RWHsuREPy+q36nNg1iAyptOzsylYm76BZvIpJgGQcszq1ocI/uYogrxUyo0x4O9mG5JW68u6I91U4FRyUjwDMc0GGd4ftOZZ/pVzszgmeLW9RgLZfBjP95zlY1MzrFlz1JaWv2JTX0k14+r6rtI8FvfO0ViTgTPpsv0AA/Wy7CcSo2wRvlYXNRDl0yuiSpN7yIi/L48fHgA/bw8UreMjXTWgcmbGeAsZnnyvGAMbW0U7iKhJGG+zwhm/EMqJ3RWixr/M57k8CA7i/6OCx+dWI9rFiC2iu4pgRRUnAOptxAS44Go/z9Ir7ymlfHvV2qBiJlRsPoFFsrEBoJyCQwMvUwb59Nyq1IpDkCPhurq05UC1MKMRGSRbnz1rwnS25IO5P3/Jk6KwgTptYixAH16XkYTOz1hSIVEq9vJ7qjtJa9y4ftQuRY5pkE6vBn0sdtiPn2B7zKcFU9LzeJ5hXhFIbJn4sOXkWzn08HpyHN+IBzFzDJOjVi0OPByTtRKhLWZtwtoy/LFjUBECrR1Dun08H1ozQCftFDdicYePybFLbsfHbwaOzm0bLbxQJgRNUfiac4b6Kje2niK7AF53h2UKgT32MIXKpKmd5l5VimzpuTZIF5JoDJ5JNgPBj2uYF1YSyZLoInce1s5Khqscui86n8UxQV0KvK5+sIJi1I/m3JedfyOxJNMnVwAEpAdJkP1PhUHXEzTbHfwnefeJrhYUA76GS4nAxEmuQJBIcr+ERd/0JIHvT2NxLxuiT649ty3AIMyqJaqQBnBhvhnAvL+sru5gXDU74AbtGFrmOjTqs9H+Bhp75cRI5mL6JDI01L+3vn8FB6U0q8hcJnKKuqSNi6l3nriD2nm3kszL+eZKoDQkp5km8rgqWO5B07h1ZFQeLlpnNhqWa4KCmvXBlR7BSfrn53NNtUDCQCnMLArnX5h605L2sTORo6y4KeUGO1oTNzhPR8JCrYGvhasGByiRxycvXgDnqH+WIw5FSmPfL3amuq6AYtlDWJLeDRu0XBFynFypgOeP3EXcAEzmnjjpd8tE+tTwz99yfsHpXXeR+yKsdYqpz1U+vp4h2b0dzdXiOO5AXgV8Ag2Jmo4A00mv74vvTi0v7lt8JG0o3WvrcefpGWiRrBtXbQtZAZL6yX6WlaRp1u/JVXpsV7diIZWLG4z0eN5gEDKGvvIGhabLfYIWT8z/Yjw3oFthHUk9zQq+tSwj3FqL7FRIflvOYS8owKkTKkN95xdUydE5hxjzgWdv3NYKhCDVOFXtMCm7fdci3BKr2TaIYYEUQk0sTSPgCfRGi0LMWKDZYTVV0R4yBA+mAnUACBaH5bLQFgEXq7loV6C3qegodrSXyZ9kMyszaF7U6TmZtvmj7HUyBRhIA16Dk/Dxq9DxokpYGVmb+k1zS9GD/yzJqJCD9Q3iCI3i/QkN5xKcI1EVf4I9Tc/0QzO6mcVCAOF+YS3x6ksr0gdsyTEz3HK69Btti+k2kZRGj8USPtOnxXp7qxIxk9xw8GGzhMALvVGa+Tc5nvLfdIhUrWdEAU/c/3dRCc6OSm6eJRQskufBDlp6YrHkNdg8x7IFzEmmsE/VGKBxM+ILy5siaKfLTFJAgoZ323UBFTQsUf6EYR3BUQWFyPYK9eihGeCTCHzl6JGEavY4OZ3+BaGSAGHJ7fCsiyn9xuOaxkaXM0aXuOkzjZURVPHgMJ2zRrmWx/XgXPgKYMdOehu6fT0i1hmblkeHNEZpfIawXnWmHwmDeUoaJikts8uPS1qWJjfcs2HLnuJGy4zb89tSVryyUz4w+j4oQcAmunNtB42g8PAVfAz8hxIpghuq3KZU2+Q3+jWiO5UVhh6ctFNmQfhbpg1K/HORF2KE/Eg0e0I0GmgIPjcswbf9E9pEcsjZDym6QLufShtkxoea8ie3dzf3ix9PwdRgzKnf8XeSx/Aj4FbrTmre2RkmcZQFyevl/TTFTc4I6Jaf0OsDKRJ6Gh+c/rYIzvOdiT9LkPxTW1CuUt3w1SNPnK9YxE6KDK+d9yCRo3YQf4nxfZDQmejaSEmnL2/FVjqu5ekQneAV4fbo1NtNItv9DpiA4yWbURAQmW/3zF8izQsaKpfpYETr0XdJ7wtSB5lcDUDMVcKk0+Bf458Wo7TtGrt4dA6xgKihnrdIE31f6W3+sf2TpJVK8EGUDG6RIXI1q+cV2ZW3WkYF5A73+pIp+A0CLOb4DXd3Ou6VsVeKEzYgSB60V+w1kE/zmTkfiG/iP6VnNtau1zF0hOnbz24WubTHWsSUoIVGGYEpthk7ct6OMrAfDyg6iPP+BZyPjp3G9SpXupqo71Nj1IF7ft9TP96fn1A8lD+Aw6zc2e/8uIIQFrcMCgjCHkUp1BXOOb0vSpAnknLxNkVpvmcvCqDZ1CUKuDYTMBcdcMwP/Vrm26dqf1ywyYLw6hosyVfT72lCmOsMqXlwIA/jv8Qod428NfiiB4VvxJ3LGZcb6SB/n6N/GzbNoY1Q2gyzKUXaj7RDPqKB0R59tdse6OzCI70hUsxYQGp8RdUxY5YjfL8SYRXIo9aTC8ZiYyNpGS4GUNc2puehayPXcwxDuiD6fMIhVdYsL44e6vkzC+O52Y63sRPoM2CHXTx6R4UwiUnkSJP/0Y8y7MbsaHr44lIyxxGXFRPqUUOPtbWHyhasQLAm7wqzkNJNn7GsaquEB+cYMaO+5UQ2zMzqSoxKSq8w/BaBiqL7nEqi9j1s/z01brOH5kpxGYLgg/1eWJ5Biir1kTcO03AcRGJcnS6ruzWIggWl+Bd+gB13kZblOpsBYMO91wCQ6+x7DeECHznjfxXLmmcIrOWRVhCfytDScN/8Q2Oqz/M9HiBeq6bC3vTHoySaNsPIM06GUj55YblPjKZFstD1ezt4ITqom8JpXLCqDB2uiMgBuvl6GuLaqQhTEb4g8HO2spzU4reNcK9LoOH7k4w/m34LZIsaZ9zy3Eba5/3nhME/tyxCQT3UmX1MwQhbFoU9IBfIpnzvrM+eu8b7T3sPQHJr+mWPQyuEGjA1F4K+PLfpfehquwgXKE68Aphvk3+vtE0ivysNO4gKYQLVZSl9hu3mpUgJEoRErY0OOKowFgRiMqhZfYBYTj21RPrcrHKDS/ktrwjtDEOHrMzPOfXL/dBqhI4Y7U5x8pmUaAXfBwaQlyTMdW9SbbUp2K8TSjZYVKLquWEqNmpHOiFAbwwN7bp9F3TgoWOg1JVX+54PgsFxvJIFlFxeEJX1Y05QG5DlKnec40zpKaO9ufGaeI6rrWWakB4dqZBotKp0mvite0ormhKvMCO/Rw5CEN6iszR77InRUzqQP9FSR3hU2nQDnmo2+/YF0+b3xzAgz9KkugQNq9Y/HD/aN0r9OVoToCYZow3qbkvOgmtmCLBrAIOyu9XZEGOG/trqr9o9/fRINAayJKRFAY4FHaCZncQeZNlec1labl/8BI2ZtkKe7oc2pGLDDz0VlfYHTOLz8UNtuvs/w2Tabdu/N+3OVeiQW+PbEXcZnv4Ai7646tyNC66OiseUCSSl98lqgZA+CbkzsaDI4nAlB87V4jEGczmWqRiJEG8ENGxInNAnQptsq/GcO6pvu+QByPmQv2SHRXpE+vygV0hOuFBTU8XbkCjS7x430YVOGgNypMdWJ1DXVvcBEkIN4Kqpgu4hbVq6q/xUSYmbvPSoXCAfpp5mRlWTDckIQZm+OM9nXVItUVkgjJXijfsqzbrbF0zVMW3pFMgb9dCIho/WWujKodoW/Biv2dRYfMbvRkNV6hL7+BTElcYJIsqOzAF2qLMa1AWGLrBjk2i0j0ZOHLUo+XSEFq+jQJFjV2zpHeb67STkV/YZcpLVBqsfTMPC3Jv5C/ii3LGmUDFRsFAOY9yWB+xyakU9+MEsjiC7Gq7tZ/f4meqtRbSOB7YQvMbRDymD4fRdrDxOKJm1McU/pRa3eJfgroY3mtFapZzG4/7+09v7VZccUVoMdoJPf7y+WMNkJVu7DNhclpJKkA2jYnw/eJFZdyv66pdgp7/tj4WkmNyx11uJ+95NT2VyQsPGEzRKW7unPM67T7QIqGDv90UNvbKj19DYeghRyavZ20BuFxbxa8y8nfqimewN1cUVYymNJ+sfti4PVXJDaQkQm7zRv4P5XRuQ5YUSa04qm9wPHNvBh72ah/fAIBkBd52E4oh++5kPM6EpS2K7zZilEHazPxRNTiAuKOzismhfqwW5PFymFBlm/c3WyruoPC3Y82JSrdmiVfxPrTfNOyPMO/pQM6P4TOEmGCOQLqBifworujdl+GKPnqT3qUuHTDWVXlXsKFWhWLr4CKfdumKqF3FSso7kgmITc08EgfvaMt2w1hKtXeGCE0lbkM7k6Suvt6Jx6nkpzCEY3xO2MJIbD2KST/0Fcw8UK1Jg3+V3Iq8a9saGJyMPKK9L7ZMAXp1aSmZGqZnSbfJ2P3gLXW2TsR5dPAFX2M1W+kZry68Tm86GiWdqwCCxcpIJf8WFlek+2u6Bz9Eb1Ywt4w1/2K6FiCvLOGGFI2qUd8dH3duEf9SGZvMhHv029BrMdIZ3LjEW5SH7y8ibwZduRDpFu/kB0/fZ4bsPN3c0pCsYQSVBy59IiHdEmaBvJvQKWKR5giN1lD/vDzEARTKiHDXEVCaFq5RLbBAgK9opdkMU/3vF0KKSP2bBdDEZRRlbNKBJ+OgCMm/Hhed6/On0xtyDwMa61cy3prF2DTsDRHsm2zT8A6OOH9FWKUj6DJl/VH0js1TLpSjTIjgr3naZ9PxU0moItqscizMsiEWkqSCy2im5slssuLdeQ7E3e1h8krjGgaENVDSXEPbcUJmgpAg9ZRrRrFiGzt8xFzL+fzcm7perFkupxoFQ3tJE8Q5qzMTSoz+hED8/tiEqbSLiWyH3nvhohnteNElmXADZqzwmbGHCMPUjwADjjL9z05gtNIM4Z8KyUuvnUt8x9Ys11LZKx5TnTJnM2XjcHFpPP/mnXiFX0XwmAkX/3rJZQ/lnt/G1ENUl9cSUcbWeXV2nGSo+CRm6DdpASOcvuR4Sjf39Ch9dLbtWl07/4jWQRub8MpsBoQl1DoYUVVJvVqDX4Vj5f2s0ElsB+NdCEXR495WifDbQN1FzXrHBG8NsrlBPuqvmSsJi+WLijbk5E/x4e77IozWeTEKr/Qux3c2/u7MXSl4MkfWOWPfwrvaszPXvA2FZiJrcG3pYNHrrHFTEc9FkwPf8Om+PGu5yASuFtF7OMknbjIKtQW1lIOTt9AjZ7wvesWxcAtksKEOP8gjSdJfbmybmHt2oNqPQ0HvYelZvpwwgN0remQVq2wwQ+j1Bja3NXKIu/S+zTE4X36jNNHZGt+teUAz71S6r9NBAqeo0WnGbPBhAkwCYe08NVSohCOe8qp3cQS1l/bZ+zbY278JFpkhGrIAQ1/pMMhHO1FWFINlLY0XrB/F1dlDvi5dQzfGnOwkQUGwFsiWZZHq4LYIN2dDIon+1FBtZulP+p2jqdcEg3L/Ih6gqakHARWF6Q/PkUItapD8MfUi1aDqbe4j2EP7YelseiuiZ2f/pIx1HZEosrikybBjWvTLwn9oWqcDQVSzDThhlJm1OKIhn8k+7Wm9+TOYqLeezyzqEIkOIHfL/mFB+gLoDVTJyfcD/M0R03y03fDO4CXJHtWtqwWSFMLnjSjDe2WVsdZLtj6sVIQm21BaRh4jl19NqWtaxvmiUbjBvpdM2G51GYS2hdxJWfishST7H5tVVr0DRV2TeCQh0fI2dlimxJPeipVS4kC5P+bNeesOUjSTMYtFwI/p2R9nL0qcacfTP62K+5GLbe6QX5C1McclCUYdUAG8D1k17NAnqKHs/oXsoYTmKrYf4JylEnfVqxzr022Zs08ZXNDf1hdd7iUXtPljck2YMEiYAAFBmgcs52JR5pkY777M/tMwFmg893MfZf7T7vqsr2f7gN1LvivZU83kjaFVpsaqf6B6hCPxstizP1w3zBY/W1vfVmsPmZjQjMHNCmA4l9i+/Tf2AvFpSH0QndIHSx0s4awDCJMPZzRN6/AhpMu9MaBFJsBZjPgwvg3zhloVSZUcJyWEhRSypX4gmxFV0PImmKDBQmLPZa13ap0TTmDouWJSpQJ5Q40mbiWWdOifACrOwyKli7YOmNSZwbq37vglCp0LXgqRvhqOenNrFp4NZ6oY9VcvgSu/ZRMvrZdQug5074uHdhHJth0sZn3bidkNdwsEPZoaGYbvKq6eKOu6UTaatoK4hlekKGNy9uGLcwsaUloNk6sDwJq6XBocxebM8y3Sk/LKqQUPj544qAtuodWq5+lWUCUirEdDuZpRMsY8Bi9AUrH9/sqrCEazS4YQcovZEAx8EkgzQZZd2wzgMsLEW7RW5Ne1slmTmnofj827cLdyNUXpekvMcr4zxteehNHvTvFhHyW+nV0ibL5xFqKFdR8tfcwO8K0+tx6xsdgipN0S26BHXwLKJyXM8DFA6NRN2Xg9BM3CmRZA82wguqtGY02TI1tv+TS6QAAIMEfkyhCG74z9a38H59aqhdYeeU5ooAyz9fMGH+I0qIGwXi/6t8mLuXrkYIiI1b0NoAuVDVRGh4o1FknkRpydDxGl8gM68c3ZU48+zrn0t+kNs41AmcBeLnSfWrPPourTOa33Qu3xlwTu3IQ0cupmvrKsiYdM+P7QBQPwZ+bYbxM2QRFsiHrYVWTy5pib4y3YA0d8tlu3AkiqH1COq9+kMXX0w/zSK3YLXYVCZfD/BGJn/T9HK0JwFdXtdwTfcgA0aJyhO1lfLpQY3X+YAlcvM1nahuM2eOOfF9cVhx7lypvM45JxdKfWXbLOvVDTfUhHAX6r9MvUdjuJ7k1qXb0IXXalZtxlx40EQWZwn8FBs4/2l8iGQ0OEB15uYHiDy8ZsNx3RHVIqsFOTZy7ClywaSnuDZdB0Zq0XiduQQtAquogtX1XFf6MVEvBs6q7RuqcrIeGurdd5SUcgOVtCYUrzi+QBCtuGyE4shDHkEBIztCU46fFSMmCZX9QUIlUiE7C/+Rt6b7b0bSlvNcz5n7v2Zp46jgGt+6tLZBMr6/3yia2ohJH3517MCdfgX29msiPJUcYFOATLHI8CE3+lfnJurg/R3YYqZ9FIcpbG5nd5hFKB10wszjZYftEGXTyATKUtXk0PFoHPn4wJJKOc3uTP1merEZgXQPGz7NWlqBbWucR9iN74N7lzbm65+wyT2lIZqeGZfxvT4jPM+3H81Mb3VTwOkgD/DxxMzkzrA9dVwGvFtZqONH7Fj4uiuLIFOByki5cPABPk+uDwWir5Mq2OiFb4XdMRp99GOmDh576IxVwsVi0IlFeYvDGaNmfLWD0Lr37tHGkuJ9jkO5a9cmQehIF6X4uEkGvSEbvmhX0N6kexjq7Di/dZkRNAeyy7SaChb6+/twf9/u2pKp+tAMNOsK1+VXJq7Iio9nrRvfTd2DanJMZFNTeHHjhEKLlu8guj3RHLiom4TPwM3GsXammW/nGnaYTFTM+A4a7HTTjRRUcsA4K1h0Twfab2GTz6PEA3E+0/nnJFz1P3PxF/U2Yy/dLWr99/RwDtK7clNz2NOhxTc0Tfasa2LITDve/vHKEeRBo2XXMqW2NgBJKgCqxr3mDNqxpTxL4slPd4nVvD+8xgnAmbSpbL1YqeOVQh2Ulx3O0T2RcFtoij2PkvS9k3zPwLxtRhlrwCeFUOkVUUhXqbDU/+p/SbXTqwZ0i4DYT0m6bGj2tSyPU7s/fVj/FthymGq/uCu1XL12rKXRf9swq8T5oIPmbel7Tz52uBRKjuaiSt1mSgb+K8jqq3g7s7xE7XRws8qjo9TIEy+/LgOpOFgMfs3RbjfcDG21y7fDelew9nOgVeMPPyKDjI2hKChAbZp28CWCNVbrtaKBXKFsgoqvSRsIoIZIE4bU2X2mS2eUE03Z0WNEHanvjw2WlvOujh8TFCbw/EzNE4yGQi8k0m2MNGB6FjAf7OLLLbxJ9GHy7lTPEpEcdmjWk2wKb/8yh9PZZfLoxAy9mdDJP9LEY/4VATGJa55SSKgOlFPJvMuIJIog6c+FL+UN0nEaNWdnkWesLDK2q5UV2ioU1YKN4JDy7iEjFhq7L7GoevTuMGj+DCk7raWq5l+O2J7KgIucE1scN1S9JC1dw/gOWbARzO68MDqfmRdU6yqIVm1KPlHApWwRcQE/w1j2TPUEgj+59AiEpOHGf75/SUnEtaPBZz/hfogu8RHnG2Aj6GGTSreR68C31GWliFnuAc/goLK8Cuwew0Sy4wn8TWP9R2jWja1y3hwQGRYDBElgXxPEONrSGeduvWcvHWDJk/v9QZfRYS7wtOWrQx+ffI1lO7Xye7C8JTq0SwvDhDl3iWPEj0aDNSad7yqL72FvmRdQdkQCv1z75QlHiE0bir48crv+5ufUAhOUXYxacIvCwCkwCeK5w3WUZHhWZIHrAgx3gftdnONN94J1XQnrlemx/4kvl4wX0lPQGVvWbHomyUBXeGe+GHcS1d82I73DdfgcV7y/3XDeXaymANNvS/VfVW/kRNiPRLtyQKVs+bS8YGPDOPizgfmAl+NjNMh7Bcx5zzbU83y+sdXK/ecXVEjanVv8TO5Ym6aSfJ50mlruV6s3IMukRRiPOdsmSEoO599kHakdLCR4191qFbcBbh/JW3Ak42aCKo+s4yhJU9bIQrfhPfcUSQOgaQ1DFUVNrkh8TX21q85Dx4DEvcidKa2Kcpx7fV5CQLjF/EQ7Cef+y9itOpcAkZjh76NRjaL2yzbRF2HAt5GSgLhN0R0sYJ/LMzqG5I5jylgxrB1siB8KejvBub6Nc1lKlrMopRdoAZQTQAiWRE2cF4Wff5mQO01NkOADSiOAZNHMMaXS6/xOsPze4g2kL06hAIt6gnzIZ/G1Uw3uEpboWgalnXFIyNrp0Ozv30GUsR6ljoTuOU3MW7X73OB7/OXLHH9AEQ8zW+5Pkl7wtIqaKzIs5LMxBOk5C+qEbTSts0OWRJFQFz67q7vNVvqHIDcOY5mfsHHId0PqnF0bVP1syU720wBHOuSpVEzoChf/bHRKSElJLixnPsnBZawV41B1TVJZobnYLqDfDp/xzjhbAC5NmtFBzMdw5fbRaS6cCX+vBjjrjowewOJ4hD9AwMDtVjJxC7ZQ8Iq1GrGqfooPax9T5Na7fTNADeyw1q+InaAC99XrN+Yie2abQGxiLjaEJveTLmeIU8BXVc6Wv5prGN9gRx2cehHnZDDtw9fSiy7/le9nFregJ/5e8mAXvGbAGkvHyJl3Nn24/IFlHSE0H6Oi1OwegZHfCz/OCOnIdng6y0yA9B07TfqjnlWebe5eok5nBnVA24KNYOb9lSbuLkCE3NR4lA+587jTNbJx1l/0GtvmzxE987El6vYWOLIEVqvvF1WPVPhhpx0ndIEeezd/w67pxAxi2rVq8cZgjSvONhsej4SPrQWu9K/O8q8Lpn3SlgPDMB0sYInmW//GhP6NBzDYHKPZaS1aAd20gx8mJ37F/SmiZAe2VSbbHIrnuOmrbQANR5tRtSbobuwwNpOf2Rd0jrggkzzIT2OhBFhjHI3BYueMlO+459mOJktqFIuwDugPcUZxb4OcP8fE5Ae6yL51xFy6nlsDgqW3MTniDWwzvGjCPvSsOyy9CyXP85IvFSXmRTQY6ilj60FPFmU3S4oG2BrID1/fOmhQQ9cgmbe2MNasMrD7sBGSMhBW11SQ1nteEPzskLaP4BB0tM9Ag4QRq5LXEMDAG76feBtWQRDOI2wJH3BgmNmTlvbvJnQMS6zidFTeWGMFNEk4yuLwz2x0cWdF7RKDwgltq2kDiIRQX2Cl4NCVoqKdi/FFusqvBBJppkZLfq2HrOAo25FtzZt0C8uAwhampsN9KGSp5LpZ56l4KLP7ynPPXoqtFRrDGAjCoxQ1N4r8C5i4CdHdsAaD4SP3emiXJdBSBCyaKrbVHoW7758lmNCbMKgiD6U4i5GXfQ2OqjzKgzHwp+IU+IG9riMU+omSRtEfyKGCDAYEC1bDFbQtrzTU0yilwHhqN5t3Nof/B0S4/w0oydIhUFXbPZpdojStNQZfOTpTkZXDOqzVW9oHV/BLwG4M0JVPbeRPsVWG4FoxangPu3iBPeEi/McL5gEXzloykaHptY57S9wVPQsW6Q+4RTugm2PmRyXvC7VLsz89RuGpuCWYqw2r4D+MpWjwNgP/OmFm6o2rg+LvUIBFrOyvKFaOJYEdaM39s0+un/n1Oiu7JII/CbyOXIcWmx6XujcL5b+6NhD+lg7+ajm6Bt7ZY9WMOrRDJFh8Alu8dED9eVMCcurJKTwvR5Ikr0voSFXak5vbdr2j7UyDFxUu1ycp03JQs0ehHG2ndvXWtdSSOo95rp2giIDIaFfA1AKZxo8oswK4ZoTZ1CawghMop/1Wje4nKV0Beqyb98KTbQ5AWLwoFpurSwQ7atp1gFfiXfhjp3KhpnpMXasXwlo+45PbMMQ8P6YoONkTSGBuNrtV1zikRqbamfvl7uF0sEYhzZlHxUxywRrIKqkfEa+3IlpWeBpSxm+Vrb4+Rf8HYNRkWhy6E7cuiWsETAlMe9/yLOi27XpuDyL6GsotKxW2KK1kdCNlGc5fNXzrOOFe1MkIpaYnPhuA/CnDrMwlEOTTm9+CqTg/uWVLa6SekzHIYDx7vsKe+sP/d9zG1al10PuHMNce8PLnVgwsrKgDwaioAMLUp5gCSCo87Od04ho/D+Pajl6YW2U7BXeORQn/oUlSBBrw3Aaq7ySQ6fEh9KNN18ycB488lOUKkb4SliI6c6GtGwKke+QR3zR5G7p56bMP2WVz75Iy9PSawlbZcPK6OOKWtWn+3b+gSObDLXZFvlK4tYN/0YLKFa4WlbRMRJKPiKWDeXBdzxFtrmmDojN/NHRJj+r+kmzgugce68ktATnOYrabXBDaSuPCVVkJ5xF/ILKRrE4AnWerjIodCjysBZxQuY6hW77pciL0pSFnDrYQuzrGeqcWIM1WKLvYwmBNOE97v/M/m3F+yicO8nnZxMU29f7xXVHT6ONarQEzcbNhdC6rRcZtUyySCu5C6VaZUl1oN9LKxjjK14MOre9pXrc06hJstLiLoH0I023i/opN0XZjCtj5rptt1iH3/oc8ihg1y/2GaPpXaGr9oSycSjnUhyzdGqOM9EUzJwZw4635J7d2hE1OB1Fgerir+R8SQL0p0zQb5b+B9pOdSU9YfCPmReYJnq1L+E9hDXCPuyRYu+514dEE1ycAqtjkIuLMN9XpDz0rflXiU2A2SFdTOKLOrgy031aW6wcqMMR2iWopOa3hlhG4wFKX7qoHu9ZAJCTFvQ1Ehd7ahV0NJ2i5sCS2mICU4Yd55a9hmmRXbudrTMovUc1DIUYoOy2ExRT7jzH/m0quTgMcOM6U7j4P+gBUPnS7cwym4NJMWieCB91GjiXLxJRf8FD59WLecHDkk0reiADKvaNXMKyDgwt01n1F3ZDKihC/x7a/ZJfgJyC+17SWPgyB5bNluiLIaYxjiAETZ/teRkTkRWtBpx/lIT/cAgDJ+frLOKEuqH+Vf4GxrORn0ykGmR96OoYCqCvdiet4EAV1o2MjfkOHPrdsXViq8tfy9/m+bBkS46HiZyyezXmNq2/9Ccns48ougOZVRmmx8lh9xOXV2OWpV5ofiqPXynH502koBx6kdre4CVUwIEQ4CyFpX7+M7592sFa8v4I0+etSZJAuiyRau3o4T2E9a8zSDWWRbVrn2nnmOc5ITgjLAGAFSQQvPWHmIB1hxoYeJl2M2NqUm1tiY7Ru3tWxNhuGitz9av5t6SwIa7PBblEe5Bz7exVjKfKcKLlj3F+VmdeEDcJ2fpwqsc3LrAD3RdLJZ6M3pYdZ+nbUr3rvnIiVJo4JKgk95e3YssUQM2h0OUpCCU0Lm7i+nUdGYQ1VeZvlNt2geerY6eWNw+ETArnVfcHsTaczk0Akp3p8EscAlCbqd9/kfnnvSWyKX1xDKEiKvE858t9SdvNqu52gax6hLYUvXNBstEErritmoo86QMzYcdQdccM8sYD273DDY3IWqUzcIdAoB3TlN/4UcNzV4TwgFjuM8ffKmckhCsOjlJXER3dMvkuOUbdEavb3cyhBy4PF1BQ0Gra794c1scFYpq6kmWfajf38ffWMstrL+NTgFqUpxzhH3faoDRhRwhTPZEpWsbpYbg3V5u8HeoUoHhg89EFc2sEX69+ygAxy451mjPH58LM21NZ9/f8NJHiU2/4qHrHdvPRscZ/XQo45nG6MfpmhryFF5qqj2jdRLfyJ6la/ixkjIAr7khiZr/xNm+Q1pRuKUGhY3dxAra1/q9CdPbFeNAp4qnpnSN4l2eHI/OZ1ZWr/xx88KakLQfZO/I2YxMZHn1tnpBlrd8wPtjf6te2Xo5WqidNAaGVQsRJa+o+N+34RJDpHQ6WDyVl9om7N1QxsQUn1LfEbhsUdCVQgmtj4okWcrWAFG3PZWwEvwnfuAFyIycPySV4SC/lCmVtuXELP1n1v+Eebd8cW/HndOaltBlPSpR7PFfBsCCVWMrfpQmFtP9UsR4qVUlL5aGpkq+G9lun1qQ5EMDZwkBospm4EpPuy1MqftFsM9DSXrjRFokDEkuShZTlzFHDsTz7lqKUs3BvuRKoaxrVlfZ3lLBbDUS/6uvKS+ibPbC0CBcl8/X/x6uj92HjwcoWjf1h2iKWD9Kp3INdpBueJa82WEqZ5VnIudU1/4xQZ/oPk2S99R/Ko9mntM3AS6UoF3bnFBmNa2rUgijAYTC9aiJnWgcOcte3LnvGYtHlqs5OXrXLdOKzQusxK8i02TsJKiDAaDG4ZfkY+DDZIX0qCo57HhUEy4cBGQYgHJJzd2nhJMje1kWe1vdP9WGS8Gl0b029cWptaDfJoSu0MzuLDl1ReG/jpPH3T6cKZXTzwlOoxLAbeMQ38S0JaNtNCJwQowaFKHEB+7UHcpas5l/jYOuHXi0kvjTlnrznTe0dJATStqtx1D9SRRB/vjYdlRQb1vUESZ4xe7FIIcy2E5US1tmr160dWp4ZGU6XzZxMTp48f468E39OXJeMBisnmKL2VPmoJzFY43uUl7Ekf2SHX3mOaG+lqN7Daxlqsb1OkX40OSuxNLjyt/fnP8gZ5fGN68TWfJwsVJGzk9E9wB/5f+F7P8BnHT5oiRGh1DHeV7prXR1LzJzolmacz8z6QJmxVbElbKaSMGsi4SGEYJb7Ho3c68VGsxqQfHdAy+VVkveekocWklCA73GULjwtyLQ9GoU9ONaOgK7e0DHsb6OIofyXPRDVYnpNy7di95aTv907WevbiaOwX+hilAJ3V1nAV72wfdPhAJpOGOdLOABljSUQj8J67qSxjSMOTp6SmCgBS5IzjcxeS1XhEW1GosFo/cwb4Rs8UY3YIBF6jKv69UKxNIYWwmTdn/3GKPU2ZWFV73sftYvyhYt10moCFCsfUyE2UByf+qcUTp2ntBK09hXWRJHJQDE2k0BduVsQDL+MUik+PZRx6QyuM7NOcJjKeDW8GM3LST+X2U2piZT+hm45aeqZ928hJPGOElGW7R8Ya30o56sgzgnR48AoH0yWn1hQc1MmTDOuVYOYxwvbbyhl+Fi0XlWFkkUeQ0nraPyk+G0JM4OPTNNDj76Xw1usTAEKccgnEt5f52XmhzFFK7lII5FV4VbFwpGe7eSL+cHYkAY7SDSAN7onPtp+luW5hmU9rx53OW0oID2+98/i/4rDvqTryuthHxHHKR6rANoZcG1vEa/O0oGBpqG1AgVAlEeIqCWwsiCZGXruqy+oggX06M4Vba0gvNABfdo84m9Jwmm0kjRtNhdQ2gvYHjhtZzC0S+lmrYpJJC2Vy3UUDjIHnbiRpAHEF7HqJW9sz0qB+BWjFIzvSt1NvZwFWQT+f8+AKw5tgO8LZyj/mbd1q+5hWzhfq4Hdok08D4YrcNsEfLgjGz1EFk9pH78oz/KmrTAwfsAT2IoR/D8zsZN7MQNZlumokiuXzYZOjBN01IyUS5+AeQjP503Jf62UFoGaOMs/YERfodQ6Y/fM1Rhfggi5i/VdpJOM96ypu+1gJs0jrxgGKf5mcKKRhuOHeNFA2tcK0c8i/Ue4XKBsIrx8g6Lymjgkcys/QBcA2CgY+gKsgSJxurUt7nVwbMU3M5CK1kuNkWjKVRQ/hUCVoenJYqee+OVvQSGzzOcyT6VYXUDk6kZ5ppJQE3xkjkrhxlBrM1qkfmRFmqVQinEfwt/mg0HY91+/jJxCpKyeEMsyxkNxY55U3bMLsQe7rUtWLI+070TNCBGsY01eMzntfK2P9XAF9tvemV6cxlNRgzP84Y8Af2JwBlKAl/LC8qy4RGhEu+PTVaFBQEgc2ZKXGwQcHF2TRiwnlMUZJPse317o5f7VQt0wy8I2Cf7wZY9uf/PSWW6ifI9Yzen+BvReUb5qdyw3mEro+dXJuTi9B2LmYQugx4I76XfJHdjEyG4vfjqA5Y+/d/RMdclokIbQ5wkBsAWthSEXdIYsl6KI3s/vfpSZxX8lIOyUoHqnCoR19hi9xqUIIcwC37rQzlAr52wDe2sc4YR+ZrWSjdZaXORpdKk9k8MvjBdB1gMV/QUf8r4ccrBbZ/8fdL7RlOKhU1GuxCHebU4X3H7sd/cLTxWmR8APbHFC7uReLCQSfBq4KHOWX2ePb6HaaE1YvmE9Uo6v+nthqbJcijJj7FHP59UHSdWj/8S8dzoSAJPj2mU0H/L6lZGbt3Suvl3FNwmTKK52hG5A1wtGahQyyzlVQopuR6wp0oVIEFXNLUrlgcr8XZ+eLBAIlWVjxwaZCUnmzXVBMMYPV0ZHLhi7XUWMhX68/lssVt90oRBY2VRlA9MFFMIpwQaXzJejMxz65IZjSWPu+sQ/gZmp1rpv6/x7q1ZTS4oUawHdL1MMugSJJQymGlfEr/hDfa2V/rNsJG/C7QsPPWEL9IfgPWiZCv7hUjCSLxzlV3ywtZxZJenkgZxow+7unP7bAcvy5ZoocGO7qrGrR6Ci9IhM1FfoaHweT7gCSM/KaP8QgxRxoDUsHr66QYUezoWDKQ9Zk9AAwpkGodSKICQokdundyO/hM0JqgdDFgC2DpGhLrEcwM0rrnz3FxsSl6b+hO2+4y+QRDMR+11NCPTOZsfLAlEHuQ12EMgBtxCd9VOqMATD9l3XM/RWM8ni/uPajrdB28SIALkOixfx2Q2F1PhRYlMPszEgXXdsFGnBqU08BzAWyewxyrYtjwW173d3P3oY75h8TOe2rImeI5ZDMCNU41I8232D7j36giFJunS/Ag3HpsD3ITTtfQisMJtyZhtBbwzAxNLQ0qED4D4LCKRMdMbQYCgE+NvesBXCMRFpsknnUOnJnPAAjQxMEpCLICZYKNMWpn0Xb65lSH/0fJ2tCdQl48ogm8F647SuZdmX8bNyd8aOh8hiJfOXnw5pjqA9uP8jnQTRMkSb3jFN2P4s8yRH/ummUO4jDcXOLhQr06k2KekwoAti2q0qq4CuBbiEmpvSV+FwbQFPGMbkEg0E/94cVvvJwEGblDEuQuq98oOh6l9nULkcJOWEIKS230WQIcB8MnYSIzEos1QaxMi4M9TvDu7W9xedINqfd/Sbo93X78nQzscgHHpco/MWG34zj5YPxACezchfVO4doelHbzo7A4nn6N3Ve51ERx6wTjYwwp8BNNk3Gt3FnCoKNqIdN3sS3N8RO3mFK0dn7EZj10VLYwpgz1be+E/wATudkiM4vmMJykYEPNMk9N96IL8IX9y/B9PFcQ217NMf8usPIxK3ZK3KLW2K5YvGNIATWRGmYOdEHhrqbD4mD1ReM0yqKab2xHXPubP5WGYTzrMuSQ67X9MRq7P4RfWpFsNNkAhcqwjWIsJIfv1Sam33wD2yk540WthzQbCo6ES7vZRDs5LvA32eppZ8xWdpAFNuaglR2jiTHGbYgq0k1adEqFke8fvx4SxK/ifmvOptXqhRHcBeGIggYFhphsLwmNKQFoiLpuQfIZXmSfIvw+Tv+OppL5Bz1frCOG/1P/37y3qgLhbxtPD6bFErY46+N/X30aDEwxcerRd8ycdzkHBbp4JltOpsvglhueHyHSdgf3IjK3a6mY6EpH5GnD7kDnfSeIGJNnU64NLfpBVnB4iIUojj5W6VvfJVXa+osoGFnarC+FNYwyw2oUlGO3BbhJunUeRJdGrkyIqFnK91APEtVSH9CLEloN0eODbSVTzYXblPL6OCAMXIRppBizPvJaUKwYfnJlGt08HtVJXesHyuZB6xMUynwwqTYZNVFauJGX/KozeFMDrG1kbiFnuGqzpW5vdypZH3C/RvYT+pIq7zODQSBIafCgxoF/fLoXP3nEGtkoOjyk+eWAWj/Ff70YohcZU32SX5CsX/3jadIXX4bVSMBQmSLXbQlZanxlQXt/IywEDtTWTokOGXvs28jM0+4Vh8YNHZNudxomWx+/qKX7QelijvolX9DcUlTeKJOzBw7cTLhp6tNYIO9con4jxv+hTURN68DPhjlPe0uLf7HufspDJTAj4jpAitVFVezBtL9+/uJCsrGqK64N2gehrD3WW8tJexkaBNxkWyFQfeCCJNzEcXo6UjIpYMuJKrmXxPuNl5LAisHldQw9X1zepCCAPOd5OaBRHgDC1jHy1rRq5hQgcOiID1rP9Ip6gp5nI0u29iGWS98PePArpTkYSltJJXR4i1aqPBQ8nOUIrVQrw+0dzL0wHbuoQLF44HZKmZZFv5S6xXZts7GW9GrrZRnMhtjwHBVnvxERG2J5xP6Z0eFAsANzLcQSp09fT8hq9dZEeZE05SjwGJ1RHQkTxEIC+Wurtm37NhBEgwaJNQWQyiBxGgRGsPnndhgP0T36VxFqOeFlXD2FTGbfx+/qQ0GghjJLcpV9ovn/0vIDcEcPsLFGGH7Y5vC/jStIf0KLm+IjJGkOk6BruvQpX6XZpe4agzZiLvq1c8/DZB3gIpmi6S8PzhchH2/A0enahwH+OPJWIf0DIcVeg278OX2tUw0XxrJeyT95LoyQ83LA/S1X7brh6a5DJB9El4+AuBRGSxSRh7UtmuUfHxF9QwK0jwxHIfUyCEsdFl2rtoINBZ2zMGlkvPvqaMGfxehz2PNqN2pSd76xXy5YfWYTLJZ7D7kz1nEHdaa5PYMwJdUJyaJzhsYvnrUBrq/gFgCW3f0rMeSqpkRGLEv8Lo6TjOx6fB6Z3bqADieLXaEOVENMNQg5aISrmQCgX5c1jOnQutNF7rmH9z9dVNT9VUhTyyOscxnTCaHhItVXPobJufzaobtaBL5XeEXQppPWjovkU0tJZwTY3EursjPTmVeifiim2QQ8rPW33Ss5w/KBJCI41BnuK/3Y4fiequxiVdXa57fr+m7BbZJXuX85A4+LahSXhpVIWT6/Qa2Dy4PRCZbmWE7wC40Vv+oNvyD6pPL8sxks/eYaZfN5+VqJ44GjlZ+Day21zsyRu6bG0WK3O3FacxZASpL4ewzzBvqvmj1XGUkGzyO0DAW00ZFC9U/DfUSb1ITvS+jhP5T45HEu+qKL1BQ9S357/YC+jPd+McCHhOthS2pqMm/s9x2PmQdSYCtBu8OrAiTVvUdYyPBaLHG6ze9BvPQfBxLWGPYSYTmPiGY4GBdCn4h5AsrK+Mq9CdKoj5ScGRrgW9QSuzyw31QYXezmsNCfR3JpReX+nQB8dQlzHx1wmmZjRydjZg6XwPlCC9BWsleo/9M5XU0qrmJ9DWEjNyMu3c20ZbsoVdahl7c37H1ot/YLiWkW5M25JEtS7FwaARiR4qF1dgcUYqqUiJWUxP864kLvMULIT76wXth8Yzdzk92uhvaH3VfhzIz8yJge/BWc2n6IoOxXTN9gInLQTbxkR61GrswD0d06UrnsULTZmIy4X1y37i5V4c/C6TpoBbYTLQdrsZpQVEzB7HheGzhBmi4lpC3vwt5cNRZwG4fAdE/MSkUBgy9qKjJfO7Fn4c9WTvpDk+LyJORQafXhJYMjHi/YY2lEvqytp1EEGhnQ87mFmpGz3lTIxM9lbbnWy7v67gRTDc31pJTzTSMWWV9GtrF7ChIPX2/+vQNtBFJxGX31JeIhk9nC4TmSDt4bF8y2asyAdK3UWUOc34vyzY0ntr7KpRE0YsdBGBfhYiKYIv1dKQ/LlXtKglxXKjt86MdN2nRLTLUQLJvUqWBzlFBv3HjRV/YUiyHKEKA6twy97eFrTCr2OaR2OmhzlB2aQX29ZYkdLb5ivgC9FdtcTk9RD3VN0zzQ5pHzzxFFA42eus8Xl7soeF8aBupUSka0Svr4C2BwPsOnfYSzMQMQPcXm7plHM+y8o0l7g21dIYFlyKsG9R2OL2wiH4LupMnAmxmnDsvQXPv8ZG1A0bsU+X5HD+XO63PP8y7tcjw9eyrTG2y4bq1NF0n71TsWgrx2/1a01P/lG/PdODi5XLqojHynUj9cDmZMTnORFNSAi3/UAymq6qDGMT6je2e8oM7WwRa8mVebzeVhqzjDp1eVIzZbrQUaZaUmzwEaqTwObfcit5QMK3ZGANlQfXx2ybHkGPF0+UhQZB95B+5VD85c6KK6YAPsytM1S4Ur0S8a4u15P/J8XTpIfEj9nYnupk7U5cuchj4uRnq3T4tZUjrR113FMAqj+k0OUPMjjKICGBYIy6TpFxpmOHlTJdmcOFpF4waB9XiQOsr9ITsQRZ0HBnJ7ZWY69ihtsKlUcvILSZE/QK03772VC7cW9VBlgypRlnFhrnXNM3zQ8G1FuX7rFBJ3Fy+Zr7vylHGkmG68Exzqw0HONTgyoDcYiLP3hws38vIQW+otXiEVFifl0EhyuleGSJtTG00GGSpkeJN0RBH+hCdT5Qo1Ef7n+YG7FBzYFoFi8N4D3Sz+4hSWf+qWB7ac5fqrpuFCpV0oUj+V0vXUZ/6fRslvbIE+h2vRIHjdeJTfdeQ+vH3RQAZXM8x9C5uB3Te7LC/PyZxfaTcG+CVrzU3l6m4oBxTagnQuvAvHKZ+hsh++FzSC6lEcI3eTxdBKf80A5uZgxhTCABphnXeexzUeTVvVaHokKw8ThSU4GFBgdHCG+9QOMVJHdOtJgs9mjNTdPrMQzBH4EpFNdfAqA17cXKRPslxphbZ4v8gh5ve7+bpAlKRpt73oOe5cyP4uIDgTfEk7Dmyl6T2A4SU8xDk9OTMmMfbHtyYg/x7YKwXFgYUO76LDdmnqftjyh7ksbbsB5qpsH/SsfQqmyOVGscHRsw3Y+9AdZW9Nq8QgUen69+dBdCEtxxv4dmjtOo9X0xrgS4euB1Nwn5+EjcuU5rtMvVtoqqLH8MihkPRrnbhVbPaotg774/muIggKQofod8LWZAruMfx03yK3mRK8mwYFlmcmf1TUiXgAwYgAvdSv9UA0Ti/SGPd957my0du2b3llK99/dv3VJe+atBTf/s2yLXOZKvAK31yoNHIJ72SDeGQfOK5hr7pqzKX1LfLj4MIrF27z+fxsKvDwrDVhdawpqpefyJhbVsAuIj5SixhLEAP7VA9FD/Zfx50OhOFr8HZOYbsC51zWv6fI/kh/QK3nP6Kusf2SCULcoB/k3V8nhesD7tnagvp5Z2myNW5dQtMfhtC8ET4N4EURucK3J2ZHNQVkPqdSH04hGUgf+B81T26IZvT3HnaUMnV3VABDLTP0e+wwYmUR4LO1CcPQM/dC51uUgiVfrigmYw2PyqtBYk/zyCecZ2CRUsDSNZLqtoyeZGPoTG5aOYs80Tnm1+eYOUf2VGEceYLd6qq0iqSCXIF/VxR/xiz95KyVH9qdy8q4el2JBRwtCLrw6uO053Ce3WLapyul5hLvJudPhoU1X+4uD6j2wZLvDmJynHZLcRo6PothtaavLDPqbe3plngbalMuOzwb7vp0F4AueosLd9kF33Lnn5WDcGS5jl1w5XBsKGJrNJeI52U7jPKeM0Bxt1rx1J+ckVr54KBcyL5E4nb4QUJ4XwFzPlYLUD/IAuHMXtEq7c10Pe9qWtsEYDJthUeWBleSDBB1kRgE/4N1cmwYRg7Wc74ra9qfLewy72k7ZWEwZ6e4kyoOrI3k7wUZvf+zJRgdBBYgq+zJzHet6RcN3sOP3XhlRMdlL1Ul6Cr/M1vthsLIsjIEfDhNrk+nTyxX868mBhzNHdN0bajBcy58kmQPNs5tM2oa8cEy2JhncV61NGlffoGKVrin0VhHRB3Ex9xca/3Pbg+SBMyzotClJ7bFINo19PXZjqPvUQITER9YS0VxLI/JSwSFTOQf89Obhp3bxV7OhT/8Tbl2PabFlaYWBPm2NPqDGgL6eU+Gce9W0DqIubHxH8KTLKWbNnXzvCp6nrnkF2yjodvbTUSETIZgnoxOb4oDdQTnGov6tm2RypYfjNXYbRVQ6aqQtH/8AJN3RVuj2y6SWFOGiOMCkZAa9yFb2fBJx9vTtDsJ4UQlWB5CO9p36PNSjB4imHyMImDC5T2uR9zFVrDmgsPaDPfRyKhR29UjBlUCFPUN5YegUqDvjkGGDvp5ZXfA4snt9fFpEp3JicXa3NgDtQ3Sf0RSdR0DMF7r/TJBXdVJjHdhL4BfRaZjzTMMu+T9M6M5nkTg0ES/xFHH00vEAl+LFt5XwCj6UG7RE1sio+avj64wIcnUd7LleSoqKoBEXIAvD4H76Pp3mZiYzSBY1yFG/04Nmwut0mjf9fQlWi/8UqV4uqk64c+RWwiVo/oTsV7NmFX8RqJaIXN/W5nabk2eWErsw2codjHonYbqY81er20KR44X917GMcSAN2F2cbQ6z7fRs1lNXvEx12pW/zBvT+8cH53g0ebTVrTYO3ZOGMmHy9XdK5GucZqCIeFXZmlRdOt5WAJ3m5qiDh4khoA4zsDCZYdlozE9aUL7Lu0qYLBmOkEsG89es+tLoOU4H45kGpklMiU6J4LKGgVGOnOpBsDYQA8dgUYnYKHczijeZDyzHMYqMSMniZNMTArFxEdIKlIFlEjOztcwOM4hRITf45eqyyaDtaIprXb3wNLov90UKur1IDgG/L3v4Yk9azGAB3bxP+8qQU3LWboFCXCjRvjHgjn5LS3J9ueLVKHWK0ca1qLpEbvSC77l64RKIgaKuZ+GR6knFAy2SsbGfkrsTL938oklUVJ1Sn50PzwFSJvnP/YdlMNYp5jqdKf3MfX2ZQNfB67Rek71U690Qznz6ZukEUbjWswRGpPrKF531UPAqsozo4GWn/jJtpI6DNHoe9vm1PbOEyEIWbnDx2WgCngntNqX4HiJiGnXqjbfKeolqwPJ7Xj0/nUw9CfRGABUegDaGUh88w87EqsfWPkHDLJmxIhrzyP0bIKVxSd4IVghwKr9UZZ/2G6Q5LaHHuBfvaklMgNMAo625rTTLEy4F1MWShnZmBqBz2XF/mNn7VZEq+8H94w6LWUcL4138D+5LsU0nxq5JUw5WPj5gH9UhOAH/BxlYvw7dyUKrIX6fZsYSdgTeAOuw9ZoNvcL7/ublc/80yC//toI2ab3HDUunDAwugJ/+U/qRJNbm82YzLvmZpniwnHxenEj6O63uKPoU9CElyt3AufLVIbgp27dT/27H7HmaFvwsyDoIGrMLB+GapyVDrTrpeZf7fBMSCM7+qbXNzczA4UkqBVGXIUuWe6zdTy8ya52XF1AN1P0+U/SfQbUcSOGntRSqcTiBqD4jBzKyJ7DiZLrN4cqCk9uHDI/DpnIRDMgZ8lbe2zM5O3+86cujDCpVVgQiLus3VX51carhlfc7vz9OLT455LQAspEe1eYu4fx59X8XuSI47nOvz6hXjCTGVvw2LnmzT+hdGjhHr7k5inFtb+bmO5QTxurq4AJxOhIM50KkuOTPU6z4eD4TeD90sigi5izTkCQBaHy88tIJ8Oo02YMZ9eshl0z2fURPp0/dfsgKZJIYrrDlyZjUsTE4JZebU+E15U0GbpszXCSu37YjBIyoUuMMbdM6NOcIqaimQBePud4cOgkkbTiuX0OGkdBkkAQU3AlxreIHCrcxxmKi+8zQNecWRmIjMVgWJAHT/viPPuc432HmHnAf17y9IZRQcdI0P9kI32EchWHHTQSmnK6oAehO6TWWqg2wvsG5hVSCDovicU8F9RpIikeHUp0Uc9lqn8cTnVdHQT+wn4R7Di4Nl8tuQKHa0APrbGfQImF0+FV3AjK2e1wLNx8zoa3+eQu21RqTCxUGjS0Y6yc5Vlu+Q9RGC+N4vEmgsAQhs9B1y/t7URndtn//KdGGCMgSgPEs2NmMAC77E48zL3X3D1xtiiMJ8FQTmVZoIA8SffNPU44/swyO2zaRMStIN0p5HjGAiTy59ROhrG0RtjSN9NqitbswZHoFZCwqRXyn3WrXMPY0RJiT6g2f8Mueh5McsLYJ60cNH8o4WDCGYsjOQgvMNWpqMkB5rmC3U/8jNrKcCjw/fJlg58hPNZ5FAAaqtKk2u+IdQMw9HdspqDo2q4ItvS1uuQWwNxoC3cMf19HdL5TVvWaHlGgXpsTiacl3czdFPS4rzWpkyMA1PI9YmL0n36sjr29bkLJPtIos9dSLe4v4DZJ8m+DtuqMOBLnuHDTxNnaPckALiIrIXyiUDn+MPXSeIAqqZzSBwuWazR+hUKrre9vVw6sOgMjrCg0s7NEk+JGySZFrIRz5anbI40wV5A1Im+3AEZk5CMEHR8ZEaMTpdUyBLKU0TZAGwYtYTvNmpOUEf7zmLmZald65Ybx8DiYjgsX/qqENdIBmmLKOuKQt/NyUN9htViAWo6uZRKigpIomaClFtYtwgHwHVpUiUWK+hKPRYqTEocSKZ5eQdGdrhvmZmF2BSBFSvg/6p46CbHa956q0Nls50dIfmldBL5lFPc3i7ugXuEYTbzvGBmOy2wt7ue9egVvQO9Js2E1KgykWn4GvJs6kvldhmoSZp7QVpbQs9NrOFDyoiwNbjA8exZHXd5bdsNdj5mOeGtEkboqdR8imHjzJPDfKGpuGvp48+/pSUIf5Vm2wsKdvKAHJ6DeNiqbkBAYqexbC6eD6RwIaEA/8P/yez7iMkO5GS417fxJRYU2pc7R1VFhmlS1tls7nuI2Ht87mw/W0u6IwrrOgzZCm+L0raDOIafu8hJRN8ZnVNpYy5hcYZAqyId8YBJS7qXQ4rs+6zBS5tlE/DX3N5GTZ9AnOI2/sJswNnzE6JT/dj59UWkzwvM1+RI5pRRCDfDFLzCwDpegfD/YsBsockJ42R/1rcvxz2nLevBA2TmBa1I82+TqMVjW76qFiaVLS4r/mMjrIDVp2NawSax09uJV7yWMGgu0c1Ebv9xcv9+kx8j7QGPc3boKIqDa8haCqnq5a6p4CpZwxz83NQ50UUG4Z1ttkNfeAh7NfUEHE9fW/H5jbBAOxE0XeUUzSpGfCyxCtH+3e38u8A8gmCChD1og16B4PnHcTB9HcCjNpF2Bm9ltJEhyWSdp3y0zasGxfdHDw9501ZXt/mOWO+fKnVtRv56QRlmKWS+owsel4WtQ2sYmGdORmWVJXULba7c9XyMXudBtT2ownLYPprovrk+iBd8NSzd0nW2V89roTnf/92sDY2wSY6cO2hRAOsBpR4QBajznbj8OBrAC/puS9U+ZmQM6GszNrbXz5Iw+NrGZeIvBap6c+2UjnUp3u8WzHfg8evBXaKnGBEwlDAuq4B4FIpFkSOpZflowPDkYcB4Rn1aa4aMyUAu6nd4m1qjQ401YOF3pGuEMlbO9YqU4CcLs0KJmhrIRdZir7V5LMYmQO8yBX1Kch71YFKDl8I7aBni8RBzZ5V0FO8/Fksh15X+pFnEfpvMuGJ6D9idNAu80GtB7U1EqAiqIF2Hn1thmgcFI7buwfuXimUI/wF8fWAZ5R0uVchz2XsGaZDoRBmC/Gi0bGlH8rxh762VEGOr35oC4kwqtUdwXwi0P1HdJ4XbeDKoLRZ8XL/rBmYZ6zAYmNb4fEVxLQX6kQ0pUbzbcz/Xutn9/dgmsFDWw9GgjhS3o9QbWYnojb6ViSwM04VajYuZ8CBU8z89XETvEf3wzb3gWPg/QlNd1W6HR1Oy/qcYds8oj/oU76xoqgC9lx51PQiePMxQH6E2R3giw9CN1hwjks5hwpkQLgNgr1Yj57igP2U0i3uYBjpCCUdxYplWdTNiDX1fbmU37bUeAHM1OxWq1mWSFYtmXcVWKBEtT5yBYxFUZgdUD6JRQW4jalGMFWzuIwDFC29QC24pUxR0GSd7KPElH/gMNSZnx0RjEMhs4oHCC8lSpSIsEpwQI39mEtx2WAtTd8gY7sbIsSrgyK4UByRvbhLWdg5t83/TbCJffTSVtrIcL8WB3QKFZ7U2cxFNEhr0tbguLx3WzqUPhE9vZ+X4cEhVi9WmGF3bBx08JRiBL5jgbjIbzAmkZMYxS5L9Zp4ayji0grKraUZxEEKmrfDKXCh7a4Xa13VuqjncnTs7Om+B5FMGpsZt8miExL0w9d2CIHkUdxlnNDbEqJ06/7VasYbvIcu5kHn018yCFRIEDot+rScgN13oprmDOS1L4CmwXIsMqINZt4fGlFVfT8QPm7vOZ/oHQNQZCKLIGjb2MWGBIA97aQw+5MOpkNdeJ4+17KvuP+5SV/3a+il4/u9Ch2Vi6xa6gbrElAedokPCfpEQ+gbwN8kIgmg09XA9zpZu8zJYflPegwUpqJJmK/9LsmEPuOZNsmXWYKk9O/th9Gb8ycppTflotnS1v/WqWRT6Zp9IQd0WNyay3I7zFccynMsC63Q7ue6IiIIrt8YDmV76UdQA+zJCVUfGhyLZGLlRF2R2wC1Jd2XjB1ZvbWhtnPV2XXXney4fCuOqLRdDJOmH0Kp9aqFtRtDI0y2BQNemWboSbpXWOSimLDy1vy+7K3Avtj/6w9FEMdRHV1KPrqtZR7tL8yl289Yo8/H1kt1n0lHN10R8hT7nPJ1A2d85HTzeV64dN9tTdJYYkbYhc/d/zYvRjUutP1tYmpzdBHYocGLFQtKnrM0zm3PaFwLTW2/7hJ/P1Q6A9oxMDurkdPrnModeMp4FOHt9frYAY8hTcmzdjufuAooZhO26H2Q5wnI6mT0q7CPB33lNCknaKahGl/Av1VAlIyXAh18WLfLZlEZ7VAIE1OL+R0rluvSSYYvnyTNLc4bak99FWqc2PY+ZDLMyalJZjxJPvPYoGpfYLWvPPA0247HLjfpCJiFN6eTph0GmN7AmijN7QI4DE3sW0IOnYDNcUuTdN8mDBQ78jstkMDx91HJro4MyFeVRuFxGdLOzoOst8737bsoZ+Mily5oszvRKyDFhLm0t2G0dzpYPjzJjD4Im+INs8V8g17PeM5esPysBnCGZ0YHJnrxJ7P7fw/MHiEmGdhnOzM0tPifLh3nec5JP07bKyizm9DexETY2LM0FzlfGGG3iNa+KULBWN7uOmticbwQcOXaG8FE0A4ghyKhSlg2zONM3zEm3Dl8I5REUTa5cV1zuywFa2i1wEUsar2BRpvjOrikRtRWQO556kVpPUE0pAR+ijXKB2b3YG8W5d8YYz+7NtYxyFhnSG+iVM2FJ2gYv4wBp4Wt2zDpVMfzLY1yHsJLG2exrvJC8OpNMFMvSEfcTgUaVf91t8MPAe4rpGQF8Kmfdb1IvwGZfSIzM9Clw7/DtGShCX+1aW42lVzM0yFU/lSwsw1tjSZAy181oxcZtcIKzz6rSCNpzz26V6Kn5dnE596/S5FCFBrChaN60NBxEPNmQf4Ivc6DjXfmKlP4kFx3jaFf3vAOlgvN30rKFgCPwFOprToGNDR2TisiqF0bghykCCTMcNnSH1QrYL2ontq0JH2Tr1h0ssrzhGxbrzmidC+Ru8oS9/gjfKYk5K0J72LQVst018+Lb5C3nA9vfvgATp4dfgCcpBJlPL1SUvqDAXy+MTQMJeGa12WQpl9NGIpKr5P40TeSNDwMgXu6VKvtKRG8naDdj4ipZH8yb2a4WIokwplDWdjGRfaUHQu5w0qKAbKC0tBwkKQzlELIxU08ImUPtXEiLSmoMGzE77Xdj1ve2gqN+SoPNd6OnNOmPwm1FxLgJUGESvF+EP0EjpQrwef7F06YAwlYCk5FC7rNYHe9fy/RNv120ppFmymbC/TDDPR8zw83TpWEGpBbbEUCEJn11P+96MKw8pZIXaDvKpxa7dqR4hYXRdTl5/RYn95nqFsfs9KA9MPU3zitc2YBzCL0LFHt1WsPQLupJkXRRlvT5nOfr8YMkxvxbZnReinbiHGk/2170zt4x79EOG0X+GttpHKDJZ8bCfzLk85K8ig6HxYaayO5PuLbXsGB0EBbjd0tYTmaDOchYi0BXNGAH758wONG8/GZSCWaFDNvxOur12/MQF0uOgV8g3ai1Xzm3CBbVTzcXRTS/6kkBl3N4JTJxOdqLiO9aFbB22joOECQ96NQcOVnXFFQKEHYqci4zW9i9Xz4DtGAweg9f6FaECcADW8b1+ScTVAbYZX79I5rUu1JcNozxNnlluFipncPJzu3VlDeeJX1aNIEAIIzSvylqmUmHP8TKJVw3eEMJizfQweCgNT2hlEVL6PSTk5As85z6TdjAzPOLGB6SBacDxgk6z2Yyx4HVlbyZZ727aI89vbe+Xdxi+2wegWnH1+FWspSjDoeFldVP117uObt91itql4q66R50LbB5Evid6GOo0aDuQcf59x9h0PyUAQtcIlrVQP7sq3TcEBt5MCwKNMuejwjgGPyX0/yI9GcoPwAJhkDGKSkDtGdIgs/KDVkofO7H8F/yQASepYHMsjww7dAPjEtxoeR1Fs5h0lQLbfFnxXVBsYXBGdsd7Ib0CmQU/wI8NKGwDW9iV40796p8FwfZCKmc2k2QT/Qvmao9RlP0ZHARPND0i+OUlyus5uU+ThcpB72hMG+Y0aP4KEVCNX+VQGCTbPalHQf916eqN+nKCENGygLl/WG16eitVTndr//qavZEqK8Le/utlIscLLhXhIvL2aUDeaNwN78DGVGpX5HvnGlgppuyvAcpO1bS0UrL84i2KhPS6c2vaKzyMp3Qot9PgisFMQWYzbuZeWIuZm9ZbCSX6KDEW3yn/DwPYHDVrvtstK5Z7HxDD/sbXVG2QKKbb/NUcEFcIAoY2cmuqJWfclY1JyM+vp7urdb6wccj0SgPh4VdrGecgNbzJTKMfLloQ0MLeny6UaDqvayKMCdLXG4X3LiOhLKWxAsIlnvvCX8bXPxNkgP9cu2LRDG3sXVJv5gHFPQRgBB7F7uWeTHwUjKvo4Nbep5D43Cd7tkqXJp0XG3DlxGsSCTYfzzBjG44IGPic/BRwmwiHm58wBU5iec2dX3c/F54Aqf0r+HJ36bMUJJCQ+xeIVIH0sWFSanX7bfc3fdOc6aDKi5qnMTp/OD2JfSqDjULSe46gFI5sFV/NnRHmYI+3FH8jWi7IP2VWH3gzICAe5inj/wP1YrRVJxPdtVl3ElUjn4J02dbcRIT7WW5O7mzE/v2jmyb1N2muYAg31CrBfgPvNtXABW2Ey3GosDIoCdIxkWFmoJdawWlzG0zJxryocjepidtTcJCaCR442/USDhya+4/5lDRa6iFcswsN0GhGXKSCzkrrgENlDL2G8UN/Mee4h1i/DmLHrBUp+1rBAPGo8PTcGSY0uUfR/jaNB6Ox0juEkz0rCxX7Gk2HT35fOvSJrh8lu1V8Czt66ppSizv1lQNNHoG4OnunDepRNwqF4mGhnNeWMHXzUSqhvggQOUvVx2Fh6inEfVVZFHWXs7odDFnNnA9Ixq/4wrWvEVWZK1u/DjMY/4AzkLPwvGoWIOFUX0lXC2+RJvTLAzmyjtoV317OY1QfijmcueXT+1u2dZvVzgCAYLVoDbFZsWz/rrODI4Vz3zl0+73kI3ujOfyPhrfkksstLM2KxkRozBM323vWC7tGKVKro3wPKzNG5qM3oiA2TlRnQArVBGBJO6gwWcCo6jBcfQXsRLneGq2Lq70DX8otQGcb5jtOwdP5geHqZHTiOe341f38IFKJar5To5by9CRBAv8JZqq1VnvvD6K5eeCfBItyURsijaxvGiJJE9YLE6aItsmsz6fzzFlSLs1ksD8eP/raNy50aJvFtRcxfDweqJNXM0dBo+8/tmqDvpfv8Boxfg0jjJh3Tqe+lULbS19VdzCwYUyxbmCyfi/mTvMNSD/rw82Yeq6CwXyFd51vaxmmbd/CQqVQf/w1qln1Jp9T/N4f3WU7TOVpS35oXIdxs89cszyYpojTY3/3HnFllMeu7B2qQxryxGwQgDun2LjGnJ8MqOx6A4jDpRZQlIcwc+32eH3u55mNR0bn6T9YEOXbIOxWwW/BKi+2g5Oltnkw9Mak7rdRtFumcY3H3vMi3vkl7B0Mlbd39AKy4FA2htcuBZhOo/aEjfdekZZHd12dPNmFk8PZXNq65MYU25hfsdOEhX1ftImjThinYX7KxacyNAx2cFNLbUzkPvvYSzb+JJw+NHMgZxLauNaZke+ZI6zU3AuUAOgYkIlN8WSsnQKLVLgsewvLBaFZIebuCl14NQW6TqNCYr4Gu3i5LLXEAnirdBgfZBMfqT1adJl3xgWa/9aqHy5QyDUgH6qHAB4I68ro8ahT96kY1eoas21V2y1yLcJE8CTRJBXgVMU6bMM7E29imXRdLw1vmVKn08eQaZ/2VvbKpAp9hwVXl+aD4y1KIlPlUhSfASCIgrQ+GIfoSrsI4O+SmwUxNjL86idloSwVUrFLBlEafAx2+H4UuHHEUtaT3kol8rp2uuyBs5PflaOELGnGcwxNuN5oJGbVZUr6/5UnL5B6Heb2VUe3YHYiZI8HempWNByweNCXwqVaEHNtNBsK2a1YyjWlgKueTr1p0K2Cy2wTykBBviUbBZQemrGvgrCkzANJjT4PbusE4mNIyM0yFU/OPkMI9J6MiW3Yl9t7fefqHqS6FcAliMljJPhZkAic7jmKvximt6e+Wzx37jcpY20Gg66IRynqSD3dKatH1+I+gzuvhITJ04b3irLp3771f/VVAktVVdH4q/zg/rsPdE2pwyenLZLzG3ynpttXHAOvTF33usFrfXfp1FHcdn4Bbuqy8gAwkEzGKDPf4LxdziOF5M4Ifr9mxOIAJqE+c+IfSNEWTrGUV9f+TP1+XSyAdE6JrApncHK2g/wC6VwBt2RiPkJ4tJjhU6szr0nQ0anI5ucqhl9ioN+elOOUb2mquJXPV5lIQBCeF5AiS7dhn8YdOPP5oUlBzqVcs8Idxr+OX409ZhiU+nIYN3VkAyXd/W0XNuusOjDURNZgfuJcmjCdkI/PcM00n0cIoYAjizLf1h1pKUhlu9cDvuEMop2eSJvcFHwdyJd5wCfF0KFjFpAervb5OufpeqGeQEUuujX3RmFsJ+t8rHBNN3hz6+UhDcvLCcVMEPEWIba8VGUkWo82KByUu0kXLp5YvJKbO3CK7+k+V5M+9TCl1MbTgr/2vaT1ZaOZdW3fC9Y3kHqevq98ZF4z5bCgvsvMvN10JcWOoS4U5pr4SlJEEZctGJtcCFhnMvrjS0/SwD7bu4EJRkezV0eXXq/Icihytm76drGsV+hLUovMKcXpLaDdnkC3oqQjBoSRTplj+Rx78k6gg8IkhzIfFNa+o3chj2CGoGsxnbiTtpBN26nUoYIZQNv5gLoav6zH7vNjx/OoKDyK35I4We2rC+vB/YA+PRRIcSQqHc4OnRbEd0EOmei89pspq5XUwda8NIokmpTRjdOLuXSFlTnsR6BaHiS3qJCzXJ9g6GH7svqTd3voRBKh+7Kmn0K5qeCbWcxwFPBdok2eReR47X+RNCh025Gg1Bg6h/1n07uHmj+hZnYzNDGA1S5Dk5AiU6J6Zextuwn2xCtknh8oNe42k1jrQVTujsOOP9BNKzXeiYBxeXwpTdQKdD5/itpMKO+buK1JFnRxPlIAbsmg99cIk+mMHMDxYUfRwf3txaRlUSzbmUio2v8shPZFh40m6opED+s4kg4Fkr4dm0O+SMkWOzWCBOvZAMqFMkt5DIdp2MC2pD6yeHINicLPUPLbXXLO7jIfnZxk0wirSoAWREJN1KH+gtBxWh6c36sOktCCFwsa9/VbbnrN0dPg5zrcH1dDv3hW4SwcBtPzP8Ef7EOvVUsUru2kb4jZ/Pczem6DHnXom/ilPLUuwKYjP4z0q9t84gYW29Gvl+zjjSgvA1Fh03pURh3kYdrIXFc/vekrjEBASX4U8c/NMS0DywoNAa8Wz5Z8nt/DkNvP/znVSuxMdXXZ68Qv/SA6ZEZN2e3+GqpLg3tuUfliAueKgvU+doSfJBpfnQjL758PoN0X/gvx4h7S0QzcjeadjIQd9SRk4Oo+hTD206K0E13pcMh3sIPxAOyIplQF00BAAFYXy4NIDT5ESPkFfr8/ig6WxV8SEJw11sCj2uCaYWPlL5ucBtvtToVB6uJNnYe3B8rD0r50dHSJyz3MDalfizcmJcdAFZC7WJyQq7NJjuVL4s5zKm0E19o9stbTfsibZMYJP8Bmk59QjKaAdVzRk4HW8a4GMJ/m/ZiqhhLpjS16gftKOw1Gr8VaKIHXbH7/dNGsthNwDatQtt3YkUow3GQPANwF8+pi+Y01QBwcsh5UGoCCy4odOP6Ro1nYoKkbV/Q4U7305UmFI6NcVw54UOSHvk1a9ePUcdUPr4XiVLKiJH+CkZydXeGALpRoYPW2D4xpntwst7aoxcuW4eFuZ/cvl6Zc+mqJtWohkAsCUWVuZU7DakaZ9PLrfh3WG8sxxGjHRt4XtW+2Szr9zzMPeMnTbrKNFU628puNluAWr2gcZUk0shnQFrt0/l0uB8PZGrNmi2kUFNqGfcM667f+N/c085XGmd6Nywf1D9gpSDvSoVeE3nhYPLZ9NpMuPaEJX9vmROzskSzqrGboxe++xuShT0nv9IMxopelbw9sb57gKEt0PesojhVVPsbYxpcA3T9RCuK68alvfP7Dxe9hf6y8sp9rDteMmWyd6SP+fOYjO65db+gWAYuzLPWCdhWTxz0CQpTozD+TI//PvrIlKyq81QlKSOCONdRhXCOGeAno66ucFiIP05FmOIhJB/sylMt7HdF3/MgoussiMpwcQRM1dOgE1dHubWjuPlZB0x/Di/9/KcnbwUKCqiNZKU9YsoARNrhSAGqYY6dBPO04zhB4R6qkeJSns7a4lAAJMQyUk73bE/ORju3AB0qPCGzGPVIJKPw66PmwJaVWHjMrJ/Gk0RDnU+GvtHoqAo8U9u6IIxrOQS5PCSVVDytrb9WIT4k/4eSMMAD79FAKll/D/gUAGWRLqkzMpo/nGAttzifZYJfI2Zj0CdlYl2gur2UgXMz/14xNviJHyxLKKxUI8FLUiQPdbz/IC6n+nXSTxaegNe8zz0eINlk2/XCits0zTES1wNsB8rn3wkB9Pgid58b0GK4J3TLKnw2D+FZY/gPw8l1l0fLH2EIoBSjhDsb2mqgVr521co+VYvbxSonvL/OzV3ANe8CFUsP+JLT5amizSy+4upLqfCcvT7NiBLJaa59ro0avgfgyie/FJWRMGU9MOEyXT3vIA22Okd3TbLNGkAUqIlfx8w8nZCJO/xzeyrFcCajJ3bcCreJFnmpKMjyvQpeM/qJfAy/USaSSFOCDrixuJWTiTZSN0CDQKskwModi3xHJlUxfSi5UyDl6+A8cnNB9hYN+Joey/b3e5v3kn5bYhl3MpdD4uV/MF3R/MhAPWsqd2rNfiuUK/MZ4WSKFG87HEg1ZH6k5i9fcq+ZyGOk4v74KCd+RlyitLP0WyBC8Iqds7M7H05NDCLatqzu0Z56pfhugVxt/PT3IijhI2Lmfpwdlc5Iq8bgoganL+Ld3aMz49GPBvECRuyOdjcIpbMbYn2McRtks6Xu6bCKfd37HeWJYSuVufMHpZfVBjl2q0LTXCxsxk6CXReBNKc3sHLNO/UNW1w0xwQQlK4VaXPXEsA7FC5rmc0cRQpgdDpSVt5ku5qya4F5UlhoaMh1tkQHg1LwJhSRk9fn6ZNclcv6yqdj4M/JUppz/JhI6M7qOjQP3fB3r1gYhg5ny/unOiiKqiMBzm7yGBvT7ca64leLj9TKNuu8BPSDK/OW8TaL+9qvIJPKCuwrcIHvYCoz41bHTGmnCB39NjwJdfBMm4lR3JO2JRiq4zWN3ZU24GK4vQEnMQgWeR9SgnEzWrV29TBLxEv1WORL6cdDr3Pva58JH8SqBYBFp2LEobAyuySEJySmcOcGD2Y4pNGjBy4sVYyjw8QsLBUHoK+xQSWhcp1CIq7CH31zU86EetDkl3Lo0vqfFdCtYV6/tdvYpx8o7UC7VNXmaeQVbB5tACXZ2rT6JSnhTpVtobTMUMIGpUqoGt1vC+0vXjhllW1mLMNOFWF6K7q3Vkv2dvEqMNJK14vzKjLxzkuc24JoxDvNxm/Epem1ObUmZipq1/4ER5TWPda65qtSjGFqTGyueXjcBAfCaMoIyg7WV5UxHc2/Th6dNhmdkCYMfOBD9AUrTP8uyBHLjxHd62ogGJXe7HnwQeqeLZ+OLO9Tr2ZlNIPmPxdySQHxVD43l65vQCYgbg+hf5cwwvwhxxnrWejh2C2sX5nW+PfjgxHSCxUh5I6iSIhWjYIEoe2CRpIpKxegmn8KwDFFzzEF1AW93vAk9MW9PvCYRWwvJKmr97T4oJ0dGZ36HPdV44DI9dKCfbxGIVo+4UCBbyAQH4ZgyKbt0LmwqlC41TI3GOwA1YXp7tNkXMRlsuR+iclXM7GAGr6WELc4nJG951vXb0Mz3U9vMQHVajctEI4EDBZGdgj2dwDJiIGEYnBtb9PM3mMgUnSXFTtyJa6Ydzs2gCOqjhlnDd4ylh9rq7Euhm5ak8m4hWd2QICmyZ2FGalQPdtmhvK4JPjgC6hwpFMcqrL0OmKlgEZ8QAWpYfo4O7dIgA374e2vydjnB2nh8eeV2ruPBRwDibzIO38dSxOc/eao9n+fdtSTOwAJb7FQjbmvPPQ1OIsOvOvSyPrx148e4QmZWSoX4PjhCxx3UJhis9jD2pCvjbn6hsixCJEQKlEKkbbxts2MHWVq6iw2nbP3JiNlxKW/dRqlL6vBVjDyNN5eXgjd/VBt6D9nBP905BhPpRuEz3OqIe7HVvPkiUVddyg6XKJV4dO++sZEYDGnKO5+DEGZpPFsUcar8np9EKwoXV4CgQ1wc5U/jt92RsEnVpGk97qjgCItLi+jLqGp+fHBPFtMinbdoTkbjea5AhsUK5S6u+qvblZE88UZdD1WkN6od+IoYixIS07qtdFPb1LqDWn9BPM2n6NTPqRGEVhU8qyCGRPtOEX3+iWzjd04VtrHZwE8/LuR5zDGDsTFLXNNWdeECfkXHhSMSPYL95K3hvUlpS8UkoCxKtFFUNKBPSFWGTwNN8wMdlr26mVuWfbfwnljUiC9JBvbVuyRZCVLD3q0qTdo7i4odGwN58A90CYzIjhZBTNvBr6d+jU5so/f/3+JO07byEds1UDNm/QYTkhBA9bW0YLeUH1fGDyASO8cgtI7lEe3Dh+XBAzNDqlt4oqibNb+Yd2ghEEWGhN7ge8hJW4j6TyepW7x9P/9c8zFlU+Ar67hiVrqy4V48MlEG8jH1oqjBia4f1cS3yvVHEO6oZwte/AZ+YbfDMyCRj9JomR/4nx/KqamMMKK5e/eDiv/ZlXZRBFXLiWqRHNPOYhgtMfMWIgrKkvPb73bdn5ZOpfaw4qaYJtTo9tv0hqTcWONWJ08POXScaNeSVws0yZuFM756xqcl0PtOtdH4mp/wvhtvYN+Hs5MYLYmbOyQnQ6BREjgJCubOsL8NVF7PEkQldTYxjt4wT8SpgmRgQMnZ1phF+TJxvTFL7x44TsCi/n0N4t9QlZBs/TxqRIWUQ58E+gniEiho+nFmwb9v8hhonvrPwBfRcBQeIy6iGFBkIyUhFXBCp85sAkRNX/73PFjwZtSK7HlbpT+iiAHLUQcN0z/RUVaAArC7X59gnHRVOmcUbnZ4Vl9E70oi+hddv0x1QNNZiFZsyLdSWTJkXYQIkkLrthxWjNkgvhbZisLNpa7TdRzpd45CUvnrb+q2EFgAOvKrPZA0ij1NaNvAbGw4oGqkovZX5mHdYEKrNcg0t1fzsJHfpINjGej+I9JJOu8ndxwbAbjQh+H88XyDeLRnWd36AVqtTpKyJdA01RrHASgGfMGKqvOmxMA5MxPWtoVlqkmSuR1BrWHagBon7bYi4T2Gfsv0irEnyhluj9W/CclwmgMDb9jiVXYaPjqj3MZnc4OzWzBk5osyBLOJPIRB4InGg0Z22PuDJrweDY8JKYPVTiMz5x8i+zJi3AYp9iT7a8hZ+dJXdfNQzRHm2pYuM7g/2H3nJi4P4NWaALYuQPByV79Fl9mEbfehadfcnjkc8hXfl9nGU1i5qvFdxUUnNe2Wp4mh3LjCM3SK/LERlwK2mHXrirnHnp2e2ebewqfJme/LabTfbk5wQ5BeCkQYDv/u9ve4uUtrjGORVygsheEowS5ZCkjrBSKksdGM4N0BmrdqhVIW5qbn8XwuhLNrZ+QpMhU+V3E3GWhxv890JsIQJj3e/YGB7G+FDn7pBbd91f5NHUI6zQA3Ogz4T9FFbhyIvx4FTK+SGPSjaFodE3tm34ZycegsWxFAyloQg7asETcypfAgt1w4H1u33wBxhX1qeleqzUjHvyZrR8N3AFimYuTmO0DoH4UlzsrtKPbGiq3vlsL2p/uk8VbxNO/uk28s8I9XMk0lGXF2tDBiESp2jBuAIjWzfPUhvuXu/JZxUerFnRb3t7rMYVAcPugn592yTuas2ZUK4Jt6+xfVICESBLaOe0J3JEquFTuhC1+95m8f4rolcCaf4Hj62jMX+WDuBR2WUk6AsKWuuErwv4ciNgV957GpDz7Ugc5z63xBna2s3bMHhp+Qsvym6HftGcEdFwhMaFeUO/KsHPowzUNntlX7Ljey1FmicBzPk4kAlj1r2gJji9mgUjbKy7P4fhUIwB7QMnU3QJ+8EFyHavuamcEfMAc8TL6vZcZwszfMHZHxnw+1/eSAnknXZLfa8N9dmLHDj7RXhf0SuuvIuaXH6htME/7wTS1JCVxxTVK/CmTHhUGlJt7UWM24rsjODwPmPvBi2OtdCxAb0s1CL4U7cYaBQMiJBZUg+ZSEebUBE0HW8peF5H/ruL1R+6CLvCUeCIKGQS3KZnNw0ykO0ka4hp4y8AzTmINGFF42vZgnuisktmLL1bI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81000" y="1902460"/>
            <a:ext cx="8232140" cy="487934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71847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 by Segmen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How do different professionals use Mekko Graphics?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custDataLst>
              <p:tags r:id="rId1"/>
            </p:custDataLst>
            <p:extLst/>
          </p:nvPr>
        </p:nvGraphicFramePr>
        <p:xfrm>
          <a:off x="931957" y="2233741"/>
          <a:ext cx="6992843" cy="3938459"/>
        </p:xfrm>
        <a:graphic>
          <a:graphicData uri="http://schemas.openxmlformats.org/drawingml/2006/table">
            <a:tbl>
              <a:tblPr bandRow="1">
                <a:tableStyleId>{775DCB02-9BB8-47FD-8907-85C794F793BA}</a:tableStyleId>
              </a:tblPr>
              <a:tblGrid>
                <a:gridCol w="28968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678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621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659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98939">
                <a:tc>
                  <a:txBody>
                    <a:bodyPr/>
                    <a:lstStyle/>
                    <a:p>
                      <a:endParaRPr lang="en-US" dirty="0"/>
                    </a:p>
                    <a:p>
                      <a:endParaRPr lang="en-US" dirty="0"/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>
                        <a:buSzPct val="180000"/>
                        <a:buFont typeface="Verdana"/>
                        <a:buNone/>
                      </a:pPr>
                      <a:r>
                        <a:rPr lang="en-US" sz="1800" b="0" i="0" baseline="0" dirty="0">
                          <a:latin typeface="Century Gothic" panose="020B0502020202020204" pitchFamily="34" charset="0"/>
                        </a:rPr>
                        <a:t>Strategy </a:t>
                      </a:r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>
                        <a:buSzPct val="180000"/>
                        <a:buFont typeface="Verdana"/>
                        <a:buNone/>
                      </a:pPr>
                      <a:r>
                        <a:rPr lang="en-US" sz="1800" b="0" i="0" baseline="0" dirty="0">
                          <a:latin typeface="Century Gothic" panose="020B0502020202020204" pitchFamily="34" charset="0"/>
                        </a:rPr>
                        <a:t>Marketing</a:t>
                      </a:r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r>
                        <a:rPr lang="en-US" b="0" i="0" dirty="0">
                          <a:latin typeface="Century Gothic" panose="020B0502020202020204" pitchFamily="34" charset="0"/>
                        </a:rPr>
                        <a:t>Finance</a:t>
                      </a:r>
                    </a:p>
                  </a:txBody>
                  <a:tcPr marL="137160" marR="1371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4940">
                <a:tc>
                  <a:txBody>
                    <a:bodyPr/>
                    <a:lstStyle/>
                    <a:p>
                      <a:r>
                        <a:rPr lang="en-US" sz="1600" b="0" i="0" baseline="0" dirty="0">
                          <a:latin typeface="Century Gothic" panose="020B0502020202020204" pitchFamily="34" charset="0"/>
                        </a:rPr>
                        <a:t>Chart usage:</a:t>
                      </a:r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>
                        <a:buSzPct val="180000"/>
                        <a:buFont typeface="Verdana"/>
                        <a:buBlip>
                          <a:blip r:embed="rId4"/>
                        </a:buBlip>
                      </a:pPr>
                      <a:endParaRPr lang="en-US" sz="1800" b="0" i="0" baseline="0" dirty="0">
                        <a:latin typeface="Century Gothic" panose="020B0502020202020204" pitchFamily="34" charset="0"/>
                      </a:endParaRPr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>
                        <a:buSzPct val="180000"/>
                        <a:buFont typeface="Verdana"/>
                        <a:buBlip>
                          <a:blip r:embed="rId5"/>
                        </a:buBlip>
                      </a:pPr>
                      <a:endParaRPr lang="en-US" sz="1800" b="0" i="0" baseline="0" dirty="0">
                        <a:latin typeface="Century Gothic" panose="020B0502020202020204" pitchFamily="34" charset="0"/>
                      </a:endParaRPr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>
                        <a:buSzPct val="180000"/>
                        <a:buFont typeface="Verdana"/>
                        <a:buBlip>
                          <a:blip r:embed="rId6"/>
                        </a:buBlip>
                      </a:pPr>
                      <a:endParaRPr lang="en-US" sz="1800" b="0" i="0" baseline="0" dirty="0">
                        <a:latin typeface="Century Gothic" panose="020B0502020202020204" pitchFamily="34" charset="0"/>
                      </a:endParaRPr>
                    </a:p>
                  </a:txBody>
                  <a:tcPr marL="137160" marR="1371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4940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dirty="0">
                          <a:latin typeface="Century Gothic" panose="020B0502020202020204" pitchFamily="34" charset="0"/>
                        </a:rPr>
                        <a:t>Marimekko</a:t>
                      </a:r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>
                        <a:buSzPct val="180000"/>
                        <a:buFont typeface="Verdana"/>
                        <a:buBlip>
                          <a:blip r:embed="rId4"/>
                        </a:buBlip>
                      </a:pPr>
                      <a:r>
                        <a:rPr lang="en-US" sz="1800" b="0" i="0" baseline="0" dirty="0">
                          <a:latin typeface="Century Gothic" panose="020B0502020202020204" pitchFamily="34" charset="0"/>
                        </a:rPr>
                        <a:t> </a:t>
                      </a:r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>
                        <a:buSzPct val="180000"/>
                        <a:buFont typeface="Verdana"/>
                        <a:buBlip>
                          <a:blip r:embed="rId5"/>
                        </a:buBlip>
                      </a:pPr>
                      <a:r>
                        <a:rPr lang="en-US" sz="1800" b="0" i="0" baseline="0" dirty="0">
                          <a:latin typeface="Century Gothic" panose="020B0502020202020204" pitchFamily="34" charset="0"/>
                        </a:rPr>
                        <a:t> </a:t>
                      </a:r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>
                        <a:buSzPct val="180000"/>
                        <a:buFont typeface="Verdana"/>
                        <a:buBlip>
                          <a:blip r:embed="rId6"/>
                        </a:buBlip>
                      </a:pPr>
                      <a:r>
                        <a:rPr lang="en-US" sz="1800" b="0" i="0" baseline="0" dirty="0">
                          <a:latin typeface="Century Gothic" panose="020B0502020202020204" pitchFamily="34" charset="0"/>
                        </a:rPr>
                        <a:t> </a:t>
                      </a:r>
                    </a:p>
                  </a:txBody>
                  <a:tcPr marL="137160" marR="13716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4940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dirty="0">
                          <a:latin typeface="Century Gothic" panose="020B0502020202020204" pitchFamily="34" charset="0"/>
                        </a:rPr>
                        <a:t>Cascade</a:t>
                      </a:r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pPr marL="285750" indent="-285750" algn="ctr" defTabSz="914400" rtl="0" eaLnBrk="1" fontAlgn="ctr" latinLnBrk="0" hangingPunct="1">
                        <a:buSzPct val="180000"/>
                        <a:buFont typeface="Verdana"/>
                        <a:buBlip>
                          <a:blip r:embed="rId7"/>
                        </a:buBlip>
                      </a:pPr>
                      <a:r>
                        <a:rPr lang="en-US" sz="1800" b="0" i="0" baseline="0" dirty="0">
                          <a:latin typeface="Century Gothic" panose="020B0502020202020204" pitchFamily="34" charset="0"/>
                        </a:rPr>
                        <a:t> </a:t>
                      </a:r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>
                        <a:buSzPct val="180000"/>
                        <a:buFont typeface="Verdana"/>
                        <a:buBlip>
                          <a:blip r:embed="rId6"/>
                        </a:buBlip>
                      </a:pPr>
                      <a:r>
                        <a:rPr lang="en-US" sz="1800" b="0" i="0" baseline="0" dirty="0">
                          <a:latin typeface="Century Gothic" panose="020B0502020202020204" pitchFamily="34" charset="0"/>
                        </a:rPr>
                        <a:t> </a:t>
                      </a:r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>
                        <a:buSzPct val="180000"/>
                        <a:buFont typeface="Verdana"/>
                        <a:buBlip>
                          <a:blip r:embed="rId4"/>
                        </a:buBlip>
                      </a:pPr>
                      <a:r>
                        <a:rPr lang="en-US" sz="1800" b="0" i="0" baseline="0" dirty="0">
                          <a:latin typeface="Century Gothic" panose="020B0502020202020204" pitchFamily="34" charset="0"/>
                        </a:rPr>
                        <a:t> </a:t>
                      </a:r>
                    </a:p>
                  </a:txBody>
                  <a:tcPr marL="137160" marR="13716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4940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dirty="0">
                          <a:latin typeface="Century Gothic" panose="020B0502020202020204" pitchFamily="34" charset="0"/>
                        </a:rPr>
                        <a:t>Bar</a:t>
                      </a:r>
                      <a:r>
                        <a:rPr lang="en-US" sz="1600" b="0" i="0" baseline="0" dirty="0">
                          <a:latin typeface="Century Gothic" panose="020B0502020202020204" pitchFamily="34" charset="0"/>
                        </a:rPr>
                        <a:t> is most used chart</a:t>
                      </a:r>
                      <a:endParaRPr lang="en-US" sz="1600" b="0" i="0" dirty="0">
                        <a:latin typeface="Century Gothic" panose="020B0502020202020204" pitchFamily="34" charset="0"/>
                      </a:endParaRPr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>
                        <a:buSzPct val="180000"/>
                        <a:buFont typeface="Verdana"/>
                        <a:buNone/>
                      </a:pPr>
                      <a:r>
                        <a:rPr lang="en-US" sz="1800" b="0" i="0" baseline="0" dirty="0">
                          <a:latin typeface="Century Gothic" panose="020B0502020202020204" pitchFamily="34" charset="0"/>
                        </a:rPr>
                        <a:t> </a:t>
                      </a:r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>
                        <a:buSzPct val="180000"/>
                        <a:buFont typeface="Verdana"/>
                        <a:buNone/>
                      </a:pPr>
                      <a:r>
                        <a:rPr lang="en-US" sz="1800" b="0" i="0" baseline="0" dirty="0">
                          <a:latin typeface="Century Gothic" panose="020B0502020202020204" pitchFamily="34" charset="0"/>
                        </a:rPr>
                        <a:t> </a:t>
                      </a:r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>
                        <a:buSzPct val="180000"/>
                        <a:buFont typeface="Verdana"/>
                        <a:buBlip>
                          <a:blip r:embed="rId8"/>
                        </a:buBlip>
                      </a:pPr>
                      <a:r>
                        <a:rPr lang="en-US" sz="1800" b="0" i="0" baseline="0" dirty="0">
                          <a:latin typeface="Century Gothic" panose="020B0502020202020204" pitchFamily="34" charset="0"/>
                        </a:rPr>
                        <a:t> </a:t>
                      </a:r>
                    </a:p>
                  </a:txBody>
                  <a:tcPr marL="137160" marR="13716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4940"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latin typeface="Century Gothic" panose="020B0502020202020204" pitchFamily="34" charset="0"/>
                        </a:rPr>
                        <a:t>Key</a:t>
                      </a:r>
                      <a:r>
                        <a:rPr lang="en-US" sz="1600" b="0" i="0" baseline="0" dirty="0">
                          <a:latin typeface="Century Gothic" panose="020B0502020202020204" pitchFamily="34" charset="0"/>
                        </a:rPr>
                        <a:t> enhancements:</a:t>
                      </a:r>
                      <a:endParaRPr lang="en-US" sz="1600" b="0" i="0" dirty="0">
                        <a:latin typeface="Century Gothic" panose="020B0502020202020204" pitchFamily="34" charset="0"/>
                      </a:endParaRPr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>
                        <a:buSzPct val="180000"/>
                        <a:buFont typeface="Verdana"/>
                        <a:buBlip>
                          <a:blip r:embed="rId8"/>
                        </a:buBlip>
                      </a:pPr>
                      <a:endParaRPr lang="en-US" sz="1800" b="0" i="0" baseline="0" dirty="0">
                        <a:latin typeface="Century Gothic" panose="020B0502020202020204" pitchFamily="34" charset="0"/>
                      </a:endParaRPr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>
                        <a:buSzPct val="180000"/>
                        <a:buFont typeface="Verdana" panose="020B0604030504040204" pitchFamily="34" charset="0"/>
                        <a:buNone/>
                      </a:pPr>
                      <a:endParaRPr lang="en-US" sz="1800" b="0" i="0" baseline="0" dirty="0">
                        <a:latin typeface="Century Gothic" panose="020B0502020202020204" pitchFamily="34" charset="0"/>
                      </a:endParaRPr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endParaRPr lang="en-US" b="0" i="0" dirty="0">
                        <a:latin typeface="Century Gothic" panose="020B0502020202020204" pitchFamily="34" charset="0"/>
                      </a:endParaRPr>
                    </a:p>
                  </a:txBody>
                  <a:tcPr marL="137160" marR="13716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4940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dirty="0">
                          <a:latin typeface="Century Gothic" panose="020B0502020202020204" pitchFamily="34" charset="0"/>
                        </a:rPr>
                        <a:t>Axis</a:t>
                      </a:r>
                      <a:r>
                        <a:rPr lang="en-US" sz="1600" b="0" i="0" baseline="0" dirty="0">
                          <a:latin typeface="Century Gothic" panose="020B0502020202020204" pitchFamily="34" charset="0"/>
                        </a:rPr>
                        <a:t> breaks</a:t>
                      </a:r>
                      <a:endParaRPr lang="en-US" sz="1600" b="0" i="0" dirty="0">
                        <a:latin typeface="Century Gothic" panose="020B0502020202020204" pitchFamily="34" charset="0"/>
                      </a:endParaRPr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>
                        <a:buSzPct val="180000"/>
                        <a:buFont typeface="Verdana"/>
                        <a:buBlip>
                          <a:blip r:embed="rId8"/>
                        </a:buBlip>
                      </a:pPr>
                      <a:r>
                        <a:rPr lang="en-US" sz="1800" b="0" i="0" baseline="0" dirty="0">
                          <a:latin typeface="Century Gothic" panose="020B0502020202020204" pitchFamily="34" charset="0"/>
                        </a:rPr>
                        <a:t> </a:t>
                      </a:r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>
                        <a:buSzPct val="180000"/>
                        <a:buFont typeface="Verdana"/>
                        <a:buBlip>
                          <a:blip r:embed="rId8"/>
                        </a:buBlip>
                      </a:pPr>
                      <a:r>
                        <a:rPr lang="en-US" sz="1800" b="0" i="0" baseline="0" dirty="0">
                          <a:latin typeface="Century Gothic" panose="020B0502020202020204" pitchFamily="34" charset="0"/>
                        </a:rPr>
                        <a:t> </a:t>
                      </a:r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>
                        <a:buSzPct val="180000"/>
                        <a:buFont typeface="Verdana"/>
                        <a:buBlip>
                          <a:blip r:embed="rId8"/>
                        </a:buBlip>
                      </a:pPr>
                      <a:r>
                        <a:rPr lang="en-US" sz="1800" b="0" i="0" baseline="0" dirty="0">
                          <a:latin typeface="Century Gothic" panose="020B0502020202020204" pitchFamily="34" charset="0"/>
                        </a:rPr>
                        <a:t> </a:t>
                      </a:r>
                    </a:p>
                  </a:txBody>
                  <a:tcPr marL="137160" marR="13716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4940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dirty="0">
                          <a:latin typeface="Century Gothic" panose="020B0502020202020204" pitchFamily="34" charset="0"/>
                        </a:rPr>
                        <a:t>CAGR</a:t>
                      </a:r>
                      <a:r>
                        <a:rPr lang="en-US" sz="1600" b="0" i="0" baseline="0" dirty="0">
                          <a:latin typeface="Century Gothic" panose="020B0502020202020204" pitchFamily="34" charset="0"/>
                        </a:rPr>
                        <a:t> columns</a:t>
                      </a:r>
                      <a:endParaRPr lang="en-US" sz="1600" b="0" i="0" dirty="0">
                        <a:latin typeface="Century Gothic" panose="020B0502020202020204" pitchFamily="34" charset="0"/>
                      </a:endParaRPr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>
                        <a:buSzPct val="180000"/>
                        <a:buFont typeface="Verdana"/>
                        <a:buBlip>
                          <a:blip r:embed="rId8"/>
                        </a:buBlip>
                      </a:pPr>
                      <a:r>
                        <a:rPr lang="en-US" sz="1800" b="0" i="0" baseline="0" dirty="0">
                          <a:latin typeface="Century Gothic" panose="020B0502020202020204" pitchFamily="34" charset="0"/>
                        </a:rPr>
                        <a:t> </a:t>
                      </a:r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>
                        <a:buSzPct val="180000"/>
                        <a:buFont typeface="Verdana"/>
                        <a:buNone/>
                      </a:pPr>
                      <a:endParaRPr lang="en-US" sz="1800" b="0" i="0" baseline="0" dirty="0">
                        <a:latin typeface="Century Gothic" panose="020B0502020202020204" pitchFamily="34" charset="0"/>
                      </a:endParaRPr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>
                        <a:buSzPct val="180000"/>
                        <a:buFont typeface="Verdana"/>
                        <a:buBlip>
                          <a:blip r:embed="rId8"/>
                        </a:buBlip>
                      </a:pPr>
                      <a:r>
                        <a:rPr lang="en-US" sz="1800" b="0" i="0" baseline="0" dirty="0">
                          <a:latin typeface="Century Gothic" panose="020B0502020202020204" pitchFamily="34" charset="0"/>
                        </a:rPr>
                        <a:t> </a:t>
                      </a:r>
                    </a:p>
                  </a:txBody>
                  <a:tcPr marL="137160" marR="13716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04940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dirty="0">
                          <a:latin typeface="Century Gothic" panose="020B0502020202020204" pitchFamily="34" charset="0"/>
                        </a:rPr>
                        <a:t>Growth lines</a:t>
                      </a:r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>
                        <a:buSzPct val="180000"/>
                        <a:buFont typeface="Verdana"/>
                        <a:buBlip>
                          <a:blip r:embed="rId8"/>
                        </a:buBlip>
                      </a:pPr>
                      <a:r>
                        <a:rPr lang="en-US" sz="1800" b="0" i="0" baseline="0" dirty="0">
                          <a:latin typeface="Century Gothic" panose="020B0502020202020204" pitchFamily="34" charset="0"/>
                        </a:rPr>
                        <a:t> </a:t>
                      </a:r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>
                        <a:buSzPct val="180000"/>
                        <a:buFont typeface="Verdana"/>
                        <a:buBlip>
                          <a:blip r:embed="rId8"/>
                        </a:buBlip>
                      </a:pPr>
                      <a:r>
                        <a:rPr lang="en-US" sz="1800" b="0" i="0" baseline="0" dirty="0">
                          <a:latin typeface="Century Gothic" panose="020B0502020202020204" pitchFamily="34" charset="0"/>
                        </a:rPr>
                        <a:t> </a:t>
                      </a:r>
                    </a:p>
                  </a:txBody>
                  <a:tcPr marL="137160" marR="137160"/>
                </a:tc>
                <a:tc>
                  <a:txBody>
                    <a:bodyPr/>
                    <a:lstStyle/>
                    <a:p>
                      <a:pPr marL="0" indent="0" algn="ctr" defTabSz="914400" rtl="0" eaLnBrk="1" fontAlgn="ctr" latinLnBrk="0" hangingPunct="1">
                        <a:buSzPct val="180000"/>
                        <a:buFont typeface="Verdana"/>
                        <a:buBlip>
                          <a:blip r:embed="rId8"/>
                        </a:buBlip>
                      </a:pPr>
                      <a:r>
                        <a:rPr lang="en-US" sz="1800" b="0" i="0" baseline="0" dirty="0">
                          <a:latin typeface="Century Gothic" panose="020B0502020202020204" pitchFamily="34" charset="0"/>
                        </a:rPr>
                        <a:t> </a:t>
                      </a:r>
                    </a:p>
                  </a:txBody>
                  <a:tcPr marL="137160" marR="13716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69975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Op0ycGFAinQr8Tg0aHv2oVInweFtzvEEifMKhzZTpKEJ49HhqRF4fmxZlZgCWFL4rsru7pegGBR3eobekY0UxQax5/L0YxgZYakkxc3YpfMRcayvFgB86tgFHy9ZizTbrGpe7vqTr2CwtJCavGlIDRrzVjRzHuSaf2qnhN9eKhp6Od4iRqCm9394sJlgjjqtt8qS2rAjvs1pEtFJy0o+atTcuO1voAIw/fYk8UKN5BzygcwpSroJ76Aaw7wWB4nSTotmw7Xhd55Qjd90iS2c8l0zfSQlCjAjSbn9jwefS81aSfkxc0TRKn1CMVMrZgFW5QtHVqC6bcG5d8qHiEt8f+4CGlgEx4Lz4B1AGug8UfPS4LENzrrxxkdip+8jUGVw9L0arU/KTYNrF53NcI4sV/YbPJzEMifGq72758uzS249LUC+KNKiL4V55E2vahpRhieI5/lUOxfEbduzb88n9zE/0ZYIQF6QznDzdQSgj4ZsqT7MWa0qh00K9Eg4SojvF4Tn6ilTEkB2rxM1nqhPiZIqGNE1c4HojG0/dr0jDsidwyV8W2vuEDIuikmNkOrEonOKd2ukwxgc/8m884sZjdGvz+hdV2JNzzs/lXBNyBK8oiVrSQ+BYVxp5SvKhEQw8J53Ce42R3gHtEgUljGzZxse24diGkkyke87MxI4yewPCA253K8osdqGGRWVrFDIaXHW1/S9WfHmudJLGjGudAHY9nam+aZscNvorQTmS2S0SzCJQsKbAWtuCsGdDS3vveWkW8huDA8OF1QZJXk8FfNcf1i0H2uChWn/5L5DUE95deefFipyoLLrAIZfCnxWQ3hS9Xz+Aov1L5UqiODJyVl58wiPobT4NSlWwof0kuPAIW7gPBPNR6H6TdEm/WFzH8vee8SoSkS4nhbEDuXfkthe3Tbp5sQDZrsuRyy0SF0dZEfkOUhqZ6SvWLpudm6OryUiYCMcalyyJ/F1vW1waGAKMMaoTLhd530ljIH7Up5ItgtNOVVcfhPlGaPE2sRrpF/i8JeeQIWTUG4ZmPxjzaROw0W6A9VQ8to8F5FiwZE0DrFSaOvRMyzzAKsKHjnSiXvba891xEzPbb4O0IBVNwpG+RRYYOZ2ISK4kC+nP+SmZ4lyeQ3wwxOOIvdmikFqMQwVf3UHPsbOPbC2c0vag8YOBzdXIUPwTzbxcFS7OCLJvR5Yax7ddcVD5rygq7ndq3fkziErgyHgxUv78lb4KWAGSIzb7VYPO4iQm7u6ZIKufrOSlt6p2xdztBuh/SxgfSQ93UMrS02xCwrhNwmb8VK2bp2OQwJu+XqtRBhCjLpN6+midboUlyUN8+8v3k16vPqFKp3LQp66UfDrrq3IE+hdwuIQBdsEl+0YpaQ9fXfagcPCSf/arq0vVjRHhK74c/4D3QeCK0qEW5awKrpY5UxE/fSFSzbUAh2P3qzo3+IeLIEs3eubKlKuv7CN53Gkpoj32zC5qCJacl8npGVocsNv4xnH/Cxy4uD3bh/QMv4OYWWkQLugAaGzyrfm/CtDOt1Gm2jDxA0tfC+Jc3+09bnhPXUDawaNhfAgTt5AX6D1n9/hYtgt1OCzyymIG04xO9K4M3iEhfjZhEvY4CxbgRLugybegHr1EhBtSik5vvhYnfankc87rFj9SZzh2Kl4Vg8hXDUwRDAqrw+nQxAztdNknVUjmDJ/47/20Dp0uyp+yudVFYIaP7eRKSEIOBY2tYg+xVgLQi9cFIFW5Qf64TBI337+CFM/qNyUMG297D/HorA2CU/trVBXkPy04kiVma/DbOfCpo/bji0ouWS/5Xk7OFbNeRWFMsyo8XdPtjeVn8G0+tEBo3hzeIx5nUFsdBGH/S1NaeEbCiGOPG/bu3zhxUwd7CFSlcdiUOQQUyuM8DSvRyCq/1fquVCRZqClPWTkaUul/SyPNnjOzW5qyptqAAmGQje9lx+kOlF8fruDHvacclswKqGn7QbPzbTActLDgC1M2W9xiDk9gA3H8Z6dzGTK9+ae6hepiPiPfEjOO79l47IC/E/Ub9K75/QouYRISoOVaUdKHpPctyczCqX7U157d28U8YWdyjphty3JQYX2O5no52Xx4ZUC935rWnrH0QldmVBHYISGgp4873XnSkdasRsKmH/TRt/LIOaR7AP9QkSD2566cd7IcVYpTZVzuytsk5WdRH7pyX0RkwJMmZiuGefuOs/Em3giKvfQPXuV38ZL/aHWwAtH/YYrhimP8Za60WFv6ELOlmwI4td69XN7HosiDGmQl81hldCHZVgPalCvIBUy4PxYzop8LeRB3Q4SqIXuC429OC8WRnThbGs03rWaPH/IjSkd/X9wvriZuA61D0Z5eiRsUhXcxH6kNLUgtHaFuyoEyFBbnsTa0dU78gG1vNnRsIlkhUWeb04PiYIk8XkCv9tgSEEeBxeDACFxscrbjH4XHTZ6uDJK7AtzNVXZIzuGqmLgAxEfndz8ZkjmColsToi4h/Drg5NXM/zt2iWB5YQwxpe1bgwBArWwhO5+W4m+CWACZNt3S/lFiHB0QbLEcLGxZkkqMAWj2hfLui91/Ek/vIICVw1taFBjpFFJLkj8IWfS66rX77SiTdjJaUSCuijQlzIIjSUz4xRVSHls28BuKn2PnX2y4t+kWFs+LkAYae2xRs98P7yCzb9TomH0h/g+Bc/oKATXH8xuchOFaavOIl0VmP3bAk6zuO7npRRvSfpGioHqv+3XJ/C7b5bY+IO8tpTwFfyiNmDsYM911QJH2T5nmKvKtXJG0qLE81BU2SZLv7+IaZ34HLu7Uwd0A2/Edj8BlzHHCuSM5WpEwNLgOIWBg1ciYSaSZFWkpStzYGLndGxAxhqLP78HXWK52WK4a1qEt82o3OGyUR6UMyus8oyUSbemY0yM75QzkMjCYlmWsHvgslAwbUY1P4x3jNg3aFd6V2ScHO8R8xfnOOWbx3171OCCbi4eKhfUtSF2Lk64FCqH6VemOTqZGE9o/4F7qaYAdX7w7734O3zg9reGapBcwK6yMWZUYFYZMmqZ1Xaak6K2Sq1on6WcyXD3Ic+XA0y/eXKfk0h9G1qYceHRK7Vj/8zMmO5I0ULhVZyZRI05ruG8i8JygWbRE6ZoWe1QzlJLBDnxVLpeVjhDdHohId8PkdfL2OSMuBjyRBWbnnArGNQW5mJOKhRkdn4BzjmO5HaPniwo1BF/7l3M1iW2iNKkOIRvFaapoWCioWEZe+BZNh3pGO9XEKl9e6peFLcR1n/GTml8yiD+5kLVwhnlIscSnUpEQjXcxYv8WP1ZOqvSBveArrIPXqHTUr8wD2Jt4j4gN2/SLhXM5a+DAjkx0Og25VvWqc9RZMTKWwfbdhMXc95ZCOF8PilnGHd6a12faAn2ffjSCwzthPHWAHG2hBcqGOcYSoeApOmJk3oKuw5JlyKZsiL/Omz58XVNIE/nMatOYU2+zUkKVSLyH3uQKxErndfwLxZhechDKXhim5r8A0vhNN5KXe70/uNKxAy/GsvefuxEhLQRenB7hY0J+etX8zMMVXFaHqUhRLFRDSq2O0AkoBbsgTdcPPGyyclTsSKrYQ4deX6GtYw+PHERA13+vTtLAIuV4gPCzAUURDDxOt+qblT6T0bzVGgpjpimZwST1OyIpMT3ekDm6LasncsehrUX83dfKpFrXZwBBNoycpZDGDHkCJdKq7K6iA/oaTkDHB4hRm92wKoxqLU86YLK5evXJuo6oiohdzayjqCT9yhviui90A7i2pX3tDBrWgvMeW+5rA/xQQ9DFj9AtmdpZC/lLl33J8xtxFQBuVhAWM4/3xaXYw956IUGiziTQj2XtScmwStJNYA5wNko314wEb3lm/uVqkfNQeKfqEUTFueML3zXReKbFeboOY2L3/4l8S98+TfogilxtVzB+IblQu0VxCz1XK8UZvXCBUlajBP7OR8/d968Uab6zMuGPyp0jpDupqVpVPaIiBin2ClWOCcj4kP8lzcozRZ4nwQ3vgUG/Hr9LFXwX60Mh3IzPK3p2U32180Dsy1bpeHkU74+y13A/9bh8qKhZMm46Jg6pAqQMKEhN/hOs2ymE993b0XN4Px3VDXTBZHrl0IZCWvzoJJXhuK1hV6UDxnj8hAaXekrMGw4t1fhYYK8SMgNxhXUK+ztOskU1nuXUArunViAlbBhDSzKjSx95SFAgEE6T4kls04wYG7fBEN/NZP1KeDvQYR8AhRWX4sfWK2ySfO7iFsE/XHdGKkItFHeelT3J20UL8hDxPFAUFeS12R5+tqhXepMu09F1MqwLoEqTw6v7ydDr1/CJZzRajwG46I/Qs14WygCH0sRYJBl9O8t0EHwGb14mD7exbnTtVUc9G6OMGcFwu33IWOsP6amgehDhcGVY0phudWII/QzQEoSMC66Yq0TWgu+vX3ntb3mduFF3MaCNaM4Bhj7yBDa/rK2zrpLQ23i1AScwQk4nGvRZLIH2K9uSWSMJDzePG+AqCw3VBhDMAKEYjymdhFaVh7iSUGiwcdkDbs8tFUB1iatM9rbkn3qhada6zKFsq5SkGQHgm/fuLjD+3Zleco2Gokk3BijflhXRayxAjQm0RP+TOeat3HOvOMi1bDZpSY7rHgwsXct9q70krSbd64hOpey/6JtIMk5Zev26TsL3WZyO9f8lyIqvVbAZubur9a6Hz+QgjQdXsNJwmATYr3+J1h9mj/IfEa9HISbvxKcFDa8F+2IbFrj4m2gNwfD+9Hr1L2ZxduSO1O10dw6urRKM+35q5x8JdKEWMFqxHcmgR/BqsGObJSHWrVHwG1nndOYolC/aiMeBMpfXAgJYdbfhbotwIjozlS/V6zfMlAjadCdiLo/seQxVcDngVVkZ6Fhs3t0ADclkeqKosa7mnamAHhn8FvllfWhPQXaRy1yP2nXp6XuohjbW5eFU7cPb/cD5pa7qTvs0EfG/c0YfRtuHbaLgRT/HuVZ15b4i96ZFbxz5VQV7Z1SM52pwMWxt9sFZp2WNzFlHW6yu4eW6gdiIcz6spIB5SwBZoglNTZ5pGHwUFzuUDZaIcwv/2E2WsIL3IYWIydbVi6q8WyNfr9vyOwfDdrl+SEHEqVnysJJnyooOiRU3ARXHKnkFCqileTpTBqLa0L/29xJT1+x95Qt9BhYevVy2FXtZ9rGBqwcKB5C8l2vTj7JGx1G3Qx4j/FWu0VhToyPe/p+tnij9udUeGEkY7981cphxPkYSY8cfSarOOV/EEaQPahbuIeTsUi06xoB4tP6vCSH7vAVJ5d0raGGOHt305wzZyQgFghQR5TxtLJdYPXVY062K8/s4S68l7bRdTRwnzIoUqgkDyUSFWDbzzT+OTCNzQWBrrorDIIjCn4PnjFuuXhZ3PZ+HVE2HUsg5wWntSUnYEnQyHxVPqYB9VKDnZg2iJgEQFX+HC1UEbK4jIWMlkJ/0wLmJgQWVClrHnP1ZqBPSPfBmYE4Yo5WV0xu0k/knI74owkihHdAprINJ6hnz+/iJI3gIwKUvNl6bEJHXMLr/ss2w6OWG5AH23KJ8YrwFvILtrmDV2xb0JUmn7nSrD9Z/WtPel1fVvgzOtZkihgi3xTRjC4rINoR3bWyGIr7Y0oqfscpX+WaTQE6Maa7PX8tfb1UcZvupK0YK1X5mgh1duRiqKz5loiP2sQWt94qeOAgQoVOfscSU4PSPEt28pRP7UTLD6iQ5g/Q+onCznrdEKzL4SEoMJBU3JqoK45HtdhT7u3m8Ro5lGJptNSq0UfkTxSwG8B4UAG09ehJp7sedL46UXyitXRI2UlchykLTOUHHpKADyCCTALf5RWD6vsVLbXEIdoGHzK5Mh8Bxp+A9AYN8/0WtD9CxsgiovOHgpo+a8mxAYJbi7RXPxISONMhDHDiClA0IuMpOVhvnfoHuRBUmLJ+Z/YQrGzDZcSZ5bzousp9Lae4DDh532Az4rOztvmm6qWOsjdi8iPwcskrZbM473vn0lcYmErfd9NgwzHj5amDgV/XWbzMyjh+02qS+VHVQmLgUCOdGWdG+IXps0X4muqFlljZK/NkvsC2F46MVt+OqGZX235joRUrSkItc3YjaoXODmnLuDv9bdwbDmCFvku7mRhpHNjwPYLTVdO7/H4JX2XhhUSGlWvoxVsSLP1z18zsFlMReSeJ8TUT2eSfizCgpCEdjy8S8Tf7tgfrj308/QDi1IIQFa+Ok3VwOLa++5o5M6fXbyMxWLTFu5h/B6dYMke68HCFioHFKzGJ3UxDXnwnxZMrrZg0bqIMsN0oK8eohlaAo43yg1GY4mx8uQMVDXbQe2cW7utAduuatkrHWQ+LDVfEwgtq4A3l/nwf4Gwj5abWV5WtitgI6utgjoM93rt09Vf+pi0cqnlggU/u/7/Xul5XuNcLrfRx9qKSBbYBVcp6nCmglAFzFbiu3dZECAaJX7j7oiNUSF07JwE50coKPcjoFc/cjbWp67QQ+qm+LbZ99xu7ugqO/E0SvhQYwVqqvdUX4WcrleNYmnyxweB+F/+Cwli7ZYEUuV/gAhMyiGT/xtkHN5LAOqzjyH+nYpVzrKAz8JMKk4UGXfddiOMhFF8HlnsvRyvlwzNWr5dfuK53OWiU+XpkxYNMTf7xR1gTypcleOrsrSys6nZK/jO4SN4g/sRjOpOoym94ghbCcxzO0ZJiZ/XzZ+8f1BrqIzjlIDX8HH5Bl8FlznBHEalahoDU5XTQ72uA/cBF5wgEDztYs5bGL3eb9BwjeY4cY5hGyTvgQ0zs/83na6CGzuzc2rzG+X0hrHXa08kiTl3iXSpJb/up7wk9dh5tIDc96iDx8SqqrdbUpgGMEYrGLUmC4Rjkf5Viu+K3hC0Ztz2Eb1ma4wtKRFYltvypKVhgSCWd8QKWSenL+vUsq5LG26tND7oDs1C9/vh1zwRsFFo6YVBI26DgQu+q35wr04WNXV/KyY6AW2fJ2UE7iJpZif9tb/k9n3KGO6PKS8hS3p+DwPDE4BCKQn2TSd74O7tKea1l0HfP198l1VY7DhFoPcvRoOX6YPc13Fxo1a2e4hCmijp/zZEsfxNXYgu9NnP4INMwgffRIrKvI+jreIkFdYOshW6covMjOcn0EP7kmTpEPuHd9fM6Gvw0p7NI2y+82rOkWtmgv8WFlUmrR/kjCizfLwe/uZadpYt0G5in4yBa4LMCxaYlV0257Xk9ffEt3y8mJ493e7YNJ/M6W0HACVNBoKL/nChudzMyqSRTM9H+YpJbB81C/VcG1c6u6Jb8gjC55gliieseUMOxVSXBOMdXIenUNI97Fa0kqatCR9HyUqxLGl+lAGWFuqPBmgpBQalBUdFfQmf2jM8K87bZu3NLF1Yu9phwTn002QL5bU5bWLw9eddUUzLwx4E1Cz1I2fQyQUsv0qYT2GSH1keXK4Xi0vHivfIij0iUYaSVJWROzb/iRKkoMrH5NMmjccajXOxH2M1eCOoy2EZaMaYu0QxbcHjpmCElQ1TOCwRGXb3r04MiYHLkQrwMxSGKZoTlFdDym9QgG3jt7OEQcr+qr2sjcdUlEssLmIul84cgBCs/4zWnbv7gqDp5XCzBoSZnEVHA2cYzq9rr4ZsDbX+CwO52pSRQ9rikxzdDAkqxAARy3+qc8ItspjHLeZ7esfHil4OFhE3Ok/yjIrWnHrwcU/oMQQU81YfuEohIxKGxWk1AclrpMPj56dtYODPvSM/1Nzi62u3ntFKX/2d4NdTIE4tNaJrVgQ2gBkDS4aNoYQvn8EbLMikz3ay1tTgS+kUn8bkr/z2MubpwZSrHzKvaW6/T3TYS/4b7DDBA5UpDFcspve+vJDBXFjQbRlLSmypfeC/cJ2PcHbYs6EmSbiMngqjlebqZ1ZAdHTfuKIXdf3SUCcfomaFRJd8PWHZQdPqN9Ar21xT9E6fjxK7ViyKAkM8j+soKdlEvuzUno0tzX82prwYWfjzJoYJh/8KgvBm8dvPgZamDQOrorW4wv1YELEhYLpwaYgI3UID9ddUlKToyhj024HKIp9ijsQt/zXWfSSx/KUnCeAqOe0Y/G12789yAzLPsu9JUJcFdIROIpA/lZ/iAUkvK9yWyoTycnyIk6hDARm8VYGG7nXPtUjxbB76psN0f74QowojJus8nlwgHB5/bPpr6SfRS+Q2k4DuViMcDx0i7PBPLokMaObP9gy+pMdESJ5tQSLope7OiC4Jp9PVTopg511HMiI+BJhLDPDcXboe37/++L9nONRFPqn89hQALgAKJcwe9oW0Xopc5Iesy+X1qZsCNgGGAU5wZyUTDoyg++EpzD+/iNzI3tFKQf1yQwmjUWZFtD//7dGZcZ6ByS/prV+XKOEIaQdCWWzIXOGjSwp/ctbc9dFgEV8m9Eb/LorjTuEGbxNvNj6AI1M2lP5I4vG6qoUTOHdzI5Yyo6LTyCbJvXd+PYZFny7YaoGe8UwvhJqdbdJvNC4O/cH1WDsX5McjwWDdi2gfWtxjR4Ajk5NFs73cerbmjU2Zpk6YqVIwhfVJ7NgaspDPU0kRMi3zFFxZlfQ0TBzOFS/LeRwzwbVsPtW7FmxfzXo+W21WddLXTbGt0XuLSqRCh508TA5exkM8DO/4TD3MIEJ6m2hdHVpuIxMSiq6jY4vrI18CExanhqueiOeNGCCQfThx1LpYqdJr6ERQA/kcK1AOO4UEHTMTXPjiDRLebuKtcGMhfNbAuJWboa8w+hZD3xB6yUrz2VRMVg1EHU2HkrWlwpagHw3MRUlKcAUQyz807nuLaNHSA4MlBawnbBL2+PTtyIbmOxOxOHXKHqipV/Ylu8Dt7OJcwhPwxU/sXOVevtR9H8Gnubcocpr7KLi+GfjctsbXB/Dv+xgASqjy9obc2lTWJmwzrJeK8tb1q3F1xvjICA2w/Ffarjscaw70dymCilr2+c1azmUQTjCtI9ikgraFRwC0tFsFMkTfYOLW+bsMSaUdrDY9G6yaj3Xumrnlxr+wlpz88mckzeV3U+a0QWaKHF5MUbyTZzyMXXUJMLvUCkVdFCdlgJ7tjTm+RFgy2csNgn+DGFJx0oOuiMM/hmVfASM13RG0mt7LutXyipIwCWQZqjeDHPIsnVZwdalu5RU1aTUg6KbeRSZnObQjOYLK6K4y/ylIIxA5/gg1/UZZfs+UvmRS10+w106AhSGKRZtXCY5KxKEzmukocSXqbeapO/j8AjpnBkuap5uSlHSsn+f3WwFv6rZ1Htfkx+3WMCYdH9S6DL3aVZe1Yv9EEvEq6juq+8B1dJzWygz29oheIsSyLkk6M4EkfrsEJiP1anG/eItG6HA5GwP4/sfXCJIJYn9H1wNGND6uIyJ1k/t0dwIct1QrEnDvqsGms7NeZ4RkUx1DrQCCV07gtXtOKDa+o/X0ypvl1zQb7dIIb24P9MY9Jl9WhTwfXSvL+3/b+cRGRA9WFMzzKM5FiWJ9ueNEnyp3nTGIrwpmz0ZqorfxhCIb40+fNsxihnMjhFZZ0PVSnyv1XVvbNQU2mhLDqDe5u36c8PHOJU423HDHj1lDrQM1E+DM2vrImEpHqJj9bj6dpsDJ1PJjpbJMhMu0a9D3MmKq04UUxvS8it6J7DH+0Y+PdAFdTS1qI/F3PBMx8gWbn1POCzMHR9EPn1c36uBo2O+tP2M9V7yepi/iSCw90m9DeCzelmDaCOoDh7qg7OvgRduSKs4FEU12IC6MuiHtmnbNScptzfeEXy0LiiuI0I9KL2t2rW3icSdFXDjMAoC+xV35eH4OpX7x/HIRmv88OTptV18f3pqB/C5s54RbKky64BQ3oAUV0vhmC7Yj1rewjzsXc/qCjNOTq0SAJLFoXQp2Apf2ysNkXc6yDCg9TlXYoFHt96TNAxVgUlq/ZeBq1f1K2j0xnWsphT1ehT0oWxm3ZyGGPxtGFx/j387ViGFEKSjcMLYrr34o8+DWeM2giVlajqMjV7UQfj02zH5P5GOMzXfozQ2iu/EXlQjLPhsHIiPZ5MVBnx9UEsX8JNQjbEhLkv/6x/a3+M5s3Ll5+TKmdKyaM8KClwa1rzfDNFIG0I9PUlscHBNZ35UusJ8k0fBX3V4oL+VaFwCgb7wiW5L+Afnor51j/BOVr0v8eJWLb5cDgDw//r3asLlDZHcnzhUU1JKn61R0MOyS3ObdqsOo1T1ZQNK26MdaMtJlox/2aEf7jeh6RlvwlQn21NQEv5evOcTeUxPTTYK9i82u91B9llOJ4wyJJddb8/i97WGGX7TD+gB0U0GtUpWav3yAHdm92wst9BEKWERzJcKAC0mNh3tvVuxBvCeI/9NikB6Ms6yjTf4qdg0GZ65nz1DrMN1yKi0osi0f8rmQrY3YEsToHStjs5nDrRM0o86K07G4oY7FRjHzpTVqJ+IOsdEnJqQLzGKLbz/TPAtBE7m/hlSReoPMmy1kV7HMSs5LoPFXueycFdw9HME8E3jwGGIpmsgqDKdDjyh258cyPnyjZSBob5f9kyM1X6+wQO9EsSv15zXgRSXll6eNlRPYtTlOwTiHdo1ZSeZqnZm2FmeZ6QzpFEzjPfwZ4UcS0jWr1d7XrQ9IlQGlknY++lMMZt26GmXC6dmEpr7Qh4RuFvyWe5h2PT7VOFeCCm/K9NLWvlQtRwu46CIE0YFbb0QxMMZGT73hWiiTs+LzDIFsf+k4QN7ErlMI77g995U0d+gEmgCKsranwkVNrjbtpSPhoFb+ec+oF9psk4LBhIRCP7aqVmvUIDrbEegnvMs8E2RQzCxTP3sQO2G9CFpw8VSFMI2MdVyrEoLDc7PgPFEu+6Kd1ytqlQmK46s0BAIwlo/3xQMsbD2Xis7YY0C0eR1t7Urfacn1XFTh6oCQnh6WmBQgh8F+MvAkwUKXcj5jQKRyOvy7FQdysH/gSk9hbWYW2miyHlPsuVn4J71g4Es3aSYdGu1H5cdhgatTO5fbvCkuV3HjYMd401Y3mzYVeqPf5Gi0iul0U1Jf424YrqLxV2+/rBXzD39kDTiYVLKCplTYcBB1MS1XbklQd0qepB0meYYGbUTmDs8vw4xE+LCG0YHBhYxkyPD1ytUxzaWmXlZP6okrT9JtOGGnl8EtCdjOLMGMLlP0sDVcnPtq/aAoyHoKHeIv98ykezyuu3fbBL320+biiTlTSp2l916wjkStESXeGg6ZKQUK1s2F9OymbN6bQvwaceN1uJ+KfjHWh4UfXRhYnJtWsCYvylcH+kopNwLxojEgOeQeNdv0IEpzQzpRe4a3piR0aLKWj0YQ2g/Usn9QAkzk79kB2daAds3oIUWRVPOXQheCCDu75yY13JkwAsQ2ewdIjJG2hgmruTJxE1Mfb3EENy9eX0DEk8gl/0R66ZoiqKe6MvPJp9gEPF8SwvAQbGkA9PmuJQg5AdnAmaSV9UUWuOpWdY6MY6WT6t+D2UuISIz3rVRbPwJZQ/MTMfeuEKCo6/ImsS6cSay70NAOBXbqHW986EYvQniy/TCDq01UJRWBJJdilTiJc73qu/FoDdqPma1CWjFRd+WihiT1JJ10MZM08BNV6PfFpKvl2Ipp0K9CsxejZsAPqQ6Eg1vvcfeVD2mMsUFN9Gpx7YQZMxzelTEqswFqJewJFQmAUZ/i5qVGm6xmks+Y/HuftQWWUkQnr0KxiRzHNrkLNnEwArF9H5v6jKz+90LsnHJCr71G2Qq4RLPPCebNi8k2f/2eWPiC4uzW8fJuraIKUVuJK0ItwQvQmSlXznBGvIUxeUJ/qujqLesW2gD1r4XVLrl9Q7+Npl/DMVTXQapSoB9uvg6odUrzwzm201bzbGNtAaFTw1RZL7OZoduRkMa8yBvq0/ottCNLMCp1c6XKR4PyyxsPE4d8sxMxg0SxUVKwibtg3QI2Obiri9y+YwGZ88lXSX4LMvUx6Hs8dLTrwQGHznG15gN9UqkaGQ63PCOm4AJjf94GCmFTyxL2MgoULD66r0cd6a3N4C1ZF1UqPXHthn5MpbMnWOoVUyg6CpwyYU8q+Ix2Bz9fQlSfpT+1G0eO/JCKudmcUpMODhg/s2B2E4c3js4H8d4muxGciJvwjhrwSjp4ps/IAMkeoMlkah+2NYcw+x8bQ8/kGSLoF2fR/b9aIPrKvB5etXLTI1Rednt33VwsRyOwrrTgJkmVcRjAkjI2dW+Ao6iE0+r1bsDbAiVRPiT6ZzWTmpedhVYRZkW67c6Y0DAIoponCNQnWk0ocYc86N/tUuNxLoKPu+qc8uUB7JqI2Cl2OnR9qNmoRtn9KqmcZSL8ub+eJIqNP/8/YjZ+bFM7wG8/sVU5lkXfpRDFIss9oHZm1W6AlMo+7fxRifOgOlWG7p+X7jGOIBzBgn8ooYmG+Xg2g6sYdUSistG+kQIGfa4//yoFRl3tDaxjcLGe5lbf+JOSitaU7ACnNkO57C6iP1iuRknH2aemcFBAtYzVflpNcJGpvbTvl+Sc+9Ucx3g3sAIP7bgDmRlZwSQ57DB8H9nWXAyl6MzZ1LIXS6S0wqovNZ4SAXxziyf0SqeQxtMCLzlbdXRWfRCRXr3VP0zfwia4FVrsG7tXZ9IxYqP5ogQgWfRaM3l8iNCszpTzGtFsO4AMmiKFj/UfhkFWd88D/fz2xRalhQW5EvGe762fF2AHAzyAAYykf2w2vgu/eQDh6K3rlGFNpDq3Or0WBMV9CHZ5kIT2+FJ4XEayAhE436qGO647FZ1jfgv357e44k0VqSX6jtepn+gJrZQD8ilWLSRXaWssXGXjuebZjox2ynryrFW4wbR+q0A6+WP7w6jCw4VAFmab8zhwpWPG/NEouoQfBG5uLXBWqukOUORxp6cenB2iflWwsoxOfcnkYEeW9ABXt7+mnNR+5YSdh0MjOPYcjGDcpJO0KyfWFccGisjzVezQZtIAT7E6HqXWBKGqXL8BcAgAiOL7eIHFf02vzNQEgRPwOKAs6tXddTZ0OLWihEtFZliTXSuRDxhUaT4mbSfDbrad2r/ZfkX0NPo1iKJpvqA86IoVps6gXaVRJAAZrx83kwkbL3rWg83RyDJQ6OhkSd2alK2ev3ZXlZkLk1PsoLXUOXcBcfmG9/meHm9Pd9bMLz4fU59/0ZgaXIMkG93jr4bBBFV7ZzLahH1e5KyaAu+O9XCrZuJYTF0SOTzMFliwr8ZbdtJF+2aNBDLa+aA7YAUjtnrvpNThl6OVTV1PnIzUK1/QxoEyAWjxrM937ZM8iBphaDg9GAEym1KSgp+c6Y7cpB5RX16VTwJsBYQIryS0YVfWw0woEIVHjYFPQTQy7gSje4+bo+tkSKlJu8MI60QDY/ONw0Ut+lTv5bvaJ1jr2TEhCKCpZfjrXupS6Lv/UA03CSNWq0UwKzhHeXURIYC5QrOfQuSpvnLJ4/tqRdvsDMh15/UPVYEQgkQ8zO1I7euhWGSeRylF4BgAe/HkMuekn3Ps9ECyQdKLNZIboRsoOExXyztlJxoQzqdw2Y78aO2ueDALNEYpu1Mg11/A42jJD9MAFzt22Isv50YUBMGKleAf7f7uo8d9UEB5TlxI9smsTAFetqLpgEYwoSteYas/UJLj6AvKADKLCNYxfrETx/Of1tVRqMw5y52Apou113jx8lyhr1O93dM65wBvBpdmZyrt7nXGdx/av+DsBpdBMW3nZj/nZLqXXaZhLpWQVEg+Nq85nQZcaNDTiQV8SBQ1Pyt2IQ66RtrCHZ7w/pI6Uvkz/GhzvAcdlkTrjGMIYvgEqsAZaNfv9P7Ez8uXwiWwXFtrsVExnewLHfRWA5xrIH4UfBiglS7gFFcSLHkORLauz1tXNmGAW2R16W1sA1Bul70gSPk8taT9Y1vd7UoZzWoP8vspFmGts/4BUntqiC5U+dc/KvA/mcw0jPMQVXYtan1kZEK6jfALJZh8G6AzsSFfiKA6Ww0slccSK9FyO12V4O+QLciXEDx5buGSbzG8k6YSFjoXjG7khOwZdUlJnuK2R32C+Xac07qivKu2F+78V85T8P5HBJv9WyMVaUM4Dy5X4BpKDaOVVDvDwEZLlcgTtIzLH0L5TR0uNPc46JKAeJI4ndZrYQwyzATj9+Cdjdx8jToLTRXS+t9sUQqzDTM+/N8DBHOMEOsNEpNtXt4mDVCKryd+ir3uXUPTdVSDX0ptQx8bU2NB4oe95GI82lXLAcy8bAPe4s71+YeTJlSNjFjEiw5Ksl+SPS47bDJjSM5suTpaID6PyIBNs/J6k4lp7au9Ke1IaZjvv274vjd9xeOcNb9swNi/Fue7FUH0CramAbU/HPBy0KK+yeyoi96mi2Qp4EV/OKs/MsSjvnt8Ej3Cg1rxh1ZQgQ/k37wbEmhF+RcFJMYxiP62O1t9iC99SwLgZLzhKlX68xP2zxjp9VYzf8y8rdO/tvFr7R+OIbaBNIqUv8fhje4ATYMJxkoautmKdZnDkDQR61t07300uM5/XCRhtgd1I8TSyZTTUnhIHAVrETjCVoYQvwORyugX3p4bKk0hgRPy4ZMK5evTKdx0lw/PqBOU4IvsTyccfK55ade1pKZkJDanljQMyws4qoxL+7NZYh60KQVk7u70wilctxKWI50rtMY5R0rChqJf2jLMw6bBo1uUyBJN4Ntzxh9oYc3qqDrnAsolK/SLgiIzH0PcX95MU9bOBbDsoox2J0vw3tKgzfv8WHHkBX7xaXTnKW6lTNP6TphAU4FNweaCVWA0oJw2ZHr8xEANa/er7XKfQtz0WN+c/ZExCZTl8Jr4RLH0YXINU4kQvusWm0JCU6p2Jnj4NJLWciJfyp8odLG7WVm2Juse3smP7Bk66onIl0smhLUnRo6gzzoAMGzh7QJDpdT7FqNY0xKKiguqtq/RiuyVLOOgHOMonP2S70x5tmPhdyPNgNka5NHAJFubz+gnxygZsRgEHexwzmgWoNU+M45FgxdtECylstVHJfbhZ9QOrhEPnPzz8E8Lkx4mt1Abf0b/esjcc9JyDkWKRF3UzDeFWidD/1wZ7M3zod5m4eqpLjO7vxNl1yWh/RVGJeQx8UIPKbj17gl5xIrmtj7bLes2xI5Tj3AnnB6O9AzP2KfDMaekIMHfVl6ePgwb2fYdDh6RcHSaPH4hAkLcdckZUWqffNU4RVxJF54B8hm+yVkLh+XaGW8fE7XnAsri6pFZ0/hHWcCD/ZVXrqe1FdbIBiDLBH8Mw7VJscOMkRQJRLDZuGTlq4m0jfqHr96hybH4SIg9LdNCAIfOFXQRfd+LHD/tyoSIMQSkTCpBlRd5Q/LY3+iSfRCk99lt0YDIq3j+mvoS+U6Lcei57TA59Mds/y45imJ8vHHm+zhwd77EgOLIQTasyBw95m0W60u5TD8T+2/7fRb4ldwi+f6MWuK8My8bvQPpQnD/lA4P0gL3dmJmyVPutk6vcZYXrOsWftB5BNmAqIob3E71WhxkuVs1MWvx0Udet2/KQYEQlP4ZmTBSrQfw0ApVrwupUpy1rL0+22TUDPt8biRad/NOQhodpiDgh3dNlImanyrSf7VR7T2cfR1ux0scfAlKRNXye6XC1GuqJ2yxAFF26m/FWxkG7bPFwBZYkjPkyYhuVZhaSW5k13JD3lLbQMtWH4B6L5FBNsx07M8DDkMIHjlBWIS8C44NPeUUZfUSXfZPLkv7gGaSx843tbkrqbY3A0/JPqKTdCuyimU4V4j6dUJ4MtRckaN/s3cbQtFd27fSJBT6f/ib3O11KKaAe3OATx+EETgAla/yY97u3TgLO23klw1k75LqylZraT8ctFZTYW7TBzmDWldG4Tr1wHEHJdgYV9CsxilamZvUNFonPwN0CK+8WTBpj+pn2nAQB8ptrs0qRbVCzPgfTTVb+VybhOXRVrEDj5t6s/gYnmcXaUYFWCyKPCR+qKYzuRcNlcmMNhFQfHUYGt+JywjtCpHRU8Mvmuwsb/c9D1GbzGvN1AIx+H2zj1Drbwr4NKR/HTkHMgZ0Bw2czejyIL5QA75aiJlhENLD7uGgaKM80wGBmtKSNUya6KgtCZq5YkhvVYNbTxv9isgAR6b/kC8yNXyWvAqSiO4vsvTcawpr5bng+5fwmlN0l/AGNCI7xLEx17XGJsL3/GoEsUywVrhq1c27HJ11hNFYYgl4WNoh+vkky8WJkyPACAnURJJEFL8vOQ+u5J71Yiv80tNJE1+Hu3lifYe0cxHjQIfI8+B0nRv1HIr8tvrgruMSf4eybbG6wpUvnxpViTTi1jC8UX2TUKT4FuStJvw1B+7+zhchCO6ehUjJVFY3x1jHxTWwrhhJE/I/8AJ4Ehgedh3EyQNc5/pe7XUtBWTvhVsTsZL7aaag9s6uhZhkHVlWTSdOhmBFHItTXkekIsXQqDISOisD6xIEurZo/sC37F0DrXcr9QACEPUJ4IY/R29HilDycWQuVgmfJzlLsnzp/pbzk4vCltxEMYpbf4IvvIfMGbiXqwZBZu+nYjR1T7nITR+bU8Q+SbQGG/SoIWc3cTuX9LUuZAWv6bqLyPirAugIWpMY+AaEENS6nyiQkEbJVfOhxRqbYrwDpE/18ZKmWli6+KXupvg3XPXX8TSGBrPUtmD8NFa88f/hsw4Xdnetzbl6ocgKJMmh8CcOp3pWaZ5NUCsEglZkBf7vT9nZnOcM8Iu6X5+f+uIPVLO7Jc0Xp2vZY9EZlmZD0Rzu9+9bIFuxvu+uItD0rBq7sqnBsmckiQIsbiCt6tRet+Qz9fmNVVyyGJzdbmRjGnv2CJvgSk69h6Pk/oacGV9LaLSgF4YsbitFpkf8BN9vpoMeqqfds7VNWAeKJAlc8bvJ4WTRARAsrjt08z2qaLW71ECkrRSyqCE5XHDNJkRbXjCpKEiQI/s5c8KKl7zTCnuNpOmpo0vWixNDuIg3TVdFc8aLhg25ZRMNXVYzKA2Q/nlMFoZBL8IIYUsiIPGfuHsOdmbyz7qptVWXwkYUVUAzXZvBVXmyz17R3iDVvVtdepe6j6b3yFP5O7n6O5Az6APK5rGytRp36sDnzSvwGD2XqgqAUCQICKYbTMlkcANO06zif0EOoBeEDkjctBwz2s3Khcn7jrM2xAEtXhR0t/jdF1OMvH3PacBVLtfoAy0YYrl7mSQvnVaE84nh8kW1ax31hEdcYp7KU+o5qp983W1G22IFcBAfWAXT0FqR4GhAbWUpubTlS08U+hRsPmWoLavTx82NdiSDEIRMbyURMROeFEw81O+O0T4ExmsCahZUpOJhxGwXQuuBdklY26HUKWWYSXf+7TILSqByPtm13GI3Rq0JSYHHt3kr1xMJ5GwbatSXhOjf4Mfu9ziptlUVW0ZPLJ7gnXNG6nOWu/1sPukccYX4Kb09EoxVW9DeGDM7YBnMx//r0zkAfAkE1+HzC7aumNKwVT0aE51UHZ2tnVDT4f+dAvqtPt7c71nejmormKVWd+5Jcz97AN4Qt/UPBa7vGwgkB3NMGNs5PSofGNjNh4SJV9X+cfhewmzs/C7FkS4LvpPRQaPIR8sGdHTOQjTZKXvIGKq0MZqU0vAsQ9Fig2IqKZZ2u2Of1fjbDa+CvjHpGuNZrPKxQSfeJJU7pop/b/rXuYAnTow19StAKzTS1ZBWvJmH+ZDro0FolUjr1zwNCTSEqLqs0tI7OwiNc4bp+wrOijKxajSjYyRSxGNWkx94I10fFUKTUxSE/oh8C3LMbK899vI5p8Cu/LDKoVaErkUrDmqSLweQ9ivIYhKo+gEEz6fHhsPBjim+qp8aMtfrcbTKqzvR2G/mHtWCdpRwaZYYQf2e5RUsIqTiCoM4AM20FPx9xOQ0NWNYZgb9jRpiGH/waWC8SBythuu+M8H80US4nbcYet5IddoueWG/UlMELlmhDFvvXNNtU27yCVYrHCaaDMVLk5dlyPhXPKH7yd/ydoewmk/8/z4d1spqnsAE8NKwUBNR9o/+T7rhVfVPSv8DFy8sX6SkaaSRwN5VLG9/FWhAV7rHNI3jf09spiAWIc2X67FJkUQQi//CrRLDsXveHE4t95arx4TERl1H9l4HlcTsvohJ1Q6YUrMldUvtL4Gm7G/fQK5MIpqHn0kUz8vfp45HOmCbBIX7HMsxZSbvj+5FYpCtu413eYtzGsbBj8T11XPA0ihVHQcFgYNriW/4S1ybaAuPwkO05qEZXY68+8GND2lLl7r49jCRl4ipQ/qPByAV18lsdGAgUGdMQbJRuNwpbgCbpsyhECd3PLDcToK/o2XpaAiYOiVjF5S0dZwkcqw59fb+BJZYOaRSFUTTnxS6n4fdRexY+umy57vqED/r+HiP08iht0ho+6NN4hHWeZZdoEk9O4/HiMVg2BgQtTGvi91ccH1l2trLgRdHwfx+81a+0hZ/0DtYonc7BLrRXsuYjh58agLE35arO5cgH6EEsEd8W3ruCvp/MamjBT8qA3PxILEgaYTW4/DIg0/b5T/+mO/KL2KyjPa4KXxmbBAN9Ndo/N2wYDc1ePCPL54Qj6dOO4rMEX4BjovUqOMj74Io/ZYJqQi7f8v8p2QjnzNpLPurT4AHEbdufcHX8QwSRoM+GKmpFoSlYMH/bq9IR8Uh/LwIzw+MWz43ppTnw8Oh67sv9Ycm5+jwajzZ2zUGycEX7uHCGfYxoi9C+9+OBO8Om/WDiHEXOpvdDY1JFbwLr2tsGN1jC3MQkP8VGKJodgCmvcXLE/xzrrZQgnWOEiKUrFH/1PeGd774AvciLnJYIJ0LL5nu1WbYMswLcAHQR7eV0ZitDgeMPch8sjYmy+8bM7JtnTZtFU1nX7XTOAQRLufsL6StqBNLVSuVqmJWjNKfEV95WSLqUdbKp9BbbkDuckSKX29df3eqXDOWAYGtwnPCwCyX0X4YTHI8p4P7bLEFITtpaMAhZanZJfbSl7nhlQYnggrQYyNPBaTVVSQpzt+dQ9tNW50orxQCGGaRHV1sNLM1beo/wvDYVAclPz3JkUFYYo8JOfUwo1ixse5up1OPt8lSG5hQYudypccKSZ8WgMnsNeoB2nrV6U9jjOq/Jd5HCgQfFmPBn8yOmgG/o6PE92y5q5hBfWayFoGFCXev7LPyX5pBnu673qghYEycQ6igROYZnzn6i6B+PzQgPqGG1rRMFnSH6rohERLFIMXnQzDeE0YW1INRQ9v5Or0VQ/rSnmEKPIv8Ko6Q4GI4VXvCfGu0dpwPw7+7mkYqHbOnWgiSEApiXNNzwndZuRUoFNWysxElnvcNC63lxr6lAjtPk/1mOBHGth/XH9Miq1x4QbxlvpGcdVZud379xQe5xmuENsIRr88nJv7iXO6e1zHS6+gm2rvT5xdpS6AEZTFHYhrtZOWyJ6pgaTwx/Tv4Pk/bIBjkB2tJPriU0zqw3XY+xtwUIvRmPHnZBAcnyoV/yQBFmvjIRlXKRLanJMDSljSXhqL/1ki3BSSGRV2NlmEnXyF47Csv7s5kjzaIts+h9kz7+RbGZCOX6jIWYO8T4vBvdVeJl4tpvWA8HommbOMnkXzu1AgDYChHflPmpSU1SlpMmhTQramKjiaBaer3wSs3IdCzwS1ZK1S88bRgwIMsMoQk52AiNkiWA5jvYoazf0GzugORHfOfxiBSIlM+6NoVqz7SF4FMACYWpMppf7Gd1Ta7pilAz+C/68tfxHBC/4KghLgWHVbDi2EUhZ+l3gsP5yjUrWoxA/UTD0xu05DgCdan8crAWjhRn+UDM0S5r+0QhOHophUuL/PWYhXjWW/0RuCJYg/iY4jCIfk1kLVYbNw7g5SKL8ow7DRT+LleKhFlirUNylqmZJiIsGIhH4b5aOJd7U/gYTQ1rGC0CAYn0AVRIWF6PWqK3HM4mUloEtqTzS5lAqrS7n29GQNiZtP8sfEtgcYAoZArBs6QfzgTluzJVn+FW84zjmVCDtAE8PFeec0PvZfSCcHTmJOjWvfmQPigmjqLp+iPvzwMO76csj/RJBd1Y/1hSoOeD7YaFB6HjkzvSx077HoM4Vb1pENw8cwsC1YkH+8lkSCD2AN7FDJOk4b+2nR4qVVuGSi8xW3w0eQiu1TnHJFW6xMztCUfqnYrY8jR9EJ77bAINXiVmAJNUYDGrYLmMHlz/xH+uT9Q0bif3ux1VQxjxkFSEdk/GYDj29KXAdwSofdo2JtI4cC3BalS9eiDPWiyslGULmvyOm4RPojjw4dWEtxpiwlAUeXqqonNdNshy/sJYbujXb8c3WJ07z+okG/KbdOM76F28AMUmNgBWUJkQJA2YWrEFo73x9c0dOGQMHrShcAaf1XVYLs8tbB53F/2cnYbKLwEC39lrJ+c//WM7U0yNpAuFcpRyipgEI276LFhGTOIZdG7qIARGzBTXEV7/1EiN8y5PVV22Z+IV7HGCb4Ze+r+yGp4jk7aU7l8v+g6rP2KuHe7lmXT4Vhfs73pmlTPCXFbVhbo17IdD8prLADaGwTBUMeFvb3jGglosDmXQ2NFzhR8jpxr5RG1PafQMpfEEodeRNCUBvDj/7+vLtAIgzbdLurhLsk/FkPSM4KW5pArNHCFERPIQwisF2gw2BXqffSeasAGA2perS2MDAH/ESrQnw91VJIwzGwN5bnjoVlb0aNxt+uDl24sE0noUa7we7bKDQTz/kg9AGLRLvg9sv0IswTrRpA6Ka1f4eHFQ6XA6HvJ0mxbJq/Sdl9NMh4Zfbo98g6/ibZx/UByqyBIP4tKvgiCaTXRv7FP+v7vQ6zdLWg56RFzJMUMpLNuDmWlOURT9LcDLh1MVQRZt+q6A5HIOG1G7c1Yt1GP1QtbbjtJuZXmhH/hTqUIIpl4v3Okeh5C3knhAnTDLRavm5MXb6m0JcRflhy2UBf//tnNWwFZ6u6oMIz9JkM+2/tk38OLZ32ezScZ0vicKCmyHhTkTBGsQQ4QXDiZBdi4VqM4u3OjAs3btBAmP+sN53nGgukMjcSVcKa5ryvwXOcVv8qBqexEUNV9qGx7FQOmrG5rBPdHBSigjQoPQTlGMLn64LEGoh2js6+CXTuIivuwj6EouSdVrfwSIj7ohJX22g/Z4GACtUA4x9DdiOumdGtGYlOCnSVjG1glD4Rx31ZO71+z6D2DO5KQ3qSphYL+w9GeR9vUe9kaHGEQ4CowjIa4mtmQDKHbUW09Q1fSXKdkrEXK68BtlXgitLgGZZCRH4Oy5LRtVth/VrYSqby8Im26GrW9AwQ/+mumtZxbtHqDk9zodDNGGlndWl42GqNTBTzyrExhhnnG9mb+Fu67LsK7lY/J7bpdoM3gXx/4181eM+Q7sfdi4ySWNPCdmaiwR53Z+ejVMqxu8siviJZ7Im+o3hPwubA5fyyXK8/0fC3uKEJPIWw6dPUuWVrrxwK2kk5Zj1SzljHCiq10iz/lUIJ4g2AfQrUPjx4uF7v4K5PgdekdGa7Qofn+hYt8FXzsEBFY4MQ2mdU1MGMOIQpWfy5vNCGLf1P4GczEMxuC6ne7sZlNhcKuYY6fLAf4Yuw36UWiWub3kTXF+h5LIpvhV0ktz2JAUq2BEeukYEriwdFWSZvxyO8zEmxNC0ELg/4kxzRdw3g/xgDV9yyacwJHr7IxppzGiokRaQBfZMfBuB1X/9owe6dfrvSUv/ceZg63esOTndbW6QNVY7y6WBDc6h9k2pWIp8Nf7kGzWaespFoAfq5kaojU5chhmySjzo9zefEIx91bdAuXwUMojfKqWNgR5wosU2+Nt08Ss9CAXkaA+sUQfLzXcb1u5k5WcYoZFi6gHhLB0YM6J0EOVuNXes0hBjAKsRCgFQYpXQ/0/xBE8o7z8l6Vazra91sToHWXTOueclkR9Y+2KBd2TfJ6FsXH69j/Hqd3XPcHSCJk9lhkigTnYdwoxirXCltY2oqPfUtNQ3XU5wZgN+NP2PvBasqCLbcBQDRZhN5gGUvrbemJQ7nJgfOVDlX3TTzic/zY6Wl7wAHFKySWG6TByRvjNRMPRFkR2nZMvFzEM6Zn/VLejJn0HY1M8i6w4QXkv0BR9cRePCSYqDNfDgWh/jgN52oLZoOe7YwZNm6lvndLKKj0Mj1rTst0BiKBqVzcwj2MnLEojpoMM2KhqyBSH3hi/jXRHrpWpOMtdeiM/SRdb1CEk9A2filV/sjKqYY8A57Z2kE3saACEDp6Y3If9pY50k2iY+AN8bLCwKKHi5l3U2tRjZQvvPuaw4CDhCQql+ZX6POSUFXYz0+KKhxUO/p7RQnVTABokPApfjrveOTqZ8givMCmLdQeLPUfXD+h9yTuYom9S+gedl71TJy4CI5gBEu85kTlzHLY+7t7i3VHg2TG0QrV+VbI6tl+zbQkAfto8RlcZmwgqqY+o1GNxPAgR0c+WDqQcPV7rZqkqGmyMUFEdoKAueEyQQJQn8D067PLvzYC8AtSpuVVeMgf2UIlUuuLFZ0iw0/Cq3O1NdRI4dG3nGAP2p0KBOMq2gx2HjFuINm/m2GQLTVvZCQZii+XfQ68eMTx3g1OI0nSmIUg2U+8XDYixLJ/j2S7tU94k7gNtdzPxdvzIPqVU9gfk3xL8jK3Tp1QAC0rLdn7xez+I9gr7QFdnO3qw1KZHGsjPGTagdpkq80KkQkaC8XlaIV9AfLsQi5S0Pk7J7UyE0P1snfxnQDRJ+3RqhYm1E6FnHvShfTn3e2cyJepArDXxoWoQVuBLO24ldjkf7LEqXEKCA2SE7+G81aBjWDhWhMxsuy/50vzK06QcmhSqetuiY6grZeFG7A1idmCJscEnzL1Uxpk/mEF5cJjhmlP463Wo8rufUBzExROIojq8QbzS84xcKwM++R+ufApYtBL8vMfx1qdCODs0zqzFVLgJiSkt7Y2CW4CXCy51QE7jQ4GoUqVtkKlYle01W4PlQPj2xiLAsAcLm31Bg/qQXSjdZnnzCjwJO1SUhLyEROtuCTRXDTbNVoe+qYTIvL9bvaJH8BzXqurU2oPGGG0MTM7tIyXCtTmk+9yrKvsFh+bGI5ZnDmj2DawMAJLQ26qP3hi2XvyUBUnooPZtMnYP+Nlpo7JSaKpXKZn8HfXvUlcJI5pWtZ669xzYG7B0Jea9BWdQNw8LtQaFHzOV7NwhDUuKUEnLHOELOG63pR2KJpTCOtWrUDIvxwsZf5W6nOR776ROhfuDgFkNQobtyawz4jKCpseErcFEn6Z5dbmoLB4Aiz+zcyi1Ys4bSXXxKSGnZv/mN76D18Vd014+fAGfbeDc4EH8TxVA/QZ7asIzywwioFh+/YXpA8inHbbAky18iyrgujRBJY4CQ+uIEGHairjveyychT7bw3pEH1vNl2w1W2Pf2SwFAcugC7RG4sBfx3rQJNdaZkMb/Yorxr4Sk7KOiHSwKXmvqCXsPHX4kGjLMArBUJWbnRWqw0pMXNr59PHiJcy0q8ewunCvyJ2ZDN+quAOyiNUcK2NuYunEANkq+xJRppBWsdy2vN7sTRMShTp4q6qciDhV7KsJEoiVN+YMTkg1+9VDgDa1raVHpMRymaHifWyFLl2hmV5XyB9SaEGtdPj0sw545Q7RS2hWMowq2rxQmbmKriGfDffxuZoPJJybGlPBpGEhecRBhx+3Y9d9IEC0q0ELCzkFlwtFBp10ASEfyeGfcX8XkBEhUj+dvVIJn4GS2Y+VoVhqNSUk9jFa+eWtoywo9Or3ILeEvvAJt/vohc7qDLutn1Cy3gILOXjU5ECWKxdDLH4z6DEfVsrGHYCHG71GWi4/Lx17W3E2Erp2k7FosX4/qn4mvzDlW7fykx+umOycS0ks09sfUm2m7jOYml4eXEY7AvI0iHqzpXBgzRUGcR5Dq/8O2vaePVZO/3nXsDrXMWweu/4qc9DVtq5TLYnACxaLbLVHQ3wy3uYKP7j/ZklsPoca/n9o+Wt37Fpaky4hoGYToSGpzntmJKdmJnl41WLlc2yQ+S7boszwe21pY58z+7j0dkvJ+G4R4PTO6VwO2/mvZHJMGD5X9vGc/NRCJcpAQ+FnP+1zu0F+bw+UJZirv+iH9XrcMaHuqyUVpSYG2gkyfv1hJ9rswdXW4s0hsUCkRkz1SAHmNpJto2OlH0PPAH47E8oRjTkpdNuskPH336ibFbHwnpszoTKxri5rXw6M76eyxuxQntwvo6/zt1SG88U7U/rSE0nApC39Zead1TK1rBPVLpo8/lcjyCQENFywp7PRsHPHQ5agVQbPoxVSUmmIlCH2KYDbYHOLmtXzwDt1Whqp2qsbQRD4CdLFS11jNLoemXQhi9X/VcaXyBbuWhCQpEJ2vT5HFwlXCEmJrXtp3vI71OzBItDHgEsAV9K66ZsVO/Eoa6OBUB/Ln4Nb50maIz+EWBbRtkX5Y3jbRaQ8niw2Z9ejRHdKhTENNqgDJNYb/zl2vG1t4ixX86icqVVIH6ydH1E/KkWFNeQItIzi6+FWuC6ZcX6krCNGauFh2WRlFPhP4RDRBgUkbq0hfqF9+PD31WynWqqHFZOqtExn+DjjsIA0FNThEcLrERKNAVRC7TxNcsiwH6VL16B3FnAYznPxJVN9YsTUU41hrcjKYlv9jZZf8uQZmZdBZU7gpXM/I5W42Mi65TmRaF7yH+M5iwAaMycyaWq6NccVutAx5uoG6c+u9hKt7N837d1GHiYVlb8F6c43C97/hH1uQL5rRmkjUQ/hNGTJgjXmNTK0cbjjdNfN5w6qOifrmsaINT7SBImbQEW2Q5WUrdDt6l9UmCkfVh8tcCsp1868YIJsUCAa68wyXzOuAeo6yOwNuKxY7cMTL7MUiZOiocIFZDxEnVGIwh01nQiPqfh/l/jdtgHbHV8+54HoUhQx04mDeXq3Gy3lOapCaOWIixSunKOUE6dchb3jVpgs9aILA0XNydjha6spZcnlEcPRaYKEriELlYCLrWiUpeDske09cBFzTODervwzqc2xDOFwE2lkwINjyZMwotGOpjSrvOjQcIog92LnLJOvPIKCP/pZrufcn0aiSLqXNWF/C6cV/UPYnnyiEd1gndw2jQx9WF8Sbf2MpmgW384NpF+kgPRcEyunYBR3EdcSVnUa1th1JDnK5RnVDgy12XIFBSqZWYZPAjllkGkUi71xB7v87ZKu7VA1tanVSBwRHQc0ZRcMAa3arTusRBWNmvf7MxXXbS7ZEOwujBPKGE8kyfkbV5Bm2JxgDV097b4cWWWHqRPWkm/QGCTRRkZySqWXcbIK+VUvslIKuaZhd1NwKTDG6xugnQufbECoKmeLZerA+HkOJ+feqiWMwxdngrG7JZVc1wNyYICEkVyhgm1HKtXPvI5uWa6KutoNaxxuyiNhEHKcFN15GmXYflVGloPiFoctlWwVA+2W38cXfRtdJnPl5s3VAjdrl6Rd2DtYiQpZFtzUHzDk5PwaP8aYdvYLwIWDLTbclf8mCS5uKilM608v/9vbFC624H/hgsZzk+DbqnZ5GJF9m2mkKisdsjHcRzTfuXRDxvFfk7u0QYBbXBZK5vlv5MTlduMmZn4KnJDWmc/DTxQcg5GOfE8clwB0T/LAKqL93tLynspBOZcgavR7VZaEiX2iGukQqxVklccIRQmNnVU7X1cM2mPVw+GAZDKkaBJpvFUmfjZMd+aYcnys0mMQd9yC2A/EP4OpU6G949Dn/XaEVWkiuUUyvAowBnfVuPNbbKI2/Q8WDWzmQruYeo4kicl5TS44bmlqXdYSe5n8voavRkDQyy9j7ndknnBjCfB6Gh5NHjZSg5fPzqRtB32yNLVTyufNdVW7p5Pu1E9aYPqEdbPeffh7+LNVNUqQFoDkI7dbGcC2Qpr/sApxbUH8pPs+0aYUnrjuoRGCiQQiYi9bRTvwPqjOjRAJ7O2nKNdYfY32DcEzFkvEESJVUSubgLd4sVn9wa426lk8blYFEIltrjifffOR1x8KPYYHyQpoPfJevT4/8xRopYk/wEDXvymnK9EOijvci5oXtiXIL0qarh0Ft/A3V2TFKvUdGppoKVuje1LnqX1TNlHlUfSQ+2e/XaQ+ChLeIHZZ3glTxV2K2HOnz1u3djfcyBS1by9U2LHhMwL1IOMkP+AE8In5YqqAX2ieZl+YPsrVxpjLhgP0/ipAyQWoib1oeFLJBXqqEzxBWZgC16ULuzt3IhrErQH51/Hb+DHOxUB+oa3WyrRmHf1TXqpkbYKhpmV4qXwxHV9NQkOKag+WlxMHNfWeDO+XZ37GHOuOZWzQ2D6nak753UTdaoJAd3IsB2BRa43YOWXZnKFIQEEkgi6P1Iqlasn879hvyc0t3NQBcvWlYJCV7HEz+AYxVT7igJM8Mz+vDJajF8rl9ZLHYF0Nx3UTvw117vSSvHZhRfLAONJDfp4aHkExDifQQj47+mklNgcxBKL8aYfwujc0qgOZgszxEcR5Wl2oX3blmt7j0qi1lXiza3CfrdGhWiXbgz1zY0nGzesvTHAXn+ufpnWR+y4RBZmZLsTNqQnapUWhUIT4KjwbBVKDyZ1yQxD3ucjbbLilccg5mSWJGoFAY3YyNXZ0GSDxW/lfGwbcN9kJYSfGjtmR0019pYaebRe1XA7qnyg3EQc5+29/NUXLupJ0mSaV2cy3MMSKEPIobAz+M1Guc2Nn1ApfOnp3HdvUFjGBfep5pv++PoMYWX6T+MDVcPPXuxB6GNHAPEtDJOpkhtCtteCLSWQ24hRN12U3UqsnV6pdz03LkEyVEDMwHvkS4tjjaKrXhe8mFU5I3xdUwXe6HF4KeDwMIogRUhJOmPtWrcxTtCJMOvZalLq17FEq65gIlNuUELOriPjGsRi7/XbKf4HyM2F8toWs2IYBtrmhe4AoKAphBTFkB3SHgSfMFK2rEugUV/nAAbUTzdgt2mkRe7rVVsDO8omTkI7jnlQGL/XxiZHovsJFZ3BiUpzMWlf0o/RlzptPMkdAYowm1rVq3RPbe+T44FLADnqoxQh2hy90I5FA7KftOP1UUs7mdS0ZlUjKg37cR3iJqKMQy1fUe0XOw3UXdGxdJPTpZFmujRqjzgByLV/wuI0h+fWvQDzS28MyHmpuW/maOrx6i42OgZe5qaUcWrJW2nm6mQB3C94iauLGgQBQpvwoLkTx9/kVBJlSFS+P0l4w69lm85scNQXMnZ2k1Z7iFNPBPZhx+1A8SMzw9qFA5QAS/KNGOfwSVn4eHrgi/c0HAEYFlMQ/qcLwMIm4MVxCkjB94ewpfave2VQUI+f+SkC6QpPXzGcAh6OpfOgHJfHj3BO6f1zsmVBvrqgZMOP3HITN1QJhnke6bnlHitxvMgFVXomO+eiF5ZiZF8GBZgfWIY9btf38g5ryCazL2sG4sLZmbkHyVVkcZc5l/rb4CnqtoRNqDsnoKLc9y1aBImsyrsZ8lT3Dz5g4OUoD0JKP0UlBp+vJRGGAOJLqWoLZUW6EpyuhiWqJs4kaZP+TbOmw1wkhL7wFFJMrkiEit9n4UcwhmP0pwYshOaFuljZCCZujP1rL/DrOzJ3YbYqsggasSZA3VQuq1FNnbrcKcvKHXW5oHbPg+QoAzF9wmbeLaMdAmB+EveFr4QX5sZ3s6EUvmGngFIZqlKW0JmQCkjnUDLvBIBikyKeMK98TyXX2rXqBEqBxNhItl4ZsiGNkbmYVPjugbbn4bh6gJUV9TVZwkk7gXEf85yPwMxVz4Pl6jcQMOnj0lGpNXuA4PR6sO2fhDr1XZG6py29F53AZmifMS0mhkASDZVxE1ITzx/5ttBCpb5/06FvDQEj4M/kUzf02jZf+sw0qKPaj/36s0SVGLDzrKl3yOJj/XZ06tJ7ekKELMu92mlxeiNP6DDfD8oVyw1CsymAjypfQD23G7N0H8DACIqt4BcOOVvoSwmhKndMWc9bdfIApTH/u+qj6miRkZDSJIzLCKiWGdY4AEAou0ey3NnsN37K9rVEAE3iBQnAN9ATBeTIiPF5w3A3/WY+yRfltohTzcoKMkLXZXpbZP499DQxg+T4ekbsJu13Fm3v0kStuLpjU1f1Yxn+YQxr5Tyosr0keJM8PBbQpo7cRF8ospoMo2nW9UQs+OtrBOyYuk+8jexT7egOzWETz8qvdbyEHPXT6+3xQ+k8H25FSpIF+GdUEnpDvad5VWfCa3qTDpwixc20uVTd27NgZjSCrVbxIbObQ0vaOwV1vSs3vAGYcqf3MuqArCZqauxBAh7ZKWkVZIlWX+H4lJNUpClZVf/67Ri8rd9pEHt0EblCAKtmvbeEmOFMrfVSeNSfb0MoGGDNDGn6uLJmzkUU7OBowLrqj5xhT3gyj5LjYwZcnSHIPG4/02WJUnxqqAbRmASVtQIYqRXbFhd9mN65cp259scts5C7Eu6eBw3+0QWVyHK0VolaFYhQG2UsxQmOimPgzV7N8Gd4LiDr9IZ4+eGp3GbiyHS1NpdbfurA2pWuBPHbsEx0ejmbxPhPKN9fbjsWkvqVvX61RpD/gV5/lkMG8IkVpG/NzY7AslTFWgNdk2ED7V6hvBLyQU1mPhtB3pA1UrROEYTYmqFcAnWmR8SnDKoCJl2ihLhkFpdGYpkOe1psWlajF9HFQlLm8rcqQqD9xPi5pycjxLATGaAjE75fqDgvVbYROcBq5DHcV9ui+brWXdCSjRF4c7k0BrvzQVyW/7b2UNB4rn+wvUK25LOGbZCjpVW2EnK1O1ib9rpTqOdqyxP/gNoUnX4GIWo4sqkcs2ueWL4VtXUS73NxZM9i1Mn9opLWjQkIkXZ/OvC3MRt+eVhQG6z61cXVDCpvw4BA0KWkhf7xa8jJ/LHdfJqFTIE39WqLlJH8AM8ZKy+p/i3g5I12voPtWcOkcLYL5uvT8dwKlvUw6xCu/zvM5n9peg+84woD17CuBHcoH3zQmnU+hTWFva5tYAbbfFxqbR227Gt8pVXJlNPfLkrK00o10r//+P1Pya2Bh2BtqrQnPgC/gWHf1j09ORHmcIYviMhZrhv5pUS4Xsfyf7LNSjf71mv9Z6trycNAYgk4qaQZJh8309gH0526F/kjzmcYOYruRlmD7BtvOzOJKnTSZ/XkqOFcbXBi0jUN2bWNMJucIuhIhVRwuVpnfS7vxByw5XYv42OkrCzvIJNro664tPUY4Jrq1zfb+Q4KKJg3LlR6nfLQA/tlMYeZQ4UXyF66mhGtou0zkIxQL8wajli53PI0PFq6uW1avZLe4gxbEOMVMnZO7Zqza+2GCuJQdlx6MBxz55uNx8h5UEkxe1l6Wf+U9eNKiA3GAPGq3tjhmzUU2piXs6iw3ISkSlBb3CUC6hnOokFwOv0BZmgccWcfA0NDn+VXai1y5Ka1qgXFpZDDsc+0oc/yaki5oXh1qmYXHJhyR+FCwszEKYi9a1wFr7ve6mWaDZBrvv0fgb7rX8XIoGGJCKXYrKUFZxBizMwXi5CCz5DEToZnyjWfy8KuEdHxQG176zkiYOQKgGL8pz5u8twvDQwYGEA6I8JvfzPtVfkXzIg/Eb71/y/bl49+xAlzrGldEN7wol4JUc1NI2Cy8avSW/Ssfn+CcIj2mxFG6edyw1aWXu8zYdsw+LQr/fsIznzrm3itw6Cy8p1wYe64/T1MpQp4/brsuxWvd0O0JyQ0MOzmIhvHo5m03iLo3gIeLT0PsIWkjRc9Eg5NR8qwSirAXO1W0mLPwKDtw0RqssOzA2f4L1IGgs6ZYnaSjMWnayIRqyQmAYgaSQXldEZ13RLwdW8XXSQb4cgz8LWW+/jxhoiRiLPEm5MuLhCRKz1FoIT/qTNDUyELkUuERxdlfZ+he6jPsP7b80p88ZGagpYVUk0obvwp+4E9BX2Pqt6EGyTjZtFH4PBlSQ2JjUvu6DJWXRqM17ZdKlcOnI1XhMgRIevuzcIU9uq2xGAB/wIzBsCGla+05Bq4zyyEDtA/clecxqZKhEY+wwpRVyCpJvb/K4u3hUMu78r1Wjfk2K7O26+tOK30E6gc0kE+e8MuMJrapyDN5SF3FPUr3P/VMqgodrcB/KDVRsyhIOuEQVUFgMEzgKJAeW27I1wSBfrF0FbBzY7bX1KsRO27G3pFlWQOQWqPHuV66v7050/8sMUhdCmFxFDvktZUyibE/v9infpiiEryfQCejGx0o/4FXzg4QC1pHMgryKJ8G1NuFANzaZSHoMugIku2dFnqR+p2UvipVutAtFQBzzrenl9Lpxr6bryseQayOx3Hc+hASR91uG1bteCf3vx13jlGJsfhAftK+Do3qtki7jUgPZ8v5RrOICMxMeK3l70WVPO3KYT3nnQxvCZ8qKgx2OBTQKKnAegXU8Qpt3Jr/9aCFCbu+oYKhxiviTud139FU+Iz1jM+8nhV6UB9XvJAjHWxlREJW5F8hOyAqXEYuwOq/CkNYvsgasiR10F+T2uItJaeVsuqLWhLKh1KQzfLFKISHQyLGegxQ5vYwsO+AYKZ07N4NJInb4TNXEGtY5mmUfUv/+90DepKV2J+BLXJdD6iXQJHKhbjRYQIgrUH+rkj2sGwpmEuAEU6qtIYA5V4sEEsDMMrWFzed6ajt5ZrduohNKnDPYGgKal3S2s7bwEPvGvtpG+2rEu9Z8gNDKEK6iYFwWFn5K6sJQHhzw5w37UGjgSmjDgQ7OfMTVsT007lRL3DGF5nb4ONG2gADMG7uAZ9gbe875R0FCyWJwGKb+kbr1KlfrKKZP4d56OyNOYiMTzDzEREcSNHIDiYaFU1uvg2gCdGicy8KsVvyOFi/XPPDUrTP2ERkLzc/RNJySwRUYPIYO/J0SuZsD4ScORH1S1PrsIpb0LpXeBX0mRowT93brz7EUCnWOwqd4H3L++oiHouh8rvCev63Dkm8Hfr+OQmcyt/pViK3kUjzfVHLupO0MOKD7EeSA9mXw9VqmaPLevBRZtWN/RJdzwQ8WOBFZ9eB+5ojoBP1hHRqWDXv1owaPw8ch1UFNIKYGTQ7uwq+Cq9Qt+AXBh7PMMDQPNQuuW9aSonXeN8epcs1E9fbX3I4bTXkgQZ/8ZhIT/KTXBoKCDD2YaU2kpCijkxGS0G/ESn8lWJeECNSqnGTwmEjvcadAISqF9G+nJbNjD/QoCgHGmTheliF3NJAVmAddJQkBXeuEYipNMPpRnJalMcrqvHwI7mDBug4d1pZ7HnYzPKYtZch+IFd6etcMHet/uBJPS76KHUPyHEoCiYLQPpL6GiqU7aplda4dZvjaSmLbhnfHqS5qnyL0XRimlFClJ6wurbP2TpOksEcXQwOPHFWdFYjzhokavI+68bfrpij+bSOQPOVEXxNRWzBtxM22PIHuh1vg7fe55kkXtRhpV9DZ9PmoB9pOoAyD4maKk3SWej9sKoO8xjqTb8mSe3BggC2epk/bMGYe4eYGmWF1D1gaU54+wMUksFlA1AgYsLNJHZ4M5t0N/aVhndSc/ha0HraK0ONtN72gB2RT0GUn/6fPy7aLJTxooqPfJuaaI4swIgvSaPi6govwHbxhZIn8N1harHm/P13SCewXxanqg/EUxwGhHDZbIiD1WQqNScr46+3SEZ4R+9ae0BZeGmMXgAj9jbFoMZZKsiGkj3hxCPencZb3Mt4hoifU2Fv+l3PF1lagwMTd856i0SsTrbARmlqaBx83x7IaM05MfJPrQM7uUmARhEzNbFNebXtq5tUOpURKPgTF+ydzUeKCyPqW9knq26CeqO3rvQvdE60Ax4qJA9gzMOkjZMOYfja/t6EPC25PPREGuvCbWEjEwtYrslmPnu/0z3XNQOaYIdajoQzudi6IYGDPfzxVOHNVBCSXyiGGQQIOBT4vSKQa+Ke0mBkjD7rTr5BIOabLiYX2old0b0YpzhcPOjymI9nl4wzKdb6xPtvvRS3IxW5uo8NIJsOsDBKtLoL9dL82RRCkbCb9ciWz2Wop1dZqlYRKSuyMGdaSroX1w5hP+RphlsHH0OXC83jVwRn3iAoNbw0TvqS2BYANU1TiPLMad7W6dNHuzYxaClb5R95StU2eQ/ACAzSNGDn7mw32RD0mGk6P66AkonoDdhedVJ7teDB7yKN+Elj+Hd9zzQi4CDxJdQGkL6k5j3H0FeWd3kg1cYmc3+VKAwxb0RAY1T4ZMdCMArKJztH92Nn3cZ9cHRaF3d7l5VGQyPjVRhNbLW12riMZknGCK6Dqqc9JVqTuce9R1uHDLtyxdd7tLeC24OJFdMvVSrj0mlJUYJQl4TGkhd57HwqTEfGNxqVvjrFrJeyOzcNmSPrf8Ffg3nrDJNXrYlovWn8tPj5K7GTe1DaNAyHmNr+VVXxRGdgDd64OwLdN6iwVWlenfDVsTEYXbhtonwlkemEy84MM8sse0Zc9VyTa/kNi6QjOfSDhPoOYJaf/yjJ7OKPNh+lZ7X+NXhVbYLXvCERztEV0cyAZPrmVKvOlrCrPj+eK3jpKDhRuFpkISpJ9rlGKg3GvrGMEQs/5r6WzO7BSsSki03ctz8KmAeFZM8oza6Kl4sBlQSD4QfziRkRaRHdFmgUTF/sOhdafPurQeeit+lyJHNiQwOlC3bBUfBcsfbOGVsLHHbIbxv6kZ3ENRJU6fPi/g4MXq0Th/uIJAsio+nhY3RdBh5RYtyiokkbVpgYD9RyLajzztnf6BX3WEwD9YWalh2Fqwy5exHeTiuW+0bHzys0nAnSjJyZPUhV6/6eWMqbhSKG38eJ+sDwQ8VweTIjrPb0BC73MaXND12cudoGNolwowEsKnVW42cK/dvuEoae35QGD269/6ff4Bud9lksk1iCj7gjn3yteiEXW8xQwFUJsyO65C4Nu8DiaRoaLnjiBxuQufsBWLVhLDIEYMtETDyTpxjiduMnsdDkhSinD61Zj8NDfdQGOGPcIJVorJRB4DWdCaHKQVmzUV9Eypb/Hyz+GAGKgygw6l7YBdQyJE28XwzmQ2UZm9gc6Qh0EDwBX8L7AEvvhsRX+O2od+h8ZjNCnsQsehCH+bQoJiA6njZ7eMjMsRMB1akrWhdRIHhx6xAR4vuyvIa3iO4sYUs8KFVZ+v4X9hOK6WQUPhV2W9MUW6NCZe5bzkMXIcwtMqky0li57Pbvo4wrXfsBR2jOrAdGWrEqMj0t4QEiWITwQ9njBGOnMo9/JG5HWX8KoHQDVRp4+qpWBBLVJ8Yo+RcTXfFlDF/AsthXH3PGnQHJNh2rMizmM05hhq4jEWo+aVYIuhOH0iH/qn6wEJvC3z2OLgvFqE+7fv4n4g3IYbCH1JXIJgm8qK3gLByBZ5FgSZpHx6gXS+uhtumQWRKBb9Y6OjqzlCMVX8z24pG02DRUBgMYf6XgrEz/00pBfMOBj9jB06OTJJL8P4JZvbljr3pKNQPWR2/zsGEDZvK/ta9SfiR7vxP0dzXaMzq5eEwvMU4RxxV+BtsAia3QzJNfwMvly3Ziq6TgydbhdDgcn/xqQz2hWvWt+tV/FdfHRX+h5T7il8U/sVkbBpVRW+868i9cisYVAR64AIQ6k6z0i6miAgn6sngFej/0hVdEM/Fru58DuSn6HhxTeT9IthpvMEKy+s6gMhtMgCoRcgjYeY2/Z70XtdJe9tmHjCYapmfO0n171XgZ5UdLrRF1/broF1yuuW9NdwYkToThkKyHbTOsnWNaanN+BBMbKWlkBC2WakCmB88otf/HIBuEb2DdI9hEeuqo/A7sokGX9Lbeu1T0aidODk9diOi3nAvfB/TcvH7yCTHUJgERWGyn2U+XpN49kwbB62/ZjE0Cr3bgNp3O46f6glOhvelV1hcCjYx8df2S0VnmclJ3HVf9PSp+K3RrDbNFv1nQ3QMXOPOJ/RPFMEVYYAMJ9WW2XrlZG4QHN5d4yBcz7p4XZhgVEOfnWod3a1JKLRpquSoQrgD1RVohmGp8kQQtiBYH6xB3wDCKE1xFnhlqM6ICM2Y0A2bB6jcQ+KI9x/bDkV+y7oc07GUWC/hfUw80uotuQGu8oTHJ7ds7kwKeP0Ou1D9RR7dUGxCK0c1QeyXbKrXnlZ7LpMDYrUSdovVtVfkLvZXKHkgkVL9vcTJL3n1VfVmR7TBW55WF3HR+LM+xy/Pk/EwJ8OOcSLyfNHbDOMIp0TMC0J3SH6P90OpgHGfzrQsXiIBFlPgYHpONNd5QqYvZbHS+H0fk9TSVguYecT7MTvvKUJBirTUMwq+D615GUD52nFF6PNZoqaD54j8syMKtgLMlBHcOY4+pld5oZMcLexOgruzc6B0hOqvVF65jXkEJ6FMTCMllF+NFKrVbzeHQVcUfCYjCCXbSwrLsJmCAi1VyBCZcv+A+TfPLmekRzdEezSbSlG/jRdLoRLtUj4NU6xfHx+D0LRa6rOrGttLeW3dEcsdlCb45yIrvJT+ylX7VIh8BMggTgnzrt1dBmbOpACD6mHFF174cQwCPbvajf8UsB+xru0lB6gVeRH/Gw7TypdfkLDENuF11uKBAg7b1pvEU0f+JXmIJRIlMnJRWfZS4BTUYci6GlDzBfq8tYeEoF70KiGHNKyPq68sm1SKvSA3VC2uocAdVm6J/Xh8yXH5HIVkk37KtG9YzrrUbO9JpeMhRvyhG3UKNKbqTomoiO4gltY/OBV+fUIY9oI/neL1e/Psm3Iv3YUXGdQbbXH5QD3aG/EmzLjQ+H+GSJR6pZNWqYCur2e8L1BPw8hJSE9NeobOMCIQfJJqXJOl2drHdRUW52W2fY/wNjEFEpPfEjpiEr6TvicURE50rCmH63mrDCm45IKIY9EPlez8gchvEcugACTMn0vVPIR80+mrizm265EY8vXu+UuYrRyL0SSRD55x9xS/87vMVXC+L7hNSoyQAvp9Y6aLo+I4eqKGRg5tiZt2uV9h9Fhec7ZqCHymdhy8j9P4/UhazjH6QlJbevm0p9VXIyVyrLpi7M+aMe5XJxf9v+Eae/0StQzQKKbUyEaDs0c3TYJIwAVsHQrnM0uIPoeNJsDxLMwD6lbtgL+AZg17YpScrUtItM+qpt5916v13TRLE4TDCTYkkEouF4YsuunSA22/xmRzJw0YjKW3wrouCB2/y3gg4LlR4b04L9t9gKAbE9VIy8hu59buSEJrbdlucPnp3Q8T5Ltob2YxwnXghityQzhJlAxY6Yds6sk4bDnHzYjcV9wid7nbT1LbT1UNBwu42la1SVeGyM2Fjt35es6d77fxB7wi4LKJXIp1cNwGhgOHXIpn7tusQUw1eJ7wcq3vyAM//cAupqeCjoEimk864OcJEbHuprQ0X0vbChOUZt3rl83E8whjOiwEgriBvsCBTcKtCV/hAwkRoy5pWg2tBiC0lkhFhGj/hEYjvwwviC3c+lyQR8vmaQPoQVPQWZ0Zyh3ca9eWk6VIFh9DfE+99FfTaWeoac3HCzy3xx66/Yj4d3G420zX5ZMT5Ts75wjZA+XLiglQES0yS/teWwZp2TffbE9zxhXnaasOnkR+BcXN+dPkDyXJAthF6Q4bm4zjCc2MFVnabSigHrxsUCcazqECnFnLAy5HI8AbaBH8rWAUSbKAsKhz2nNY1EPuiJrCUN9PS6SU4GRVIiaxysfi7Qz/SlVVDLW8qAHdtbk0dsS9MxW4s+9lESMZeHNXM8pIR/ktR+14T3ceTzz3WkQZw0DjeVe/Hv3wAr7a5yWZNzdk1J7vfF9RndorDJt7hM9NaHhv9yB+nz412DBrI7OfXb4qi98G2+2mdEWIEmWZUwLkC6PDUxbFk6It7s+sMPRDYYCsMYLpZEit3r0Jhy783+ruK/AfgPHLnU+iyuPfyx9HepsvOMowKm4ZbNSM8t65irpTWZ4MDKAFiqFCgZZcTH95ZGWAKPTbj+NFNjTDTbphtjVlNXFFPaYaaIO0vg1ZhncBR5HnrQFrJaGLzbGXkQ1PEmGZJGg/vyuDZAZXHMsv6qWuMzvxcunbSG+Mvy1ZzblUAijvgNjeBvfY2I+819MzE8iOOAEBoy0Vu2VJbluMTNCX5YAuGLeTQEdIb0UHMOrBYNbJR1F7Td8DD8Iy5ANQzSfmVbxg6iOR7GXmLFMYMGufYet/KTOghFBY47lr3m3+gP8JbcaoP4ZGsvWFMbUWixuirzNJsJVhfcksVEDC1g6xqdVNabS3T/r3cetyS9K20ece8YgxatkgsxuBXwYPhpmyq3dnvnIb4Gf3yKmCEKWhiNAsmIlJKk4JK7JQ8ckl0+Y/+fX6do8o894MGbG2VzwUEIEfeVVLIYct9K8NwxnJ07ZvTgZNxvsqXSLP3NhdB75tyerCLKrgX7QinyP7B/SGOsdKqzZ2niDiD6SqF8nFwIKaQANrt6j3daBjBdihFtBBQRuCI7hWvdrah42xJgLYBrGhwVUFQnOFiYc+O/6HcIKPj9uweVIqWFFGrUHRvAXu7nZmTYIntshXN+RgBHB7cIRnKdamY185yeEQfqThR/QeNIVExIGG4zwzN+k1yqhxvPWjS+6AUw5z1U2RlfRM3GhmdsIaWOEpjKQYsp2jZmh+7jqpalcps1QY87dWME1TjEFW4f13hLOsWj/QiKAHSFR3MU52sAfa51Q/rUcPmAtX/nGc9xLN1CtGzhF4a+UHORnPbAKCwKBkDX3oU5uFgUt0JvUdL+7zJC8v7H0zErE2tpAoRNZNQ7ZfsJKsPT9ZxZetA/UbYYWgans/klik11/OUKaYXlb7//zSum7bXN59dBCoknfy/j5aSAwpfBYmglXpVOnL3wX/MZe8K9Gvep1h3X+DxQhYPM20VRTzmRg3Q05aj8GLRlPVCipWkz0jqbkxvyoyD1tNz8OurNlDzmLg1aiEmmEyrrtF+DSoh6diww9EkPLeXlB+GCvCSkxuYegz9sW6ambUnZOY2TwPDGp03zFJABBHcWSJAgNdmjgZdq1T6FySOfQ476ALUJyxLMQBXExoa5J7tZldLW862xHzXF6U6RevBLL0vswBfOJ0HShxdUvNH7081NPkI6SzIJBY2fhQCF7j+eipfQa80yDrlBVBCAf5/YlRrV4HlQkrHHeF5MSvOUK+ICKf+rQ25iqtxC8w82QiNcOsiJ2EWHheViJ0R2nY6NQxJoApZgt2l34iwGM92sRbS3OfhIbqiejqe0fYweBfcZVyptsgq3P6XTaH0eMjLYn1UGZXagIkrAwzNIE9yGviyA/I9KgAk6LGqbqbgL0Dix+78H7cdifvslNw5DqybVf/FmDYZBoxQWQ0743SH1sKphhkOhuCoKDbow6h0n2KE05tpuTUL0R7yjOBb0lMmsoMbD0orVGji4qKjLUlGTdFek/UxNo5wgkZ+3pZ0EyfoA+bfzEj72boo6EYshEQCd2fiwtDzdlXObVFZobjN2j4G2NCoYLyETmhilLMv6VPeJ0qUZsDzMjQ3OcRNUnBKEg6lwE3YZCcni8l/dRSuHr13wV0qiagY6xYgOMnkgEekypQoAu1zZs88OhfaYMMjCf9uy2p4/NFBFiwy9CFyzFMRYinps/Ac8h6eqJ09p2KCzLXx81IlXXjRKoFwvVyn+kM6NBgBZ8fnxiGv8rJm6m0ZM0xjlZAciCFBV4Dibi+DsfbYv3NupeE/3MQhevJsVkF/8Aq4XtByNwyW/Qgeqy4Z9xotUkyjPmBFWhMPjHPz0Ip8IxWQasV0IHAEq4VzXqE4CvJ/RMA9dR7TQ8aHHy1zc6XZiJOn7D1QC/YEJKnHjFw9pc7QVUdZleXsRUVRE8ZSRSYYUURztZp7gk556xB5aM9PU/GgfsZksdI/OsFG0tDqwJcLuHgaPu6GqDVQ3efIJYfMgqrf/wI0ikczESE4xltca/3etRgFTfUnfAG4SF+q1MLFJWafYAeeFejRQBBorEwvjC9fnNJuq9KsQHeusyEOJu8x5MOEcwVtrlGNNxT/0loKrRrmNxU/aMIKXJNMiaMD3UjiHVtDVJwlgmeSXCFA5WSvRsJm3dw7ffkNmvtqY3uFJkTF9wixJrtsmPrXjor6w6wYjcxSTXGXlIQUmorQBMVxXvG/rHw0VeC4C8nzmXJTxtMeON3vNOHmZH48dBcQK2a1zPTHbRVYwA3iy+r1VcIm+C4r3PKy/RRpetoOHKrXy0DKCGgzx+iIBGVXGjv9Soypp1tk5m8TimSw70sNkk260GkNP7DcP5wnQlsnTJ6I+gP+gKCqKUPK5WsCh+SdSvowombsSQrpoFGJHg4COv8ZdvO65EJ20uEyxfTukwIBK/S37ZjVgRWx+5dthhcp+RGlAkh8R3MI79KkEZl0GHne9t+LB6yajYUOx8C6VfDrAWRvItI8bGLUahnUwxT3ZfbJL8mklRQvXr9tozrvA+gLvpKkhd4v4fj2JVnKlgJfXRvbNqNltgVYzXOLaBqMr/oNaDX5/L9mYCMLBvUbnWhfLoKplcxqZtv0fhnzdHSpBuKEe1lnjRmrgeMTuPQ/qPIF2ljbaokRMcGXEnTIOJFDLQsVU6UCgD1r4TUYy/PUr0TfHcevguyACc56NX4iB0u3tmpTVLiL7/nF8S2O9xHq86enqhL02KBExGtnbRa2mnMaPMRLoX/oDEN+hQWLu70olV9eVUCyQcIcVE5+UnuEZoy0Cpa12rgpvdCit+I1uVG642Fak8dAlKjVElfVQIbLaTebHseqaXGa9zAXRYFkV8po1xb8yvrJeRqWSII6l7dP4GfFjOc154YSHL5iLKkV7uX7X1Ev93z3qSbIE1OGsw4HFWyPiSLxyCWLPobdZDFgYkm6cUTWttvKkqY4ul+HapDf5RYQSCJoFBfXXagU2miVWR35E8Pm8gmioQGA4g1NnnR+T3mslv2YclHNSjfNxn3y4ti+L81d1+9lPDwctZVA+9zueDT8PugHomEnRB7LNxaaYKbijpb5EQtk9Ln4oDPk3DjXFySess2afttOADvWZjUTzMfUlaAit7u9i31gZPlQl9HYyKKHgOqCNvZ96YuUgv/b1YaVRYE1s7qkHnx2dkYt2RDFoSOQ2vVSU9u5cjIIFMtqCry6AL6ZGAWA6D9KWwvdW0pl6aopyyY7yJdpkkOML3eIXr4GweXMQm7P6DmdZZLn4aLVJ1bO4ZDZpg1Zdw4RTFkP3oJfN79cg/0RSd2fRADVqtzkFWRVsd5BO4mRbmqoIA5OQzDB32zyG7IoHZhIt2UqLnFJd4jKyRQ6/YHY2yeIXhhsoEzH6zIshnJ9lFBZCFrv0GGajSBehlpJ+S1Q0u4Ib6flt/kektxH+SPfp5Q6Nyc7YZajMOuy31H5n+qZMQsMuZVkFwMevfuU8ZIXEA0+hyEyVO8RSmgEY+m9ZDe8staplcg7hh1iX9EygkE4EWLHfDevWeG6sv3uItZGe6oZOuBGbARYMSXb0irWnFl+SkjJVLqa4uDGqmLdUmSgJQu2BHDQQ1+5sLYV8KIZNEtBOjFC7lVIYa1rb/I68d2RvZEB9ZkS/+zUZQaZdvSSvCr2by/tIq/HlqZqGbvKiy+Y5nhltorsp2r2sDhGQrBijjdFxcMrf2iF+9Z3LprqpX4+O/pXavtJsE5GEzoKyN48EYQrFWa8IDsEQtKkD6U6C4XmABN11MYCOe8zTk4Bix20E0155yS2Bbpj1cgi2loTE8HnqliKNQaGpiqey3MvqcFxShL1J0RcUYbJiDSpAc2c8wwuyXqZ6Z+wjfNSYwqM887hHOlNtWuP0gPswsR+9ZATYEMAFUegMNdN+TLH2VDQP9DSbnHyxUUybhU8U3VNbFaVAihAk1JLAWdRjhLUZuSv3u4W8jkbBtt2dGaHA9B8x+wlVXJOJMTFCeEtvYMfJXqPALWL/IpHRGeSphOLe5K1cTrviSTw0QVrDnUDgI8xIsW+gEAL4139+Yg3Hn44WNk+158V7jSRSEZKqlptSoGTbjG0o94306xmIJEfdQJZN7uQYcOXDy5p0xjwmayHiZCkriKwnBFKdG46Bl2E3r07r/P8OeN6y1LgKYDiJiZGA4GqWRCYKBNDYkmwNx0LVPrw6Y6DK01POwVKZ4pd8NyOaMfuqq6LYfa6aOEzYnG5mNuhdPT/RHYPpMp/YlgwWNnwAmeYUfap5HjPJhFPQKHeialwCGd8/14XWmz140YWZ4T+XCidarSvnvNcw4kFFL5oog8rVnw55BVpxIv3t+84QzlhBJbeG54/HDKplqPVTypYOJsqzlapInH4+vEVuCUoeOD6zqmt685uDsIfAzj8xBtoDCRb1rfAxRIUXquroucAu6eseYWxvPeRNJ9XYtFAgho9baYA9AY9N+cNXKUB45wAUBBaigyL+bAiV08JNZfgS0wTDBEbsHp3wJl8EelrxORdESd6yAi754cM8xSDPwl7WlOxVmOEHPpQzDHxhc9v3oGIOKafUahsYNvSXX4to1zWIFdVL99izwrRlkb4YW+PAiXB3Aj/Rv1uFLMHcDbNfccOr49dNq9phYY2phmoW7Gzq5oOeCPsXm0ojev+DKt5wruhIr1pilpv+FTnvYjLWDSvhjDlZT0S0ioU0TVc5EM1MpW/MnksoI0Cht7fFEjhmrwW5HALq2rZCpHQMKA1U/3OMCeHNpU29H4lIqeN5FVokdOT98lJE6lNwSOqxS5wqg8XXuZB8R7foii1j1HxG+DvdSYZT04FByKBco+e9nbcMre4ArurYMEKay5UXQE1kiSVxVBUqISvOihx7gMdDbtiEN1x53eVil7lnHLaisHKmcxk6tkkvgBO0yLHdWyvLF0RfFnV2OANIz0IKnKEM22mCH/gi7+DnEeHoeUzMUoWkDpOWUDqYOLLMiiGLz9H32gt1NIL7c+RXutQtStmyFn1aJL74NwxB7i8ovk8+y+8/IM7s7xCFmc6Y/tBxjiLourjoyP/AXtus8MJwty9/0vjtzhw3ClRopL8tHjhcNKVlaEpopTO3J6yz+0B8zLL0TY6kclDEOX6iAqfEys+6E2v4eKs2LwI+HKuT0mhANrHk/SIHcuBdnWi8PVF1jP/kSjQ0jbbN0uOkk3utjna4KrZfTW+xEhi/KaR3C8V9ZPsrOaCLgVPC52yyqUDNd/k66IRflTZxHNYJ51o50Yj+QHMXMUZLBVfgpAexhrFq0ziYYXx1ELEKmGO20gg+iuGSugUhY+VITFXPPCePRjO++UPYN6j5mISxbSBIUEFneD/CPTWR1vbVFDYESLJwdIz1dcHX2jR9pU34O1L99PZpSBw4YQAS8BK+z9pm6DPA43c7I3OBPXmJ5vW/EMqt+7CXLQMLayiQ6tsrhjaJ2G/mUvkKzQKlYodSX/6WJKpI49Vp1bSUm3QWx3bOW3FSUaK+Q9c+wD9L/GuUP1RIearevbKcooXhSFu4WqbX0ONL4fcJEw8ZY+K/FySdCZ/0B/MZgnAsZTGBBmUuLAUm/t3xLhGDedtAPYnYwXNSpE9hrFNT2fAGOK4VZ2Gv9RTxl9jYc2UsdBg5mcbqfnZA1fzX5p/6LKX7bqi9mGzmJU7h3FTCMQiMa6dq0Pfkhrt+gMPzDVhy9Q0M73hSLcGDi6xSg5R28OCdb+nvCvjOGgKH/6UWbtJM01fq9OqOIvKegPlt57hwcbVovpAI+87Cv5z2tpBnxX0fsvoIuBPjskCdVMtMzw9HCYahOHpuk5fpAn0b0nEv8IH+cOwzSrVQVWfESa7d3hQBYBg2iIDvP3y/T/4zSjc+3m7HzT8xkUxYuVamc/xN6yujKENuRtMg97HCWYRKYB2RJ1pK0OzJ4Tk5wpLhyS1ekssurvsSIl3iICRJ9ruFGAAk4yl+oBAiQPkXu/btn7gnJ9rJaf7xfzoA44qcQS8Plsu+JgWLMhEEzyuHYw2stIdkM6+4Lsv/yrUxUmO/UkLC3bkjQpb1UkdhnpcB0PsDnFPCLcSX+IJFK6tGSBOzQefyOCDf1ikEfVAkS4AQLpkbwnw+eCUs5Yz6UKJ6i+y3tkzUePulivtK81tBxAR7UpLIM6fyClf38xYUcC6+m4x1St7GvbJ0pz+npJsV/ae74ku0OMlVIdczB78tptEgVVhdovFePlw6SxgJfLdZ/ow8vSG0LXNWvxJwmYnilCwlumIQT3PH94seRbm2XLyeWNu4TRiq1e2f1dxuYhVO39UuFgwr9KOI1v4Pdc2aHWtUgTS+J4DfrXnUrmGtz2zIgikTOAdrlcrVQNHjonbPIyiJgNvq22bhHqcTkeiQptqkh699LaBQYOXrtfu2Wn1uSyCxDcYqg6AUt5GaELle7wjf+LqKwliRolkUBlNX+89N50TnN+delhuDAZx7h/x23Pk7+m3cV9cvVx+ZoJ9+cpMvczxMoItD+PIxgBeBCcpROY7OJvt43SKWPrzrRUNqw49SzIECKpzftyjS+XGf1IahtuCJTroytmzp08XgOA5SQaMUMrWgVMIdS/1C62csva1hCnZihDzMDUbWTzchRQrI7UKSn1tQssMQv+wkTzYyZjW3lj+B3Fz1Br6bkvXfXK14za3KbA3pUz0wpdm77mDrZxRXum12CTzNlRVK6z63dPerNmbspxpMe6rdnpLMnRvNTkN0oJRt5fPJKmUK5LjcW65WyAduC17jgsD2wkQWI6w5+0NmhWDdtika9Rsfa/xK2CBsPfh5L77R1XssVc0YdGD9BJODlfgUOFj0sEAkKlRDb3YYgvjQzarLiPY58TdT1hr+Oo0dLRzqJo8rWbQYP+BRrdwmEs6ZfqzKzsXOXCJX8O2yLE193WbqQzvlPwCMlXSDuVp8H3w0GVtrRIuEENfEOrcaP0Byz/Fs2OLaFRD9XUdK/3pCGs24HtmzeNyE3EWDF3qi9oQuoJWbnNCJrItGkKT5K1ID9F580KQrZQDijblnNxF0qjXCQlsxXm8qRREsLgAZlSaS7RGdVEHqwGmh9CzCd18sqoCxfJYCRlt3dE1P/pseyfURSCAKOOEWBEQSihe7LlgZqDdFV4IP2cqGGuqKWpSpdJ/+oK1rb4a94SWdzoVXupanBCd3Zl5VSy2Q7uwEKyjVNqGrmckio24tdmzlbsgPxohtQGe/FTZhiojeUYuIQtcBqFg5ncUR1zQ6JvBsHVFf847FgIdt8UpU3Udg+5yCB2icT30Lxiyx4ZmatVM3F7CHuFC0VGQnQIssin99FFkBxsQskQHwgxnVO7qwVyEckMR/lkwFH+vXUG8gbx3apra+wMOWW7kWx38eXQZqZEO/tpwzPXlS5LcrzVBN3KzSFGO3l874yuEepoCVRGxEnvX4QwuDWqWQODrJlJyoZzGl6+Lhf8xTyvEOSdu0N1SbG8KrOTTYZluk89QwiQiZyHfGd6HhLvcMYcuGJCGRa7ikdaolrrzTdFXDDpSyvgTBtWolbi9FXgqR2eiLavGJjLlkmBYupUqHLfnFVVCMu6A7kEg4NPUjKC5OcCXheHo8VXhfIE5vNluM9plzsz73JTUWCA2HCGi6Jt/KKE2nNZiTW25GcS9cowHcXeHDqqLnZ0fGRWaFpyMem9qWA+7NOQileAsvK7J411+wijqA3z9GRsoWM6Do3eQUlxj756IxVlQkYZO5bGbM+923jmBvTYQ+6PSNgN4TSMABEJLw/MJ9MofKjiiyzuDd7BvMk6+NJDN4LJLBN8Bj+Uv31i/AS1o2c2DhVyxWVzG2d5EZzSjkCDc679MS0yyUrd57VuDr0ARkiA0whlCuvme1Ben/yfwk5yV4/6B/oH9O4pk2oAazLN1DOOQMhi2tEz4Ql0PhFyyknVYbxHpHjgvOJA110UfyUBIu1MuZ4efBVe88lK272MrmZFCBniJaDKj9rrzqa9oO3sxqXQoiPXMjTSZwWGWo5F76YfzSt1M3RLGBn6StGdX5tOkEzDZH5ucGN3J/wtYWx+ja1PvVVQaMn4qyFEeuXt3LthjX8GQ/AuMUS3ENXiNoThrpxc2sdrw8iufcz3XTYedCsmtsmjjqwU5y3vxgl5xDxsQoxIxsiYFWT7ztxF0Ri7AWiNFtoBGM2d24vGnCz4gf6mie0kZuYCeDtRAarRSckPgvVWZYneusAXWrT932eS2e5v6qqVGpUgUSEZjvr8zBq4tbbVcu9eaivFgCW62Ceh3whBFaqJJJeOWTqupZPZjXCzBEbMGn6B8UyF6bgwQp0f9OqyHTCNfUhOS8vtkguprVUHzjsCeXnAu0ys/nSPMSVYuLBZca8F7S8wED+Q2UeD9fwzd34MozWAyGXvsL7CWVDbVLtPFwxmO5+FVvy9GOwjfjMYCEKFx53bMQ/zQcrQvyipqi3hQDxozdrrOImgJnUwthYyRzXVidMcxl+xEHBQFclITBV8KpPOkCh3hNB/XLYguGyY4A1B/rz6R/9HSON9fRA5zp1X9KS3/JU0AGuWVykHzKdeI/a6qTUyj5sZmWmAis7MMRhVB9qsruvSuXRYLX6fSDhPGnnPeJZB1N3Pzp761E5w8OY8ju2IbbJqnGSHrjEJ/JRue99IIEdh/F/a4ls2QjrREdgvzV8N5v9+HgUpOIdm5z0YVDk7RJ9+hgesdX5ShfPgmYifFbdR+XiglKzpnhv5idW7GTwaA+juEvIdFYROrNMfnwyFs8iRY41Xm5P1PWup8aqj+bo8SmLytHx7mw6CQYJ5lcQLL05IN7EUrVJsFxCq1UU0/jRc2QJ+7VDY5B3jckV3pnF71ZU0OwiSKT+GEWbsRHlBXK9YS1BEfQWQxx5df49OqLq8c07zA+5AlDhgQraxyu8tMXS+htfUrBw+y8P6xGhpkH6yHKQBYpe4qsvmkj+VjuUaaiPa14PvJImv/HHSFTSqte7DYZ6s1itYM9fzfJ0gfJfN93QmvJ+J23iqv0KdefGsvgtplFqpV15Vtifn5e53y6UBVz7SGGFNah+wJDAcZqbvqS1rHTb9Z+x+dPnJoA07Ab/dF5vHdk3A9362LOSwy5sZVaX/+qSNuqB1f6xHI82EOvmZcUycnFTAYIFn9ecAtjZfKNS9zg8DuImzF7+yHiFehZys+KHoKyun8RUA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54660" y="1600200"/>
            <a:ext cx="8232140" cy="4879340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.S. Restaurant Geographic Mix</a:t>
            </a:r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ost of the large national chains are still strongest in their home region.</a:t>
            </a:r>
          </a:p>
          <a:p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1219200" y="6477000"/>
            <a:ext cx="136768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latin typeface="Century Gothic" panose="020B0502020202020204" pitchFamily="34" charset="0"/>
              </a:rPr>
              <a:t>Source: Company data</a:t>
            </a:r>
          </a:p>
        </p:txBody>
      </p:sp>
    </p:spTree>
    <p:extLst>
      <p:ext uri="{BB962C8B-B14F-4D97-AF65-F5344CB8AC3E}">
        <p14:creationId xmlns:p14="http://schemas.microsoft.com/office/powerpoint/2010/main" val="25951369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otive Purchasing Map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eer supplies all wiper components but is the dominant motor supplier.</a:t>
            </a:r>
          </a:p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930" y="1598930"/>
            <a:ext cx="8232140" cy="487934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930" y="1598930"/>
            <a:ext cx="8232140" cy="4879340"/>
          </a:xfrm>
          <a:prstGeom prst="rect">
            <a:avLst/>
          </a:prstGeom>
        </p:spPr>
      </p:pic>
      <p:sp>
        <p:nvSpPr>
          <p:cNvPr id="3" name="Rectangle 2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Op0ycGFAinQr8Tg0aHv2oVInweFtzvEEifMKhzZTpKEJ49HhqRF4fmxZlZgCWFL4rsru7pegGBR3eobekY0UxROFdMbwVQR3UxZWaWN8b9DMObNlwFU304IlDvG12IVz+1JdlQuu8m7e2H5/IgDVXgntceA9S5XPpoxdDtaNyV9KBSKTOf6IfjP+DIhYYD3B7EUWy8rxANCkMUeXq4/d4S7Jr2bunTtq0BGn+lZvxopQB/uqwumd44J09caxXwPgWtDeDLfOfRNDeZgPGPGF0WRvLpPUEmV9pydKj+7Wy74yn0LRxZA2O+n8QDpJIVZQ08RLfNfLBRPT0JglY/Xxrl8irE2vCC7BMzl+lWMpdJXG5mxtV5q4lbv2oyijm2nxK/BCdE7DUMjKFlSxHqFY5hwCbXL552RplviXA/JSe71+L5VKa4zRji99y63q/6WTOZ6VbbNbeFXP4GjZz+xwpwz55MOOFaz51NDGDL03RuBaWz1cTyuhse9MxE81d3efK4J41MwfSYW6OmqQ6crc+TK9seW7MBaM6ziMnWdfO0cu3tCJDd/emgW0ma5PvF+kl9GlCbvwtxNMWsZTj73GXS7U39xd89gIsXV60G5xU+CXcB9HhFAiwsFqt77sBBgZ7h2jJ+Al185dzhUbLgmD4YrdI+DMZkMmGGk2KiN1XTHH/N27tS+1I4m7Zmb6arpqY3Oj5i0C4qPc3KwWnrUVSuCruKV4Mw54a8Z0ACqyC47kN51DxfxsLSrPsgWia66paCeuKDdpR6kJLGdXbRHtmeYPUI0MSSKa6TGNYiw7kLQ+c1+h6sdw5+lpkoc9oQd9P5Wg2+O2W6VAo1NF5Pn0cl+EtcM9SlYC25d4xVkKPYgBSWooXHgZ1roUtposBMLDhZRLEAy3SSpT4O2w0xWmTbkDx2wAJ/cv/J3puRZ++IZgg4x0Ikl0Njhsn8O7cxSzG1pTTRFqDaKrnkxQBzK+KVn8Qv17iohKq8SUvENztuRyLB5IrAZNIK1pID4cAfnEvAf6PyBhDryCiUi+jj6MtSpXsTfOXloKn9XN0XSNM1VNZ0ZpNMI8OtU853rh5i9OaDtBgWbps5dEDniq+bOewzZ+U2ou8OmHyTHIhmMRPNgJ6sRUcAtZkSp/LxD5uAIbLThbVQ+d2USP7OSiHfU0egpvKQ4JfvN1e9LKmbwq5rs1Xoa1EpOGHvtDAhiSdn5Md4eigSc8sDtPNPLzkbiVUARUNLbW4kWGVk+08g3EKVjkGL706h/AVfO7O2dmCrFOz6daQqO7+jtHVDtBC4umKVUASgBx7aDmN4J+vfYADLm2WuWfx2h/UFIC5tfchQXrVHxvo/R6/BJDAA6+vP0FE0bob820uHKC5FTVYWcBWVsFWzopCS0I02mVvZcogeJwkGhJRXYgFbAQQkIJguMZlL9uH1tkkIFQvbkaYWEDBBlzfU3EcSi4CikI/k3OEJBhMX2E3uO8gLnAQ4AcKDnpx1QEGGU0YBiFB9442XzzPUffT7+Fhcqy2QI/ra3YkGkEswD+MJzeZwyFe4j9NZBEc6vRL1DkicVSiRt2Dpw5jq5iS6LeAotxkESl4UCHXkJbGI0djw7NdtJxXh6pzDYpVF+3VEGJXmjCKuksSQLf5/AqluRkFZqCm8ByBWW3wSef0YJWjF+NqGMVaTjYF2TJ0+rUvPlsBNWFovB/5wbwCr9uMsWmINYuMFjUzHq8ebkg588Q+NRMFqaqVX8Uta3fyKMijklLiiyIExz3p47Qxaq8cEgTV5h1cHF6//kY49km+XY6pg4I5ZrJ7rtZIbOLs1N1Jy17zn8lWfvdtKPZeQAvXIHmgmqKkuN1hiz6eSj1EvWIX3S/sDKlB76GryI/Kk1hsFbvPWnrhoLGZuLU84xY8bs6tzcJJwM8q9ywN6F0dlpXgUXiqS8Ao1Bq+j/tJ/BubBO+c8biBCRzp3sNrnyUJDeV6XTel5C9nOrYwWLU9ynQcSlngNvD/qgwO7/YRxcrScQKlYPxn9MYD0DfhabM2U2PqHnFZ4Mq+6YJf+4Sbkh0AP50LKOt5JhMXUnk+tHhnAvv53Vq8JUbyVlpeVQtRE3bzxar6iohTxnHdMDdsLxg1N7t4iZsOD3QexMEjDCqGLR3viYcPk+w3Yi3Vk5jEu84SpTFHKqyakYCgnzYXwe6Lr+dr5JoRB45MmHgarvFAP/rVGcxS7aUz5vxSZnQPZ6hWL2Qhsh5YU0KnXulHyXKqiWe5RJ3S9+DwktqMwX2zxofvOSIKK3a6zkPbtvCvENB9WhTiON5IeYssU1t+799EW536WU/I/6ZdOGOKzbvr1Z/4BBjpJ6itLMxKJdggCBd0Q7EOARSVjkRDVQsVF7R/I8Oh4vbHiFKA+QraoGnFj4S6bEUNhbBhmRnVsA0Cu5rSX3h02kKktrEORt+37OkNIht0pTDFbOWiITu0QP/bmoEF/Jf8i6Mq5xwqO723cowcC69m04pvEAg0OLm1BZhRQgrxi8AYIJJ4ay3s4bRrZ8dtZmPwD/0DRC7cIwlJ+zC6KeD70Kbk6fCLTKz/w62I9zwpVWwM6Y8YdzEZR3FHGbr5rTVPbqsIqyZxyQtwTNQ3IcDGay25FLkDQ/uxvsKsXCApMF8Fd8ZJX4smGZt70OOy2aht6qHDvY3Kie4PGkSza+G7sa3Z4Vlvg+l03OKg8Ejk6CMKOrz8ytGzq+mB6+u1ezDIRgoQiMyG9VmKcGMkb031lcY2xsYIeDfEf+fnCdi2W4ZJe90I+O1FPhTexOv+s9vn6LRys+NlEb4+twD2+dS0rw2kSHxmJL7xXJOE1wUygkRv4rPUotLt8BGviMAipYwUyl0QVDn/nBvdl3w19N84jUeiMSj9Q/6395dVcgvjKPJm45pgJOO7d1LJnLglL6ac6VtYRaPmJ9YuMflvFyI5rt3Q+q0YMzsU39rF8sZkcFaK1+VAaLcJ4nz6uf63wuyS0LO29quAzM/Uxanx+eLAfxnu914dXtlxhGuWERWmzKZr3Ps4qJyDt6oJ9rnxrZJAHQH1zhIlK87ArqgDB5fYuzoZ89UFseIB4ZvbkHWlszDWFN/FbUlBMzdPTWnpEPD7HsUDrR3VjAuZVw3h0D3jPCmDIknKZbED+VyZivqR5GDy5wxhZVTMZcBuh2R1m779eeASqW36W0VUNus2GBTdlOZ1s/xGK7iT8RWHzVcFCcDeQDJ59QYE0/hUvXhCm4MwHBmvL9FmsLDQFSuGMBQ8QMDk7R+Q+vquno1mHlY0ulba/WrsGrW4nSEbwHxX75yBAjeTJGVnINFKXCWQoDOCwyQ5qEdXqAK4NnJrlATKQ3nxgV3tyPxfxlzd9D9H3tBnMwOmMSjimjuYkyUu84fMQpki1JTesMpR4+advj0ioA2njmo6lzCZ/jIc32/8fItq6byeit/b/rNtI+uRVUvoiBYHNFVIEmrYLw2V3pLy4kwJwIqN3M7DvlXwv+bnxthXxHuz2O4k3U39E4k1K/CPbWj5E74WijO4FXbR7CEvtGeUAfgvZR9mr6gwSQ/gT7/OZzSe3PUb/QQpUj67R3P5OMV7JphpvmQ4NYaTpeyI9RCoNwXpJznx8lytXwvS7RBGbJUvf+rFkhkguMQdTV1L7/V66m/ap3uuoXSIRETTVy5sXLl9p+P4GVS3M9WZtjR9Y4ECnyBCWzZwxSc8ed97/qeJUeWcgPd40QvBuGdJvkmoYlbDDlmRN4JJmComAqhgMp2PdbGaGqJLTYT3JwnRf70o/DAumh2umnW6N7OlCtsPbWanvNplOiQzbWXrfNsA+fwgY8KwhcxGc997hGookcKAuUCHQOYmsxFkPDQUMaVs5ga24L9aIDsxoJC3y18M76Kjxhiblipil1at7hVhH3QQfW3wnwD7RRJloNyjB49qjlpwG8CHAu24OppxXfXkMqZTFurr5QGtOBR+MXB0h8/qZRoRAQYPRqBejauVV+cEDyfGDbTU9+2dJ3NXnit4sjgMJoLW+RedZ0zEya6MosMhTuBIBSBP65Y+R6yPdI3RArQuFCtZRfwGbvNMsLBhA3cyqcA1Ezt7P1P8t7Jqt1hN5jTJyrb5mzZhgZdXUZ2gzIFBjpgWdGn1NUparOWciOHHn1+TnigZE6t2MpcVKWB1IqUVRqznGLphfW2udlIvygQGg1IIxsaB5ocF/k29EdbF9c+Qb0q5q/oaZmhQVRkr63r0JPTAl6dSW8RCk1xbZWnwlHjKwDoo+vUppMCHSN76N8nw3MbTac2+v/BaEcLgxIOs4e3MVWXs1rVboetX5SAMBiwgIJXEwHaSDlsJ4X1x3iTRhi337R+HGzg/n56pRUPNk99oSLY5j4KKoi+fYWLRa5Y9+ijdmS+HoA01cWdXlPgZ+mKf1/WJ/2oOP42krr35noQ+H3CMsXnUXrU1xAeRwL3U++oLLiK0HzlDirxs5m8MqchookEYe8jp5O1OjU+fIUPDWxBxHibiF2nfnYpBPRJyvKKZWsU7Jd+voxnXenyME7i0klerq/wtNkclgW/EuGi+TKrO6fCrYCNklv48lM4kEZqjyRQUCEzFtqIqXiG9I726KXohhqZztywCW2JGjbkb15h/v0AZ/MRzPSZ7wTjUJ4PevGS/5qH17TeCeXKHc3xCoxdOqM1uQtHROcAq5/Dp0j4Y2HnmTlUioqRwyJD+Otut797kX7lv+Uyjm5iQezQlBBule08yjAZzzj06Gb/EKvmDpOZzgKas1DgqJF3TQPuoogUbVSkOEaSyEN7pv2Bf4/VvU//5hMcJlI7vRHDSUKEzO934Q4vOL941nMLsophhDQwqLRCzEgRXjnV5Jou8NcjsBJbQ3AesHgBwHRGmvjEQUSddn5giFEESwyEi2gaTk6w8SchZssMSVACnzSRTpeupORnWEFBFyUaYvzfVlw+N+KTIPIOQ4J+oTMbSghH3aH2gtR7hc7Q8YnhdrziTUnwiEPzifBo+mMDKGdLgqaVHFoPT60uVO1hM8+mO3+UhI2Bu4tz12IK7tehWZe9rFksttnJ6e2MWWb9Nk4G5JaiZcbiqvUkEXLNyqexvSLnL16vq7tvSN9PO/G+ko4C7H/Bq8zEgIjGShIua42AwjwlxsCe9cl7rmc+z9PreXa5tVSVmcKSvIfdBydVPxHNLqs8H/FCbRyOXY87QotRl+uMaWbgjmkjBjucUS4zK/DW0R8fj/VF05ZKcxakSS5AAJHl7sqI5Mn0wq1sanpFBIjjscc8pBGWvSs5cOfYOuJTKfVs9dsKsYX3kz5kkr5qL21nSA6fE6Hne1XXlbhrpOhRFqWz4qFhWHd5BYHw94X1UPTefLoHIXqgpEioRKmvTGBDGdptcq1TIew4XR1nD11OGDcR8VvFiWxe52EbX+EJj+Avdiq0pfpe71a/wrTBOFiVMOP0/HgfB09OjhbtT76/eBwyjLaXEYWd+kmjtGoIgp5npDGJSkJ50tyrVQGiJ022Isb5X2s/uvLUJlGnkXbcVKJl+A5R4vjIdQEfXvRqGeSJH8xDmHE9QNOM+SultICGOKrmXFgKiEzmRBU4ytlTflHFSJ3NKefb/BNZJoI3NLFqthX1FCJ8FwVkFk1CJ+ZMiCR5347pjRZb7TPR4JA9Puw4AT5J9+k1tM46U+h7O9FoJS87XGxTf83zJ2ZBZrUF+HPeWQq+mN0uXO40rv0UHqtZMt6di781V0c4I2PtjKrkIHEyT0Kip4bFR1qM/nBPhtEgkpxrmIUrjQ3OaUDzGdDfIv1uaEycmgiKpQ8tllukCXAGBh6M3/K8rhMt6rWDV4j/yZFXxs+zL2wo3E0YAo7JBSpQlNRLZFP890bwKriWEtUTm/Lx1POl247Zus5+3tJcX3hgAZy+AR9BL25lyl8A3JDigrU7rlIjVrSSajkHjA06piRBN7vPFXuMnvWW5Dabh5p2dUv5KYnoPbZBI7GfUgvd1OaGw9WXOnPoBSrwTlC6kJiRzF216mvXTzEbO+nw8rAEKVXf+WPoB6aiFykpfIAxbNiG66Y9D/IrSsXkxQwGo6jjWdHUZUfqARZT+fvZPISrsRQcHHtMpjvDsW/I0X3e/0OOlRXOgNNShOS/ZIZscGHr1O/wZBcoDa8xxVszRCT9wmLKKolBFIUFUt5DW/PFoS7QIuKBTqJuHeK/UN0miWsqkap+DS7az94TwLVJLftS04pJbVigpfpHQSt++U1br0XQt7I4Sy0+VWQ0RzjnMux/6YK+PDgmfOBOzX/YfYzygeZsRwO8NRBrn58XxotcvtF7U372AqM3ex+PWCcC3AoMCZoCY22C+uw0TBBw2vTKgG74it5Zhnq0rsV4ZeMVT1vpjcOOt2x359RdSaXoc7k18SrkXrQfPpsu9jCL3xZ5ApdAYrWe/wHUILd8L210tUIGNrAnMr3lIREN3eaEqkLCHL+tg8JZbt+3rFNLPipJu4yFiqahlaNYoQE1Yqr2Fj8GGxjTdVS03zTAwNvNXogEueSZGa15eeS1yu9Qi5g+sHeQYA5gMusdybIpvo8SmGyg5u56wtOeprqSWr0hJV72AEGz8qrtV6ZvfCG38J0wfXf4FvqXpIIUIJe/T1cTCIx+bR7mtfh6xbj0nr3NnA6mYa1z8PQKU+EVJqX5GKODVPbCO11IilFm+2y7N19c0ZS1t0vp1xfmfG4WpOmu3pC88xx1Z7MwFAss7r+WcWIS3ODPKcKgCMbIxldYhOlPC7MYG2nSfgimRIq5SNtSuy4ip0POei0NYz3mH59/pXaV9OUJW/lglFW1hgho+w3C2N0Ot30j1AkQr+oQO3g8PbngDA9PDY4KEVziKcElXtTC+hTZo7pUMY2T6pmdPKnRrW455zP+GrFKW4udDksdyPd8yalQmT1bMi1LpwirTX6yOodMBv2Bu0zclrMdGuzZjXxFugUj4wpdlezG7bd5cfU/8oqoL2gOw1OH8kABzFJM8Yz1kBLfecXsbrnfLfhNe4XBLAE+XrWWvQC8PUsvDFDPKXfPEYmLT8qIIHNTKm3/YZJgMx4dTbES7VW02vLzYOYPdxkidYBmbU9ceP4HlWsEE7eF4mwlO+M8L+K12GhsBHBHjZpN0qhswx7V9PIYCL4kYUD/nkWiJEhdGzZiZ9/txAltIBjCGs6gBHlnQ34wr3cEztNXpI2PQgT6rP3GVbWqNOWpmQ4BsoliGTF22zF7hGkrcGVKdMUsBCQ+Mqng1mMVlcjjTkjuleBBtrA/KZ7R2PxDg65M4uztgKoRUnWGXdi2dD43D9Pr63mrthm6RgMvfDNRorig972OyNdM5TqkJAPz1+C52vS7pFRgHHsNC08b9VR+PU7IKOsNfknaUEWPnf0ZOGze00F0l2VtX+J5FppufvQVGqz48YrsyNB/cuD92U+7VBcwmY/S9yEi4kTVu0N7E+gl4VSYBaiBv/OfZDImK0I188fXkk1od7EFmbNbBFJs9senbHsK0hgSdVh9fRqJ941DnLmBfNyoFuf91F85hmkulH/jy2QF3IeyJ5aVcaErWIwcXD+oZFnBPpTr1NRSj9whVrIcYPFyP9YWuG3eyNqOwha21Y2gpqMT3LO559YOeX7+1OY9mArpvzIWKLBlF5u+tp1v4mZuPslqnsKDFrTcgAG8N4Tz+ToD/Mdb2DJMd6fsNfd1whsZTSt0nW1whH9yaUmw9ja7BwQuHR+3NwNuJhs5omZkQfgRjybCXW+1nVQ/lS1Ey7qgtH2RBL6B/STTVzqO5Xty8COi1FFrO1tHjTKPI778mjIRSqYhXSqm7PF5ZDXX4V8B7gN8hFGbUUcSnguwJ3TvFP+4hLJSGHeYMJqTfCBlbguBv6Fi53S6HCfNOGUthc4O71JDyMyhlINoHHy6xfffTBb+RtsSfLq6W2rJYeUhlkPlYY7PNlprol8+VIYJ5Dekgm8k5DvLf+bEg8KYibEB69gKcco0UvWvUTSKFce3sh/QGniSahz14U3pkr6pRFv8L1G16RwYx0tC3J0L3TaLehC8MBxwxQpi0AYCNYzgEAMoh3qQXVp3K022zzyvO1GLEOXYIl4fBp4C/TvsCutrqCLgvAR34+E/T490Kj+SJyDo2XrNiRMHBv25w1Zx9M473ya2qd+bhfJuLgnMomVLcypK7MD54Vi/0whxrGFMCdQZx1pkJuA0XOleliFWbBgYQC8dOgQ5bghSsL1yRW6jIkcBz5ciNd2E3rkEyYRZHLHAus7GzoKdcMABs/IsXpvYLzCg01BoCiJJS42UPB1npK9nipVgImeBdC17tY+7EG9JcKTVsB2zAuwPs8pmPvi3qKTJHPK8IhlPP0kBpDM7izSrR1XGtl/X5IdzV4r/nWGrplGl5bilXBg0klUDRIGUgN/5elCC8ZUszaQALbG1kLK0ZMugHWFMNjIrcaqpaC0BoMurgqr3y/gXnjhMiIOoHoVsJMioAFdNiKmoaE2N3id6BE+T3x4P3oVyzGPOIzzmzooewowAWmA8vNpLwUFv6SLmMtMzDZiORAyIEqHf0yR7TlYwCt7YVKFPUkEKipZnG4FnEwFFrvsI0Weits9l4fJodr1XbwU3yfmsp4vVb/0zB/bNbDITiCU3kwRvrM+EkXKtwLyIn53gZ6MM/0/Yvnt+q+6Vi+pkO4HUw+tJ1yq5dqp9lIub8RSlUrPmNrfRGL5kWeTco7ElUvpjwOi0sGxmvWlEL7lsK88OqlSjYQSv2g/iWC+eB+H8N5eln75OWSjHm5m1AICJ1d/5I355XoVB8KDemfK+6Ggn6nShoVPZasW06hIMe0BbyOYaCNAaH9Tw3fFX9sQGg01awMu36Mg99FJiN1uH4r2Te3iRYdiYuyfR3I13MmDObtkHgi+9K/tN2VYBB9ABaIk4swCkzx3T5G3aMpQDvWbPsrNGSSm1ck5zifg6UjSs+6/zCOM7Wh/l3y25j75SvUqAufq7kLYqhWMQ5fRHoUCeMW5kBogLb27WeYqKjYkkZP948dBYvNz3I3/qSlKBm3tpJyQ/KzyjPlBWN3Jm4tVxLEeIUDsucO6igqAkVOiHrdIQIEj8oMl9f196sslNaBHEmqF/PxhYN5LZfEvjGcp5gzZ9NjYx4uL1AWgzhZnD5a2FPl5hkxd52fGBbM6NipNBNLkQJBdKAER+N34afc2aPI/t+6ReIYM9po/ydcmfPiFcu2IO4nmR/ZG9sO43QCeY2RwUs9z2hewZHMp8WtgL1mF9Pbep1S3DiLEPSx0xUSGow+5EkWwH/QPyf2d+7gfgjXU1CVBMDRrA9Cwkis0RwSgC9AND9QRQKRFvC2s5qaw6l2n8em1I2QT60LgDhHEcwF0DI6fy3DqzLiLe7nD5rItncvUq4FPJJYloz/NN4fTi7FHlCEL9a7tCeZYTn+l7OPjNHqjHFeUevwJhDpyNRR/1M0TGMVM1aME/lM43+TqgGqY/G78YGKuv0Grkx5bsFVX1w0dZM8QGQr9z4YKldItyotOXs4R9LERRs/v1B5H+QLn2FJPj15vEV1pQvqYatLslS8ZkLn0bsSqgYsaiSYeaWEGt/npQJUTIm7osq9CLqs1m/UCy7hnu91HQT4fZKkYvuEZ7dBU9d7yEKjelH5/gkXoh+GuwlVQ0EIvBymQIxFwxHAyS26mH6kN5WgpjGos2WPn9XmfkmYb+9pMHSMyTbI/jox8ZZvD4Ucq0rZnyKdH7gVT5XLHDecpKQcEAlCP2crQFNgqPXmMaPoR78r2uoX2gYMeS/SCWaQ65wcNy7i/oVeIoUjYg72+XsqwwMSz/1VD3nA5ByemI+mVi//NEnUwjV2tkodijqGojXwUjUn1ds4/M00JymtCpyEpYglc+jD+vNDemvDfnFwcwzyGf9QnMEzyULQOQ7oxd7O6YaMNgZ36a7i7dbV6d1WlBL+IfbHGcHwUUrrPTNoYQay9Hksi6IbtKxpOdj2H8gMqnI8pIuKbrEfF/wyDD5IbL41eR+WC7rsHDorjpBSHrMVz+CNhASfRVfSfkUIMi8WAauC0F3dKE6jJg3tMZl9qoEPM7G6xhBI7R2hF4kcRp2Mkb+aA4YMcbZWqSj8tgfW377Wxfxm4/YFsuigIXUOAho5J6eiJ/OcemmWwQY5iDFT1puQFonlUitr7LFwgfVgLGGVtIG9vfwhn4O4+Mv/THqTDRyWyjzfNTwACA92rHDZXV8lhfjNYIb5ROgI2zbC/l8+b5wXUWx03Rv+KcjIwosMq+p8RSqig3Nr1yyTi2Tgzqnkle2yqQi3dgjHUPS9KfgBRLvBl3R51i9MfefEzEr76+KJ2isrcEDl0VZ/HEHlTXtywvAvH+x5V+uAi9S7avG3zUAiMeb9Opk0QA3JI1lS0koHMatl/DyYFeN2ooAcmtgALYP4+tKq3zlPeSgiduvN/w4p1dMYRVr9vO0BHDhAYnSFurdIB4uEYtagXXGMlgutRE1uOjG/95TT8NIy5IOXMXteCs8jNeFWce4wrsbZbMJqfKHSBsaTDgJIqY+jR6nfkgpZp71MrFcPwNUgjpES/fdHkzZXGVBkLLMpCXsrExKBV/Lh1tJjT1PRI7OPINddTly2BSmnYZ8YoQm3D2v90B6E7/hH0P0l/TNiRiBn08ioCuE5VcXFCqxpT1Tbd+6u89pZZTKnMrfghqH0CaxlaejIYZB0JYrJKEYfH8u5KQL93ngaaO045shu9tG0OTcD/bNJt5jwdViMr8+gi95viQ/s2GWsfKDiGlLfMxazjDgr7P9ySJIl5PPCeUQgSR8SyzsqWA2/eIKbO4B5oKHPdfeuLktz1MBg2jEQ/QuylSpQIQyutfuPpxybCZ1JyTRT1hGFXcsTILGgKQY3zXGMY2X6Dq9oZmIRLIEUmPG5Vs/65PeoqrY/pFzkbFklYDlSsBYMqdufFh5U/U0JmGi2TKSr8O974TYORY4N76C+QgbR3sAWsFd0X4Jc3ABo2bDdFFLUIf00wl0yeccNkKNb+EmWBzqqqZLs8ttbGh2bFmtk5pcORHYX696D8weX0f8viP6J1LvJ6PH3fiSY2VoS2fWAWLxJj6HQ4KAZQBV11iOvZnHYSCbHxy/7MP2GrvoCr3tMgKyYeH6Ng8fCj82PWBZGdxOXc75ABnDHY0a6t3O/HTRRTvSXYqSLWUDCs4zmd85pxm5zgkCNhKQluhgYswqF10HjWn4kFjpRUXJCtlDtmqV705MMBt0R74WTO2dKrDoVGqFlK8zlX2NcCqbCzhbGd4SM88xSsLtctXAfvHs2oYKwyBEXdnL8QccMRUT3obn1oZmN2sdCEO7M+Ke/2Ho406tOCH+j+tiirz++3SqXBjTdOaYdkWGHibu397KV/w0Db2JPVk+6ENOK+nLA5aB3AxSAoaxd9jp4lL2VjJgPBt8lobp+ekc4UCc49RN1tei+gJgRJ4rrTL014dl7O7di2HLExKeMx2gTkQa0mLW4vWlsLWjqjv02Si8+qKiHxYnanyzFMKYldUs8WO6dp3EcKtnrbZkxrzBkVxgbWGArDcQGW9XWldldzMi2lB9pmzc0T9hib+R3zqSVTIOqdReD7pYEQbRGHHLfxtdxQaxF9hxNXFg9psZ25UdDUULRd5juQz5ocJlI6R8e1f5F6rmz+uiz28MzLN/sPkIyL6/gDVo9srXVHqaNwqS0HbbQouSANY5+5Aud7/5m+VQKQx5OveKMA2quC7JnqwPORftSAJZlbrUYEWWbzzIXp3MWyU+gz6Vs8G3oLmDc1rQxRECVqqyM1T6yZcdpA1NpGzXAwda1Jd7dx8c4YDurkPPhQXBr1gUmZ4rBNKehd3Jaq7CLMNxNwDJfGU35qdLrl0wiqi6QG8JvKiIOsStp1iLAGAbsDih2/1fMwVly9w+VMUdewJDsNjh10GjPgYJZs7u9nYvtfDk1b79LINICHp7mE3Sf34F4yA1mC2ketj31AjYl6Oz/+nrKTJjbXPh0Y6KdpQ2a4hnU9czhNdG+fi9Vl9G2Hl1iNJhix3yFRWQhxs50qcMf7ysd5sBIdM3S6ebzD9Vkv90FGQhDqJjaYqt0kwYPv+SxhL2VeMxbH5nZG59g2kDtbMSKHEdQF07kiWLw6PwHu2GwkzSo9A8YscHWtPBwPCk+GIgXg4L1LIhNiFaduNprxcHrGQRno6l7Mi6UEMMfasmxDA9EKnTpT2Aud49V76W8ku+eoBr9GxmyBu3upVo6hD1lFfGX/kYfEZfC/YOX7LyoPtSoTlaOEX3ajNuWboDPMhfURs85o18dlOoASf5rDNWI/1v2u2lT4va6GEqF0XCSKcykKEtglj2bCAoEA8PE6aERqyllC99AtqOHZfU8DN8BDUAKouQ8oMVAPYBNleTnNENdOzQIFbV2//feg5zJStJKttwMlTfydX0Z3fPYeOw/VD/c4g6toLqBKrfOGwPo+8MpA1lpYQFRUT1BzgIxayuD5eh6bD7966AN/37ha2aGL6v6BpBEpYS5sEXtBt4CCgFb5MMJxtaOt+yT5YAJEEuewwuuZ5UZQHP6KCEFe5EfNQyVd9ysq/WNFpJ+goK1TVb1Iii2twn1tofnRRdk0R9dtqaj9xofg2sE+t4nIYwIWL6bKrbhFk7oExUBO/hExafsbMsE4n7eIcyaOwyAhH35V6kCJBVEcNFtFseHAMZ6zGr/VZQxWnehQ/OsaR2XmkFA09zrdyd6m0k+CYKDRCI5Te0DP8afkmlG2Ea8Mmh/rFdponjw+SY9LcTlMx5rSTn3cV3QjzCOGw0mogPrPqbGc/GftrtC1Otrtv0+hnr3oo1+1DmDdUSQ7hxqF+VMJbXbKEXCQodpaEY0Hgv9Tk1TssOWKlY0I1uVs/Cq7cVpKuYvFg8Wm1080W25Lyr8pHM0BB4InFw0nKLrFE8E9VZZ+1HCeqJROpNyzz3+CKaLcTspiZOKfuMp6Hb6PsNLLK9swZgNb0QuYnTxKlzRJfJz6b8aL4QmM4wf5tiPTcr0r2ULlDcG1ne3Emm9CMGPCEkHVP/4dMjVL780iQ3C6OLE60bhuZr6izYzweYDNU1B4xtKemHHSHrOKXMJySfjz9c6KW83ukx+Fpd4fvZnBXUCUS9Vyu2IUnEcjJZzHTqwwGHwE3keu7ccd1lPavUKip5WlzwRaJi8hxbePAbuWT8JNpEIi6nsOvT+guqA8fiFvGJQ31z1B7CNp6IXDw8NVTDJyP0/yTjnlr4+a/ifJBhT2jcRpU6zF/A+F400lzE3fM+EzsCVR21zH3PpRwZnxdBNMAke6xYboNhFi4CjnmFuhACXWdPIbdKcYAW/tXWFYt5y5QJ6afYiP5JuG3X0ZcvE8FmRcMNFr7UR07uWU0sbb68g9zBzmZYTBjLM2hGhG4xjW6lF+i/nYaEC5vbZAJMYzVvhoYuscq8v0/VWzB9/Gnm1he4kgl5LeNR1SSxisCpmtZG0H0Hi47BKKdjKf5g7FUXjx5BzGuGjbtPzWVAlO2pv/3efXp5D2dRsufXqwbzomV71ZlFaJLDGVvFMLX92nObtBqnDzuLobj1qdSd9yAUwOUTJQJcRt9xvzB45dgmaZfy2DIdgNxSrHYl/3nf7AQ7aHxMeplZAY2wMKnmb82fr3vMgDJJQW1btCaTXIcZVE6ifWJvyWOWRVd+5DwFzTPG1mJw9aZQhZS5dxWM/esEiNn9ore8KWknkWhiII2Bt8LAfhmAu3FcHMn82GBkKbrP6+8Hz81dt9gndL/mJ7qT27l8aJl5sifrdVPLzHwI/En7fyCVxU0M0LnsGpuGQi0Za7VZ2X/ga7rMiZ3F4qZ0VABS8dK9zOR4/tVbR/RatHqdtOCzC6z0W+MZA0LoQ7zzq6vkkE0Rl3yjru3x8ak/3ZSMkkMnNwfax07z9pSjJtHMSwgdtYxrQAshNOeGJVIo2WgD+TIJBw3kE3b2gOwBga4i1q7/APiZeycpMCOxVgNA6ozpLPfvY48PHgE9lwKClxQ/ll37fYHukew+DC/wbTDJ1ZY7S7ji7RRYIxm7xUQP8r3lLsI2A7mKUPUa6PxGCGoStVNnDzbd6PNrnCc7wg1wB9P4pvJzkL4zAyxtqMV1PYWaw2dKGPgADyR+4GlAWpkWtyOaC9HsVysgXeV0jnyCeZvFdz0Y6Z1l4CK2D1kdHOClzEl8HnnM3bwEfpivl6BvGAkqX/E+392EQ42Up/ByGBQes1ZcqKEcEluvQWhIjEA7t7T90MeBVLTI1zrh9bi5y5l79xq7JvCqSgwYEpi7f1JPpWGURLaIUyGip0AqLR0xO64c/tDWDMDOPynfGJzeVZ6ctcXBzt+HzrRSBBCbbhXadKat4ybZn1vnYL1/PO6fXOFrD3tmFkYyNNUT9TnBBvUexkwoK54Uv5oQ668JVxVtiDiygtCLw9rutanjzzA7nSt41SS+hrsp7gmkzI7HBrde/MB5ZXzPDGl4p4p1XJUqnj480rFdVWPUO/v5kjagbJRu2etHS6+Dp6hyicrRtJ4R4h+Bw6b8sPyThHxfdQlXk+M6kMfIkK/Jjgc5/KlPrgyS6u+TsYg5nIso1foiCtqDs5HdkcVX2onK5/7PSuFctCZdLBu7CPzpMtFMAYIc7FipGolvsJG3Z+gPP58dS71SncN9b4bhEaxeC7H5SuU48Xbwp9/m/JjoMXs/tLpjs8zjuX9OFxpwx37gb579yRtOxjoBkZEdbCEKRPz18HikMZYpVutYp8ZG8Vr95d3PNgdPLJXhpD9Zy15Yq0t5y5/UFtyjvQUsEjSHash45Vp1silsPEDX/nJXn6vvlv5pfh7KqvU+MDa3eYgSPwZ9JhPRoFCwU1TQ85BlOWOk7ySjpbWFZMhOxxyeH5yXyu5aoEAM9hFuW0fb6amf0kdsWBgFDxZAlDmujWv0GylZeDR9+Eh9XwcjNepxUWyznlxldK/H67LxJltolfHw4IN2LXGSKT7FhvhvcrUWgMcVkwpH/FAqDODseRKhbQbOaD7Az9IgYllpXs2FB23KIId9AN1lY6i9zmjgBYzQI1nozDTppNfYv03FJG85Vg62tzCv7bALAc3yFRgKDzl+47KLvVANhhg+C+lPaKpLo1RdDKmod1f5rT3BSY2Ze/UQ74h/nPAZzJGpaR45G3BBNDJNtII2hsWMnzmP08bPCW6WiMcb/Vs3YVJr9TFLS60o6GtYIO+enuUDDZvYxrjPgoxE/GYYIuseQluToI6h8SX7MxwN7Z2JjtC5Uoos2+wSHCuLH1qAnCxnsDCpfoFD7kcLIvu4uTRdu9SO9C9RtipCxoKzawbXptlADfrJM309MWWP7gex+whSINWEbkwYDDTkUejGtvNJjuaidJuA/IAXWpt2WANfUJdr18hwr59GjXlW2PsbsvDjxOle82ZuRV9j6WnTrKLtNB1z5qIqjWRiow2lbjlDu17nTZRWVUOT+nqg2uh9zQDdByRtxNY93nIxHurFtzwFoyi3Eyp7j3Xq6dwJRT3hLq0+d8fq7ICwIQt7NmmAYMMmCt6Zi5wfoky1IvwvpKnWiyMypABXc4PZs2sxfrjv7TvP8fIGttEW9kKBrRSNP6UoC7oEteN9tuXKKgG3XsAyFnnP4f4lKyz8tvu796P2pR0nlY0y9SdzODAhQ8aGRRGRcxR6ZJHEdX9yGzumISad81kTrKYPUp1e/1rMhkZxtdJig3mxDGuxxY7XuEZwZRAkHcgN/wXaqiZ/x3xpZFad38sPk+6L7efxU1dEsCFAFBhHiCjIhI3rcA7GxunOCeASNiwjZg1dJNc2a84nqBNPU74buMC4354mrfocJxcrSols5eTkAPeDOOxRdlBOS2yTNl8FdA310rX6PFjDF+LoTG7DLZJUNMzwVvZSioUBDYbj4VecuFciJrnhLiJskjesCejP6P3x+i+yk7pWW88g7ySD0qvlwz2dB2Sm9xgzFxJBeFrSfTYeZgCb6c2V8o9gesDR9DL5z33wuMcpmcqhsOsTDVv/7qW8Qwf/La7JVBo8sDU95m50DNzXjJ3NMwabEd+XVqa5PO1Ns4q32mqYDO8U7YwRtwqxv3I8Jdqc9C7mREMbTQqGPai//hnvO0mYNt6d+wuBLciRuDNpOFjsN7BKmVtdUWM9gguBozl29NZcVAjQ9uN0FWfg46NbdWT+7vQE5ChI9DWa44mx1mOuAcS8/nSzr4YfjJN2BInzein60r1FZFP9NwZLUkMjYIgr02HfkVW7zByLk6hgfX3LHEZK+fSw6EwjkxOcY6bUBXLEg242Q3s4EJc446Ttk2m1G0dBLcpdw2UHk/V8gzhVBItcZtvCz66hSBJWpXW/sC5kr5BGhajvZwH8mEvRY9fI3BZbm9ZTqiZdjVmmsdAc14G/G+ONtPf4hi0DDly34Ik4bNTiDMgk9L2zN+8TPzscZPB6UceipVhqWPkhStJIG/lXeCBII1Y9TrdCPysrHP1rpSMtVw5R9D2MYN+4gUOdFZjl4HCMImpPBbx22eXZ9qAz+kQ6KnE/ECx2uCzfr9TOTHP9zoPXJ8WSxqYJTkGpsKNrSwIVEdcPTy1OeNDvdwBKeAFXe/QmPQ1uWSrIzUTpvbZ6GLQwky19BGXKv8MQGqeIzRXWZQEBX1scWMgqlS++PTvG2pY68/yOBMCVOlWXR96Am6aDzoKLaSIEm2LGzem9PfIVtBQ4d1bqapW3+N1un3tDxzXNmq2Ujn0zXSqVY92C6Lg9m9pf4uhVFmI5BJkdLUAa2jct7fHuTxBt7PYGFBsV3EP8EVwKbDni4ocxQwZjhAI7bgdZ3caq5C5qAUFYstjMpI2i57Gdn0gEUWNP2r9KnB+UhAj5xgl0Tb9cnLXl4HADMM0/KPhSCqhOrrnUUQcCscwKNDjC3rqwOsK27S5Upu3UnkpCJmdp48biUwm6GU/W9yzY5URuo2OCuFDCyQNqK6mSCtAv5U/4XHR/LUrRjb3arGjf2mKHMcDguszDiMjlNXYoUEhZ+KAlUeD4w5WkZnn1vcF1wtQafGqmyf2dCk4EVnTKpTZpJ5oPP7yJfcThwGJgfLpnuCWVBKB+7WF+BKlciLADXNWgRY3yp2gzbfCZmM32FnIm+Kb+61/sSrgBvnQSaQKkqgYSzGCp7P9DC/UOTFQyNGdMD5YixlT4/j+WZYjxizzRG7/PntO6a1xg0SzgXin6wGoLzvJXt1TVcXDs3aCDNcTVPhDPO2BBHIoU9/tKvqKfe2+Mm+0MzRb6L5GnA+JDs6lw5TSSLTZtf2tvP6aH4BNwSGhuDVVSC9vebGACaeK8877WdS/uRILOxiq+Ll9GMwL1zmVwv4OmQXRTCvvKvV87RBRlnWLwTSw7quDVjn73OBmS4SAEnwVWCyJg/NnWvuTzXJ19U2vz3s5TY+WyE3r+67MgD/EAqWWLhfrnuD1/t8vPktHDYjw/Ft8MFMWEjDcubs/NqMyV8yKbEJFbmBb/463Dq/gLYme0f5kIhD0xwSoeKqTv4llx6rk9csO/md0kP33Ak8DBCg3M5MMA9+/itT93ZjLoN1VKwWzwYFp/TVSHvoJ9Vby/st4f2h1x2bBf4XdhgmIDDRBoscdWK6S+xljPuVZXp+CfC+32xdY7ugJXK0EjDSW2Bkj0g/O1ltICI98CCEUyqVWP2JFK0EYOg5DmB6KdDZEAtTJ9mAcT2hHPNqDtPSsm0DcJVfrGlnzhCSr5FLI3x4O18krvFKTXx3y6feelteeRFuS45pCTKxFSXVmS0d4/FauTRD8rDNjAwEz1lrHis2LqPT7A36TVj54KhroXXqWob2hu1UOrB0XQD8xtbLRFfDm5Ev30E79sfjT0hHRzY6pADJJQNGka9Z6ZRSrijPqnKHxDYjooL0YE/u5gFi7JYGYs9/CUxFgxjBnT97LxKaW6G4lmF/U9uExw2YVnb/8yR8kTXe+veKpIaMXhRBNH2sbs+Eh+Ofes9QXakCOrtwkUr9jThMd1KN22g2QjVS4lLJYa+hrqxqTGsviv/kU+FSWoWr52nqmXmDK95I8QHILf4Cxex0TdbG69/hWB2vTxzuWkGSF4vqwnsaq1S2dOv7sPzP+o9AVUkVWNWblLuf7r4rhMquiN6AzxOFMGbPc0/58IVfUTPwdVxeKgeVciWjYphMxFB0iqhZUJkIdVcYOPE4MudCGgGN2G/WMohidYB05TVrCOxWxFIgdaIdLf28v9JeykGo3Fu2ESO0zJ5yb4i6FKFBp3Bl1cZn8z8jrK0yU1TKYLOKQe7wI8RttnMJUtBFY9pZrDp8BKJHlIOevq1BIXuaG30wv01SxRosnJ6g7yCeOYvo/lHo3+zueY21Foup1AOrQ7NIbLFO0cOmM6e3u38U8i76EFF0TcWTegegFHbQKO8HcetxuYO4O38fMsT3fLyZLvC5t5cw9z8f6lz4kRc6yprUQFIDKrnW8qLorHqqWwKY/pYlmPqEWLDmLuU3o1YewlRpJdq5TrBATEw8eyhadPU7SOdTlw4cw1hEaMnUUpmB0Zj3lYqo7NUj5WgRKJ59OPtVeqZdtgPYemrchI9FjYV673rzQBbTxbcZfwv5z8v+Br/AKUqLS2bGw59rMyGnqp0jTbI6syBLMc5p6P+0n9FefmwSl/+CEAoxAAwL+QnJA+M2WZNXC0UmAuePKrOuX9nHiHxYYueRLezIrLH3enWhUnZaWoPoG4fhqTkQMbQ1fGFDV77TwuU6XibnK6RAH1NZL7foyqPYTqIU+BzjhGVs2MRZiiyavhLNPFVJCsvzpT7flWB4v0g/L+bJCX0QGKWpky4Z1Qg+96oIqnrVsABhUuVYjS6cIbljwvHA2ZiwoltQAEs12EdKS8Z/5Afo4ek+ZSEN2GmPUPrGj5VMuCZBtzbCWdUwbnRc+Buk0fXnNKQ7D1eJgKWlCdWZM66/Bsdtb1dNODHAJF8RpSixnP0Kr8Uk4G58dS140ePcym6VByIZ3ZP5t/LgBXSqChtUVE3C7WgsPB8VP0yRPA9NA4NdyCTOhiqlP780vzi1Ag3LMpDSBht8Bk1eF1sc9vYNnnobtyzGTYV5bfS3KGck8Jv8JPgHTtaU3sfID76w4r/00Jn/GNJ5RhMdaGxwJZLyTI261sp08DypzrHnFY0g7B4K2rTrQwP1WsgBBu5I01q0fyQXKSQ1o2+pkisVAJjdM3vQK6yvdcAf/MpCE5nS+LaZlqZkWDKy1hSTf2xLkRG8en0WOfXOVESp5FzeN8Oecxed3nCSGX0dBratj69U5Bw6vwRlSQHHHRnhJx0+1Wuwg+RygSV2yTP1EpuTf+gnchf2wMZu/Rsi499D/ENQQcvj0cYlXlOoTFQrvHtm7HPUfOCFynsaNcQGJRtqVPaNqxi2SdBsiddZ+xBQ+7GkxppvyT3gqg0FZP5rIcJhQqJB3FmzHeNkdtMyLeXnpyjoNh11ZYP7djwNC4jf0Sumrw8N5kMYa/rA2v3YKG51Is6Z0Bm9/2lXH200nbaPx8xJPLaOAa+hOfNCbZyg7kaGtwCDuf8A4Vmt70leBPAZoGTB29GTTirGVwXEOj9ozlJvEvOJg971nSJ+NUt62sc5FnHkHKxs4yfXF9BOUIsBtrbmrI+RBkuk7JcFCWxm/CicRt+IMxihsC0xDPGux4QihRMnijGrY60GiRnZjjeGekFWSniNjwXcQmPn73TrZyCyb58x7ZToYrSWCnS29B//Cib94kl5zdobDws4YRDy2vEcprqV2GHBeh6gmDtLLDczpnug+V0M4+zfYI9/KKBgYC+VmBtk9xscp67FKn2bV4U/bjuEbRHUxsZoK3SiEfqhawsB+DHe2S58ERDTq26IlI+qQMG6RhK/MMaDb5sSdzkWNFShT7uSLwphx9CmNgotbiHg75wOoZkSJYTdNXhvLXmt9z0es3cgJgr96nZjygp5tndDREU6XM9T2Ih3GswP4n1RAsuhb7n2C2FuLPDnkD9ayoiiR29SIDRASfdZKk/D+e9tzE2g7LTilQUyd7sKMBucB/623EOH2M9Fwgmu4p/NIN9cOKNML3efSp6jO7x12SUkaJIsTeW5plmVwoohhBhUxXeLmWZKBpwO8Nf/24nsFFlTDVe7Wl0d2avweGHsmQNRGyWPDAKJECCVTzKLFCoyInDrbbAYNxAnhIntciGd2BklKpDthl4dKcvYiW6CUHpecZ7K6JGeehsU/cz19oTqYxKfOc8qn4qeAsVTDcbHSl8Lk1zc19uJ+K61p75/YFxwyb0mIhQprjTOBPrdXRhnmYM38o1y+JJ2Obi6sXn4wBSBqAxByn22LeIFKXqWv2OAV02DDeOPzHPMSDeDDv1twRrpuAsHHCZeWF9cIWUrCi/vhNwKXZ+NTTrUK4cp4a+l5WlNWl4zV8LtUjQEPAiHxVQcnzpLFUoAg+K3rzg9ltPrGc9k1rAZ8l5xl4VGKq5gMlwpghPwqSHS4xP6cr9+SzQewO2wRqE6BGpwf9dt6z6qbc/axgA9/agaqTc++BF17FlBtX0cPyZk8My7YU2UE4E2HF2TCo3fytwB7uHFXsNFJi4n1yUh4gkMGWwJ87mACaY5KI6DofMFPyLrv7zrgNpowcwDsgkGhnFLIPBeoqgHJz5ibE8gY1JsRqrvj3Yq5XRpAf5vnnI/K8DIrwNxjepq8DTeXaEaBicz52SLqMdvbpfJggOpwJ/sgFt1wT96qaqArjuc7IMvI9regMlk5OisLBmWF61T8LYKdD1PEbd0bJbT53x4okzUSgixZ+N9bi9bpJ91SXPm5X/R7Ydcx2jYqpFEON07yNM1CTUgtH6FEzJMoL7QJwx6I2jeIAts4X2WRD2wTAZaAX/cIg1nx2By5PL4ngA2FG+wisZjFGKdMBCJXaysx9p/rCS7sCFhcyWRHDU0FTkreKHXAwReJn15IGvcWBwViOY1QWP5VPuKnKCRfWzVMXwL/W2UuMzgPSzLm3HzJxHYmoSikg2yx69yAydYA7lmE/t5nqbLWNVwGUR1SJL+v3Th2fycvLx/QchUJO3+J0soUtzOWHHOHWsOCES2xV93531TNIf3ytdvqOX4KJzDPblBqzoEV1E68FN/bQbX6wznqpeGP5uIm9BqmVNyOhb8GfeD9lZhR9QyXEIV5KMCr4Yss3PU0T4o/YD+LbqLAa+X0AKB5NCNJzupf4OUYCXsGI13SjpBcDOj/LOwi303bSEYPiqYwlQQKLp/9HFh3/bG33GUNLqMlSEOycBn9sWtoD0LrBppqrEiXl9xhI2aJHm+2LGVsq4URpFlxxY4zwypwaYoLzrWiCH4blG7e3NG09bBtE1yok8uT0o427HM6Nk8Md9MSoU8GaRayN5FYhxO17JgdZJhPqywmcZQTxy9r1h6862W1WdvTGjOidu4jBoMvGaA5243mrRUpmzh2aBNzac8lcFZ19Z7i02HC/MNSDp/pqo+EHeJS/Uk0brVKfPi666KPjGw5bek1mPiOksKs7pRkXwd6/pPM+IDPQIDyJ62xJzBNP76EDrQQg94uCNQrG7K7GKvmw7DHZlUjxBaH8rIAN57QRZBFBX1uG7T1kHcQiPYR2u0UQjjth7YpFS6M5u0rS6nPork3r55VEeS5QXKK+9gFp3AVNVo3QpD8w6yvEPZIP1mDr1Qu/Ymal0N82oLKrGRshtvlwEeAIYg+h4E0EoSSJEfcv1HKBY7uZWjpesyXVrxso6CImJgltDon+01DSfV5mSHcRhMC1YyYBKopkleoZI6vidJnj1beH48p6Jmi0e2FoFygqhmY7wBLv91+axlGwSWU5P15fUAahN2ON5g8yptsBh81uFmU/H8zLFztySQ7Dbb60IkyTegxqGFegxl9p/iuENFOGy+0B3CQeky2Nj6yC3nDHtnmsJt6kPkHYlS7gbOLp1OT54LFNx71V1R/tju59go/S9BqpsoC8yABT3WDprANiedaNISoeYVJiOlBs4pwpusGu7i53KwJx6Q9V0Wjg7DVf3/ZYNEyNaodw93Ahel5BGmK1+CYRevPe/d3lZttTrbVKeNiGy7KROsU+FTcVF5344VTRfX5s8dOg1VR2/FNZWQ3Zw6Yj86CUNQ+kAgew6XbwSqjaEg8Vk7CK+pK/YBRiyE2AbDoAgHYixUaCipOmzmxzATwJTfgBmccBy87KwYp519dBceUpGhUkRpeE1viWowO8sCuuWoYHgLD2MdyAiWssNEnz1ttuLL80DfarlzhfBo9WZ1zb/wYpwfIYPvjxSkRqwiXRFnGZjvTw2c+d7ZWbJizuNJvh0a2NNZhyuf0IiV3XLjVB7izcuJMUF6FL/fDp0eILNbcE8yZYiNQzaYJQlTynvEF8n2T5cVs1R39w0FVd9RcSGVpPHj8ZDDwbg6bM6/8rDhjW/I0nzZGYJyxg0GAGAh65D7esKgDXGI2VseKMcRCrwOzxpj5a6pwYOYU5MA+JcOygo0Eqzxt28kDzdkuP2hPHZRBBUrpfckVuAhf+V9CJjIlD30xj5uw9XYTWW/1rPDXCCSt2yjrw/QjSexKG2j7tFurAcB8PVQEgzCq0dsSjLlzeBh1XWsSXqhEovJQNFzL/8zDgQb25uf2F2R7/f820FLH/nUmoITJfoVGdaFQe8zECax9VPTlgLJuys2n6Otcy8MBqqg1764qf0oXZ81cBuOboyOJuNqqsg2m3FYR6bSRz8YDe4+hbpJKOuVELYSGHWrwEbDGhNGNPfd1NNEk2cyFXTYKL29YDjq/sQfbIYeuwBdvN/tePZr+vT/xyE1E0idWX4uGLoPz8UKd63W2O7YXkbwuKtda1Ry/t5W6X8zZ69mghy5y+sbfpqDT72CNlntTuTxj4XbeM6gPlvr30CSjcb0Tjq424LGaBVCzF6J28dumOl7LppsOg4QaRNOalDeHRsFpJFvML3YwBhQh/TNDZk64AT9GXJl+p0FWpuC3Yw8P26vgUO0jCrtURu8/lot4m77N/FrwZNkIuCaSTzqTO6qba1WGbq8c7Z8pvpHlCQsynJ7rwaZ1cIPVL0/TfBmS2NpFu0a/+LY5g1dmsN51XO+jC/6YAgjwk0UW9l3xDNfZwoF4rbLTCNW4rWlbKuwrbi7BTWJaYs7McgqYMgCl8wAnRLWXiQFI3UUAh7T0l9ckH8NQTP9s0mgtwxfMsHbIszyg6Wf0nnTa++ZHStdnPg9YMdZYEiMh7tekWMffzQHywtDlLEb7yKb2hbUOgidtHvOwbcCvKUYHZIZBUH1b722NrJ0aTqffV0o+e4I/9uHQHaAmsMsN7gTIiJqEHsTCOhtRfgxCw/38WB2lhrpbDEjw+oCRmdgDyqx0log6JZAKVdW4SI28C5+xc1YVW5l3gdjBbqFSZG/ym7muFTZH+vY7XzhvUYAI1TK884HENg3Iy4D0zNnFsPca9pwO/mwFSVIig/3npJ4+2fGijdjtxRKdPHRU79Z5LqQTTpthDboS1oBXpKqSKF7iV4hJrmgdZPldjvIJ6Vn24KacyR585U4NmxcTsfoKxrpJ1PJrK5Q1AJw91CLwAf+utpasLWMXrVHI0+dfw6Gi/srGrbYbc+XML5oMqxKrrU/jwoFtEdHHHHPE1mngA9Q0LGodtwujxXpXVRMgJOgNY5wPEbQ97Z/0jUKe1EO11KGkW14YIOAObQdNs7vYlYgBQLaOH3kvrpkWQ8gTefJ9zI8io5TdSklQudMzc0Y0VN7C+gkwoCOKYVVHBA7mFEm11Wd4X1gwG3OOtwwQiAfDpaRgonwbxuXAuxSkfTQ/KUSEdDHuGdOhMeVfIHwRHAdv+X1ilIP8HOIExWdCmrROsuCKwt8fcmqI44JcK7BLUTFlwFe7cdL3Ys6UTdJZeRa0PGeZ6yiUE2bBDd3dMi+1ctO+5aoSSDETinlKQIQIGGRsGEsyNWxOZQyzOQRswz/NFkJ8b9RGoIC/NZDc7fxkJ2qoXGg0pI0gxEUnYzlM+l1ZYycacWTDKy1+Hp8ViUro20uWUhxuTXnFLtf3akB0L3R/XZQZM0acmZWaUdpvZgVoxqQFYiHxU6wfssy6D2aBaGgXgncUb7pxY0bM8FxRMGkdza7ob5dm0KXqcKyrDhncQOHQo+mKmK5kYwo8p2aJm0QsNYHgykK+gQwizQQpSDfXg10Fb4WJ9zlSMytmK7dsapvfqsCBFj+oxOzi+7ixjAK9u+nmd+FCtZ9p+sdpap2Nug4bPfBBM8K7pS5+z3qUkaT9Z/3KmC/L6YSaDz90ek96MgwWXuJDGS1j+ju/wVw1SEObUQOKlSqYi+4JeyL8mtKknbcCObbPaE/OpnI3ce4cVCjR5OWej67hTMSSPu6eJtyS9G9034g6scJ+ciZ+zvxh0kuzQb+KOrgfb6Na07jSYKgkWvq+b4ZkWVIfY96XQkm42cqWpBPJdt4iDHTDn4diZZ6P979nA4rwZQ49LyNcGdIrLphDC4y1BoaM/vqTHxJeA+2NagrEV/U0uUgRJUIIQ3moFuDF/2ZsAkKyeCBh6a/7wR8RqsLOTGDtASr1izPw7smpE28LR3sW6pTsfzTwIRWxk2OIrxh7QNhSnRzvIpAgDhtL+hAUBWcrtr+CxF8oTJQ9j0Oy2mS9Tajh6GnKup5luc+F5pLXGGMqKLAoxk5KLfplyDhLeqnUBROQmWQm3C0yvljVQhQOjxnXZWdX6iRIuUa+IBwz3C+3IvXq+KpZVLEIG2XLEqlo+VcWQYHcN7XJmdFTVwtAd6/6msQX/tQqmTaTpuzCE+kw1VCgmA4mMxkxMFp46Kh2Eu7rUjZQWNpyBQeDsu8nYi9oFCQHXbkVu83hYxWhYMHtxea0AZNxlGjMB+7JAVZSGhCstgh77lTxBk+wUQ7Hl24ItQyJSo2TaODVc/5WnO/JAqQSRf4c5eCu45Q/25xmoRiXjxaq1FTplPMgowWVb9aLtVjU939cvCs9cHBOfI9Uph91FxfbhJFdZ/BhfD9MF3/Uiv5cfZSZ+QpHd/a1CUI5411nRQ/F4IjzKmGEIppRMlvyX+e2LNSVNQzSnkSJR4afHFO9filD1QjdBw8s2qqeIqvPd1oL8KIaNKndWARckkNjf0oM100sdLJj7165wZebN+UCCGi3QqIaJVMERu6qAVCZfOe70tOm0m8b9Nlyt7t9On8r31vK51/W/SlOOUGleQB9F+zm9gpXxLssqpwLYmdjindjje+YoK2k9n6GlEfkNa+BeQBR5Ho9gahzgzrJv5O/KmfcmwJ+xAjWJX+M7cjPTryP50WvQ9s+LcD7KEJHeTNZZ0hzpgBkaFliPkunvoj9Jw5/1o0f9j/eaQmh9aR7UB7G3hIjvB23w4M3ES7qJP8aap6Syo1rmD6uP07kaK+IGvidmuFoqxHbTj/b2+y3LqOMFBCv8ZxRJ4f+KBzeZaHcDQk7+aYQKTlDJzN+XXzHBR3h/ibdwdGgSJIu07Kv5gnbmW8hVCAhosj2It0K6iokHrBTq6YDDD9m3z+lYbiUpPBsUZavSEgeJBMSEjvkGvD5V7RKFHErIn4A+VCIvkuYq34Zu8DDJa3syjvP6OBz9Jgb4KVp9fFLAyS5L0HIOcO/SXBhTVI7PeG5b45m06u8sNXZ8xIQ3+JtF+FO51koG4a6opRb2/WW2aIU5liZwgTeZl4i5R3ZKucHwxsrCUEFhb64ZwJGXwWdrNYouEAdX3ySiL+44c3VNlA5hM/i5MjooC6m4u0RkwOVkEHwIV4ByJDpi1AxGPGMw9z2h6hrv82foS7kOV7gShcRPwj876ut17wceyJmYQSM3AwcVxPUCZC7vnUFq/6r0Sf9w+1sBEioj/VkARV3b0kbueQcurLAIkIt/uinTmlewM2ZwgJWpenOnsHGB9fL+aLdr8dY18VISo5HGYIFZlFGj0qxU8vTk6itgFu5YBSgES8bWTnlACe2RwBncm3g6stlacXSPEPggkGvAoG2j6QajfLjjkaQF3d+/lQBAzURxMY7bYCteEq/4m5QKhorxHLKbhDx8S+swtv7V64NecesaljIG0D7xv9lF1Z30QSWoz8563z+1oHzg6ocURNklg071EhPvgw1PM9pmVL9TBrXCazpvOlhsDrHTpojlu+Z0Kf7urijj+SQao7juRHvGiZ5dM5W/8TMQ7G8pMdfMXxfyLe/8NmPQObji87BeAMddl6jYl75njQ4tolmsaxVgE7k3XLiSJ31uiTJYueMXSDMbEMDuNxl2c/wG/3YP7u8be/eMDW/kPxNKt8POn5JN2n7DRitEi/vciXQuK1hG22z/r+sAcjPljr6FX0LgUzqaELUDA53GrQJqHC5fTRhnv8I2KmM5L0HRE/0QPIYTrQq2VrOo5z1vH++JtBli/0X/RXlDqDJYYq9IW45W2UQhdbD5Lr5/kceQy84SIjArXJX9qeO6BcLMInhFO+karVOsVE/vUebAnzPDIUpIAZ5srKyiKCwzFJvGJ8khhMWxlhQH+NMapDMffmUxyqZkl2ATOThrO8UOIfwss5Lc7Jxqk+M6tQI5RLiC40UbSYQQUl9ya+aW0LzMqOfhJQWn6aOtQRlBv3oJPY/iPEFJRezQkXzKr0eMsPRKZ1f+Eqy1+YK1gcpD67jl8530kXMrD7Hud+jPY2yAUIsVrSLw8CqX5K9xPpHTMreYGyx7/2MB/yzpCUYT5iuCC/AvVAGahDZ3TbicMw3yZmcaPuMhz531IvTgPsVxr2HBOKqtD4HRW5L9ughlVFcc8cYUUMYjjKINFq2IeTpwHpbPNpeJMPOlrc8GsLxKIXAEiYcOu3PSChSDGSXJfaptkML+FfizVVImHZxRTf34lUHjEGJHVIqVUDNSSDefxqtTE3M8DAi9fPtbSgqZ5p5yh0nMpxw75luG1liuMY3OkI41ka8nJyNSlwvoZJfKhBbZlQLTmxR1cYWhLvFkB/X30LPUUcmZdcN1YsQa8DAvA57Uy0/VwXxgXaIAn3WdqoBG2pofsVneC5f0gd93vo3+Wg5heDvxZZosWrnea79LeiHuIw2+Cd4n+lV8ZZJg1JQvf7kOj0PzS8H22Ks3q9BS7f4BRxgJU0vmEedfPyEidEDqzAw4mFtbgSqbaYHkobG2yC6WlLUIa7krtLtWR/5vj+bLbCfbGKaAi51SNIKMVx2CHo8qj1yrDY9b3geI4L42dlR5NohfNBjqq+qHWYbInH6YfaZEKlhaaXqmsA96kNLOv3j2PBK3J1kwYTY5ATCFm+MPjHbWxrEKwSUp5AwaPLaZTLyrYiBPPxo71fyeeU6CPyKN5Ncchj694ynJgRVe6dOMvbUWS2vW1UUEwYugyXtqIU+b3izcBJdJe42sIavNdzfc4+HrGoF8VvO9ki8G3K6sJco9k5ZCDGWEPZ//wMsephwNOhA7fBfEpyyWGk4KmKe22XtP1BVDMF19I6ogUEnLz58MjMwAT5W3VpIK/+r3xKiGg4QU0hAP1OOYP51RMHkEaRt52dSyzYLmpOHATZYoXpqLtzFNH2xBrb99o16fbWNg8gjDD5sv7dICKw1sZm9IiW7pWuWtNG68pRcdVhX4ftOaDosrIhlfllOzPr5IKPNJuN4Y2Aboe32FcxwkUTbFCQIsFxDh3bjJKbcg9py+GbLfCwit9Ko2jLqppq2Y60OVHugJMB8VhyKC6lM3e07m4aunSzqlXP4hXzjbcsJsWXaQ6QNOfWQ75l75DxJ8UZXO+211s2HKGwxXlJPfaEwRIsiLVFdWiFrh36Cmm/M6rhTysrxRLFVyyrYNrHBvfrRz7M3yloblMt208AjotFDxh59Rbl4HVuHVUgCcvRahyYsbSCo994yMJcBwBmcOHHSLIY/K1rpa4zdMVupiuXUvd6ZX62me44G7gIVwL/qbVL96OJkMa27BT20A8dAu56HvWtWBdlaeZJktzuExM6pgvr7OWGCzaIUARQUXerlVOqhTA+eI907tWFNpAJ2OAy/yrWVfA4CDd2car5h/A+cAXUUzFOB08K+vPu8nSjIsH1BiDfDTBZi6uLi7Mozlan6GfOIH1w/HZa7aQto7IZl2uzcpHM9Co6aXFEedYrQsX49ZTBgDvBev/Y+pvc0o3tHzFqjnPer2oNzzGFqnBaxao01j2wDo11jiC5AEFHQO3hVN778SEnxX2g2GtYtc4HlCZkNSTMDNXdyb/eGsVKnaOzAMIqxn90AYry+/ZUq/9OgUgRi/OXozsNkAGz0dU+RUFPfkP67pXYkJiVFHen+lkjG1usOY47iqCgEiHs0T976OPZ52CYxJbgCWEyjYRkurXUJAn6fb6v6K92rqZ0UQ7IT4A6BnWHGKZQUl61M178hQoYI4hwXyR6DuqB5D2Yxc7jjG5TxMnPKtkZYdWGq8gOw96ldVo/x1tCyrt4fRDdLrN4YnvE7VJnLQveyV/+JrbWJP7QJnknZEugv7s+lfERaR06ZRKQ5s1/w7DJoWoxZDbA7eNlM9IS2CodzGYTyO6t+nu3DSOl4z8848Nqhye41IQBsnJL5IFyIOrRW7jHd2X+aR1/J7b5m2xzZoHCdkBI91qaX3XHVIOdgvG4S/nf5cL0t4uxI15TIURD0Aa5eHvkmcD+/ZcT656//149KKe/UuJCP7JYqrxfTOa+AT25VWf9l4XfUby94Gr27Ut80AXNQMNNGKIodu+UliyKHI8y6NuvyIqK9BgSbtgZO/RYm2ijQTxzLBRFCjNoAUt7QBjBsFK5t/Ct4cJKACqQ14huo8z8xuNcBXjXGiosoEBoUmagveI0arIyNRGmpuyE/+h8vUbS0Xzh+dMAERb7jv6hYcYGVp18N/r13bTYx9fdR6uxBGUhBcoCj9SdIOKDqhHF+SLIqP4BOGYxPuTy96FxhFivgh+3gJm0UWws75rXMqp+eYgeQI4WrrUoRxKmFau2qzl6eGQtpauLrlt7F+s1NeLYfUlTUw1a69SxsgOWMQkXItSFGdD6tOrGK7D6tjemwijorxb+VN8W2e6CAkKlRkNCEzaCPaMkO0djEJsRDLBVnKl6e2qxz0taPqNp+bxnxUIyc59cELY5jY1PqGwpnCIJhV7G06pFDl2QrMGsNgTLjKVsjj9L/V2CcTeXZ1Z+fg3xG38/esfLECDJZ5uh4fNUVkVEcIyY3VVahmFhW9+CAYOnZCkfUogsrP79MzJMda4uqNsXnBexCsE8Cg+y4poUX+WiqLmF/F4MFDM6PcKPDKhfXnURzoyGsenGW3AWZPXKTDcwFgVkNttcNPmLcfhkwsQfAVZOTDvdIqbdjEnHLpB2ZSybk4TLNRc9TR35u5I+6MNSFpwztSAlS1mqn49jYhaU0aZAcF3D0RX7Ljb+3jbr58g3eGsIYqlqr0mRdOAd8DUglZVwWKsjQOOLvm0RPQmDlokKJkCjdjoiXL+r3Sd7cSYpiNh+Ug/3uBBduqtJ5FagyU2O7Ow6KbwEeZHZV3D0glqJWwY46x8FmnUfoabW7NH1ySARxWEwOEGUbyTYcaDQg12c5LadXLYYkd7TesEyCJAr57ou9vdi1w9Y3Ad92l84jE8WlJAOrx4z/kLTZFDL5VUaE/tArm0bEELFrfLc19S0MT1X5mjLroCzmSQqrCHHR+DSgOkwQjxNc41MTZbPQe/ThcMHqrO852gfRDOmZXQ7gQdWWzhVe/V3N645qP8rWWYLj/W/gOX4M54oAPkecKsxn8qddJjXsEGksJ05bdwub6mj6XrV/93t1MQq6ByxN83K/blh2uJT7Wp8Rs/cerkMsAU4nTbNyvkiCiULTu95YegznPzFeHlFlv/UpyJamm3zm9zi46O+4aHpRFZ4Njvghf7NcpW7qVMEeuMr1ZojNkGRDGnnIyWisS9PmkOXvevvBxzUUbymicAWZ5aYd9Dl9W0aWFjANrvq3/LyisAuTNK7oi6BKZARq6QhTW3sPXAqpIk67jWT2hyNaXrF+/L2+MIMhe+0knUR7SOed5Wk4X5GDLSC/jH+HBQ/s62IrKeTk5Vjnelmi4XFzO2eXHFCbBA0LEkg0p9ynN1NRAViFiXb1nAgLYpgd2EX5a5KuO3DGTsljPLx71jjQJ7zosxLJMG9TYZiUqu8oPONoPZwNNmEomwBamFUjOVBrNZaIeSNZkmgzCnMuvDS5NPWL3x2FXUvyTt7H56vF6jEVQK2M7xJJqfPze3rhoOZwRfKAjOi2jV2FQgh5b8JpDXW9WY9gbto5haXE9dWJAmqOmdpiiJj6w9RtmdUdSbfm6r1BzOn3hHhqJEQjdE0l4UiHix7SEh8Hz+/7G83G+6fsb+Tb+FSjrTaAl+W9pZKOLzLqNfT0uhfIIV+Yg/Cu3eXRaPpd2c07IKPwNHoNolTOmz0U3PRODjxb9nUyG+/8+5ntfR4yIEF9ypyccq7gjGuOfyNA+GQ9kBjphjC5PR3u3M1Tjfb3c57wbmhaBD2kJ1FLnyH8XSdJAEw3JEAhkMKOrIh/4G8zDga0zJKRfTceKsaIcx3G8WpGH6P/ybrWtM4jP2hGqxR3GB063Wz3fmo5apl7BzhQIsDdH+St8Dwm1tr4rqnD6ZRlIDs6d0ynBsnT+znNFZb74d+dS36imBgmkR4LyW/zT3xz00K8xv+yukS3GO7+pj0dT3B1kMem5N3w6JfousSwh0dJgIoOGD1UZRw5T4wLRnKOG98w2x683bb/SJRCRig1rvtBDrUHr20N2Dz7HtiNC65YyrPPzowUVymeOOVXPt8hz59ebnjLkBecj0SZcWG0Z26KysOD+bHxcBDqKbQVr8tWoWEhLxUsuWmGFV/qL/yqWUulv07BjVLRgzMjhsvLXXCeexUgsJl5tLPFzmgNIaFZrbPmJnTDKWUcJAMnWKbLukbeAX1+CZDziezW2OiMwCCTpHf7WrDERvm/WV2ExxomV03P46B0EO9YUFr7R0niP9xvsyPOdq0LUo2+eW8Iz2Q2zkKKHIwxqT4ceuVsrc/fXZ/tbqEpuNN9Wn073TYDE6y1yGklh5lVHgjenGKdhLRcY0x8bdcx5g7/40BJy6+sAr1ycKj6m9Hh3dPl5W7Y7B1NBGEvqlof6EWzFPDbCG4ESz44jpSIMYRRBP4XPk4GchOGxFaiBlB+95KYbfhZ59/p7NFiPgxkEMBrFyHq44FzM0sx5Gha+bStcQ48hDxUkcBCznV8MaoPriSSOZtDbDbPC87AOmXtGBjnKFGoEAYTIyZGSa6Ms7gJhoDLJJUwECPMTtJWKvGxLQsQObUhBd4oaunYbNVNPR+B3oU6XR3wG+3xAe8OoxSieN6mNkExI4JKScpoEH1Rww62SotyAhS0QJwtTqvDonPuE7A30ZoSpfvJpeHQcSiOTwdN40ExUbOdUy0M+pAmcLejpMONqOTDYBJ4SVYQj964losd6Ak5OWHRa3L9GYh80u5Wgco8wxvczk6n/ILLiCjcx5JgLjzWrC3uMNWr+YgvQo5aItyKPda5JRqk9CWhUQv3Esm3u9RWo5TM/0NdnYLPI/aG1LCaOb8d56cnmD46X3lsrtOJveUECpKZq/7Yq2Xsfv4em4YURo9UrI49h039rrNdmk3C+w3hZZ3eMnt1nUim63p54qcVP0/4hkXvesmjHA6ekOSeZiTbnUv9OYPIaJtSjYTsxndS6/bHggZA/bAatjyQsglPLkYfYuCW5OJ2L8LriIXoDLDbBp83Umy7PqdrFBioQR0pty6Hu/Kj8dl7wOrZDorugy12/wCdp5UkixPM23L35Hcm01CFjorpGCf4Kyt/foQ/Z9992tIqd6LRVQftWD3VzC8NCR6R/TXPWGAoylpUppcQnA8k1fuCzn5QSX3Nb4BAYO8q7tu7E4phRL6apLGfkXfrn14QiTuCJFHCmj9+81hvr6APOuVkds7eqPOxsrKZXBa2mGwe7R4gw2cYL5Q/171IxOuuJgPnufpf2wKq/CnVz6AjOntvb7f/w6rn6D3VPMXSfsaPG2JLa3S35F4EmyXx4pWEbVjWFvW+vpaShiKpP4RUIN/zJe3DV+Q/1KmwfuK243fv1w+VYLhpii9KlbSiHId8mYWcKEW3PbPsBpYad3O/tchY7ejfP/J5aqKbe+sEWKaRiEV+bYAOK11JEHW3TiATjVWJwQinl9rQ579r37KmJnwXBOVFqTrKo0CpSiNPpVgUPt3tv+xnQsIkbCzrK6wX9AGMwgUTQ2GvRSZWPwF83ME1NwQqO/oG9qtkdVpUwxZyFvV5WSh4ga69pBI2+OOa9QFj3JNazVkuES+4eFf+xkj8H5i6ZKnMEfn4BoLu5xtlToCqmuG2T1ip3AfakU0wPiQvUBLc6PJgKCSPS1hcVY/RAxCcJ/C4uj1cC3mosLCLaLyNIMeNx0CI1L3ZATfZ6Z0+WNWQTLX4FLyqmfVptCBOAMmmmj+5iIs9rAqK5O9AA1lselrWeSw3Jm8uMDIJbcTD9dMHM+fqEykumBBbUQW86V9f9nejcL6cRNy3eADLONjUWMzcsfskPGOQHbjnflBw/SLPEMSqN268F/Xrv3FAMDPjl0q/1qnjhUEyamsHWS3o0yvhpZZ/r/jA7Q7sQQZolZDfjRx/yTGapISaH3oSdywMK9Rs6CzUJmDW/x+YM8YgksnXCdyZgq5blGC1HXW8fgHBVM5W1UbTkp/w0Qjs7C639hnWTkLdGy9c0pCZ3qf5xeZ+EnFg2B4e/C0NKMawNuj5CzW0qMa+eA2WydhIm/x/2Zr6UOo8CDoV1jwEpgD/4TbMQkfuwOZCtujKm8IdP/AhFQakYjErbpMeS1mH4iM+DkdlUgHdZ02UepOTvvbsNVRSYFi8sXKVVEMHt2mXJdrsZAWzmwLEHkSrZGthrxXCT8h0NYW78UadQRdRMZVCOBkPUnEAhnKnbOv4fPNZdDqhaMrUqskcxaiD1Mz6w5j9dkpkoiRrU8fVYurVKWlyi2YBx07GqVGhfYFq4/Aa2RPUsz/il/hHmXRcOwlroNC0kh4GfLXqidfqbyJXYMIcQ4RGv/Qx0b+0mU/KjR2HqipEM9/CnbSJxDgOR11v78Zm5OmU+BQgk4pwnsJdf7QAPq+bULzdUOWQuU0E2hBZ2jwOuZTu8jltR21zuN35p6TY+ut0ZOd2NLBO852dhN1/YeUVQg7BC2oS0TJAUJZXd5toEZrWiNf/eY6St/9WrhMAD82QtlBHej5ftkWAe/YVZhFFS/CEzK7icTn5wwNniBW88ffszdJAPE/TGJiFSHIut0ZbsV//pDQqaTmWRAV61wBzeg7CRbEze3CPyeNxwJJlKeHMPJHoE/hqv1iu35ZxzCyIuSNXzS1VdPgBHKMAp8lYM5Frl0QzW2qUqKm6iW1ynZj4udIBbyOFOBUNE1PMXqxJquMZ1fwtaYrmdKwL7LbIkWogHW47jpq7mx8yOeD+6ztBGaiFJrCw4EFisnXGqOOuv4QjuszxXFhdusrrL+DbbAQudw9w+Ve8E0b/EQNnd4YQvxhDwSlr42GklxXlAMKy0lCMMcoUdpBC1il2JfiYQR0Vod7xfEDG504sKt7LrqaR/DDSd99X67lmmqkuZoBho204oIuqQZyiaTplfmZdfyZfiEY7F1SGzHruW8SSYHDvbKFT0jIOCXHz5NZXNRC59paD/Pq4OBCZPY8LwThyxSuuoh73wxRmoGSHvaAkc3iSh1uizOR6HXp9Lrd6L8Qh8LIie4DJKcxIB8mt74dk2bvVXase6Pk5xB65cPdEUeHAS00/flkEkeKr4J56/pHKduisudgU6Msi5nK2kBHCFXfA+dJnRHlW1Nz1oVK2iYr/N5/bcWW4d0QG7BrBKEGQKP2Hpl8/f4/WCo/Kpwfk9LtPcxi+kOiWcdi6hO5+EOF6rHv++FMMB9ppZ+36YLGe9NDTHkn/SVtQhUWGAHnJlXkLz9rGktFR0QewNItuaYzmx5fJdDZJiPbPYONV6JtPdeNtH+EpPdOaHcxvTvkoMxKTBieffA9ypXd9eCrIrtucwhmXin+WaqLMztlUmup2qSasSFJG4od36pqdDG0fGn5kihKt+Z8AmYmzvHg9gVwcJY9HeC+b2s5NWwy5ZibIjHl34zLdlhJMSJTqX/LHzisQ2NUt36qa3xvgtasDymC0XrlQkda0kYiW9+QgKFztH/r03BxwZ/MGQCFtRtD7mxvfKzzlkby/ijFLX9sYFMctAg8sJTSxyCuGzx2MVUbgl0w6RmE9pX87Mmg7sCQYhco0OAHQQP9xy4XaEFe1KIVsen4KY6+qJm1L3o/K7Tp56Hor1p0InDfBBHqB7dG81cYnlH6VqhEjtqXcmQ5EF6/0wHWNBbVDXabSy9i5Jmzvrr18YwbWGFvOVSFeXRiC667ZWM2e755QTdrZ5EU=" title="Mekko Graphics Chart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381000" y="1734111"/>
            <a:ext cx="7945382" cy="4760924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1219200" y="6324600"/>
            <a:ext cx="136768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latin typeface="Century Gothic" panose="020B0502020202020204" pitchFamily="34" charset="0"/>
              </a:rPr>
              <a:t>Source: Company data</a:t>
            </a:r>
          </a:p>
        </p:txBody>
      </p:sp>
    </p:spTree>
    <p:extLst>
      <p:ext uri="{BB962C8B-B14F-4D97-AF65-F5344CB8AC3E}">
        <p14:creationId xmlns:p14="http://schemas.microsoft.com/office/powerpoint/2010/main" val="15278523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le Product Line Profitabilit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he iPhone is the biggest driver of Apple’s profitability.</a:t>
            </a:r>
          </a:p>
        </p:txBody>
      </p:sp>
      <p:sp>
        <p:nvSpPr>
          <p:cNvPr id="4" name="Rectangle 3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64v8K+Vk+elgjx/NXvx9ZdSkoyrEzHmwx3KjGGLSwAvHwzrXMKOqoqRKKdn0Y30k/pc6Oqymx61nISC5HjXiwiSIxsMfnqTXbUJcXvZwlqKEJ7KjT851PqlFGbxeEZQ/d47JVs6A/IrwSUdgm1JJmylGOa3sTxIG3WHBZUl+7ouar0NedJ9QVqVAIhb2/lQg7fz5dTVpY+g0ztrgwZxfk38eOSnfGXf34bJCzvlTjBmedis97gbzO6TQ7q1TRYq8iUJ9/l9zzqMH3L0vRN0pt8oUdYZi8q+r+Bd+hOqUPtYiFdXRM1ijxQZBo6Ids1UH7XkuQ3NEcrFtC7lOV2p9TbLQX+7/g0V0C4497Y5QnkNyUFXqYgQjgbHKGBD8f1T1elnuJn9j4fkg1eyE5RqJDzIMXVxftaBYu+bRBmWC+auOFURSgy0F9TXX390FcV2N5O7ecrjCd69LDgacB7SjIx6cu2B52zB1y8rBFv2f5ktNDawhb6687wKaYuoVBicCwhWGndwQcadGuGwQf48BAZBl0LkVBRwib3mngp0IZJvV/AnXYEIgjDYYH16XU72Z4EBypDKSJf8cW+/uTSjdj6jeAtz2dhMALB77Yk0pZHlTI1tvfp1FIdiAXJWfulJ7gWR235Dv531Ego4lg/osZSrrihVXNd9FUzWoVmu2NASJJsO5ElCrVd1+/BqjxNFanifayBzIwJ8N4CvOTL2YcIaGZTHaFRb5cRc5CEyiHuudx2wmvcbR7O2xcGHLafARi8ufOAuzRfhWm14gcpJvaK+GFOpmYfnaJ85nOUV6eOkz+NDzxUFEWweA7dEwfl3cW8DLlK7C9S79+60j8OzICQjo9J/aE/7rlfwAhoFhpZ2kouyEurXrlIUBuYGlpqLT5X210TfoXFBD3iy7fsPQFf5DRSgO+h9spgsraTLQuQ6stHhqM5l5tKGWjMDdv7kNCPYn/R5BB2EYghfuWUJR7CiTj86Jozn4730P6dSNHVRhrSZW8hBJSj6U+n9HfYcrZgCn6imJCAEEvbv+Sv1V6/b03KBdQgcAmU1OvpfEtk00rIN6qZ3K8dl94Gyiw1sFyErDamOKi08xNj0lmo4uLepo18Mk5/ULQ47F4a2q+PG10b0LrVYhCNkJvEdWkp6lXM+qCMszqlaz+fMfN+bqihYPvnGM5DFnl4HqK9DV8wZrCqMqYScuVBbfvK7I/Xzzwr+6BLCLmeAno/V01a/yg521wLNTwX5BTNQIJXGhWz+ndW6jOOfNwn7kTmr6RfbXpddptYM+Q+zIw0BrkAte7Mu58Wc9DWfraZ5cLGOINLPHFqDrQrDEMijg7iw4TMtsVMY1RuhyApBv31ho3OYiHmd2lCLwGq0JR51HK+44u0/pofl9W6WvP2PZNzABZHNsrV3qiRqvzWuC4R6bIFfcQYPZquHV6WAxv2Smfd3qWN61p+JV/H1DrFNGUrs1Evf+eiSoYye134AhztgkDu/OGfq+oqE7iMp4w2dVxKO04p4qqgg7J8XwnFUgb3ioFJCI6dlY5W8ddqf5kuuJwWfl3MPVLYZsJvOSnR8QqZIC6lVg0kUUUDBrMAfCYoSeDwHxsKZI3LLwl1bC9/kTjIifgAOlnOhK9TXoy1hSY45ydwyFGSu+wK1zJ6Z4Il7KnCb+4cgghpgmlg3cPRhglQ3AJfNB6JnF6Z3vLjIUwpkXmMeioZtktir3VpDgygnma6iUXhYx+dCmKl2TYKQFINl6BoD2v/EaibcImm0zLeydMbPHyDj3e60YwfiGr7CyqM6bbHe6jt2nQZUzarST+GtUesGv6kyVAjJCpVI4Yn4WMHMwUN+r3DV4tJ9QMBrMXuqOgZW5VUEzqE2MickUytWPkJPHjUvQy93BVzY4qOaPeO3/+XgjpX015IM/hIIRwGrFxBUdSKZZkvju5yDGIilDQqEPmczo4ItsOTubG7RnBt2V5jP9q0G2xejDgcWrWaFAmriA6BgzkColzNZfdv693OXGNjBOAaVEK/kGqIn6i2J8Ttj08aCctdDHaeL4h2vSudpjNV+EL4Olal7fPCVEL1THRaOW7im6XUUHzONiSwJfFDGfusHzKVTc0GNMMAVZKfyPehtQDJXeRR301XdrYwUz5jhYjN0FmCnp3XE+kQmCUb5VouO86PZiFADxOioDlMedbcVweHpqMY0ZQMkfZVEjgqt/6xcyiu6D8XZZz699WrU2cWGHU9Denm+g3fztWBOIUsPVrcPJIw0c5j1/mB09Nc8IOw+YdxrT9Sz6aKYqZLMoyb8Rl5MREe0k7d2/dIDEvUAYPuK/Kvhqc0p41v1gKheoc6CMuxCvNISt/biqZvKMC12qbFvAI0tn40fmbyfm0ACqJ4JeHcbP9TogfCUnvTJKDWGhmbp6QsCbRPhuNzFmXJ0JCskZp00MIjiJ/KkNTzwFyadovFgVx95HAhmnvgXQi9TdnyBxG0NTEfeLO19KMnMlRiKd1GVfRy+R5a6FtmM3YrJnN0PnRTZdRoaYgHHA4nlKOKcLDt8Fv9m9tIB1vGmh7uUZaj9A9MBekv2Eph8pMaA3G+ljuKlIDbbFbeM7QH6Tp2ryUKUETeL5ELwFY9DlB413fP97uF5Iv7H6u+h5tfwb3kSc44kMGrIRHVGA23xjnPVHfFBJq1dsf7fPqUl6Iua3zMEsY50wP9h03hzelkJaFdottiUaTpDQP874TpiqAkBs+R6vNec3s2woiN88FN8z1bj5iZZhlouq+hdHCi+QFLa4kanHEJb87us5ZWKGRohSe0RHXNmBOWBVpgO49yuVAZ/6ETfojx4nszyztyac7bN1Z6lE//dYcPDICQ2yKgeLsnCULpfe3obTIaUa04APOqz1jpPFXF8EnBDOsfVAaqjciuRyRnZcDk65AS2ADlzHaTzU8OEuNnYiPhrWmtFagUQeHYGdzM2xZsC+DDndm3T+zd7WtD5cuSZRUdn54AEZoQYIAdYMyV7CGMStca5MO3rNj4pxCU/X8vQ8NxL3F4YPiM86t/417NHfVR6Gtb7CVZtfkT43OEOvcT7nYhIq6nCgCVO0+1EzLHTSixKZ5hxj6rWHiNvSw5x+LjRK+xOGWTwK9++H5a72T39qxNPqXrSPtnf3WJWipXYKPWg4IZfW3F4ActznQigUCWZt5ko6jdi4/8IzjwcNkKDoV2zZ3IpWmnyNMmiEHgw9UACt2Y7KA+d+Uw+zaqZiDwU16SsS3bdY/83gZneperVAxN3Mqo25PAy/+bx88EbdRuoB6Q22bdtOICewEZCpo3iMejqR+762ZOxPhCv8oTPk/4XqfUiU4geWFLh2gJU0F3j4/rktdTZutDlX+9wUHhv69Cc17TB7SHUO8oIZ+iCRxK9CWCvZDtaTNHEEGaQXoGEabYOH78V7PogpEQdckkZvv/bB6hUF0DBWpAbwx0h4w5Tl/TI2ejF72xL0nPUvSI1nYPleHR102iyvn7ECwGPgPn9ozmie7KSPlncDBpve7ZlDaBzuJHFAZ85L4eOHeGXoXOHzkIPgTT+tQbrDTP2IVmHTnw9y5lSFzIsWhzBKx1OLWbgDKoxvd4Jfs6ZaHRrXaxIPQLDt8v6wApw/e7ulU/zYl7XpbX8cfA7+bfbRrsRMqW0gD+2T3+df0vh2M3hD794UT5iYG/C67DDYx5MOU95RitVkD9akXKBfjx/QVo0amUnjRiByuqwvhz50+Ue6hmxH7XzUH8RwEEY9wODvdp4l9kx3jfmInCZ64X/LBYw9/ojuILHt/l2nIAkRIF3A4/g7jEwIYSxbJJ7Oub9nITW7Vq/+q1y2LaF5CI+rKwlNiQVNWVLBMJ4TKSDBbeF4ZGl92GiV/1q/tO+PlmSCI6XdXyY+thTCxwLsYXLDymcMHz8QLVAiJOtE+pHzcO356YcDlKu0160cRuS4kB0tmmjSAiAxM3wjEaIsPhg6xLigRyoVFzUXqFVMaY9x3TLkBgYzQZSGVqKHWvW1MIXOibo2EZ1C/dDTjQvgXIjJ6y+tipunC53FCm5fLI95WtZZhc3O7Y+xjOhn5o7zGXP5JhAm4CeP9rNrFV1JseUblhlWMtcJ2Qqwn+P5hwYEci82xvICk+dSacvkN+vCGHeGhuGwZljWxZY4PxjLJFmQGUfRAD4ZOtbzjl3MbpzC6OzWv/cNlEtYFKxoh7SLBW/Sr7LIv7S9jxA2LTXI7QZpDahFYMDjuQoDceisup+z8jjqNBifGoW04VxuJMy6lotPgQjzUL6OXyCvcIv3Ax1Hv2GXMVho800KheBp/6m0S8gBncEXFiaBDCBfeYFL4YrMcEvfNLesH6uAAv84gTxc6DlmYBecPzIwOThDshbEwHajGAhUfHYEp3TjA/cHSjWcOL55xjo5DvmFHLcpgQnH8JYRYtgaL+qMQKX7W/kIpxRMiuTSa1s+yPUCRIuGkOGVqzBZ05qZ872/0ZREdl0ghLYADUPjQtiJ6PYnhlIFrrr96a7uOFBTk7Crzm9toNHEgDul4D5bkfvFVUfn2MYTUmgqd6HOYB7sd5gr8jJcVyJEQaGwWBP4H/CGdafc78A6mB+C6a1xmtJIhjYV+teL8Xzd6Z5DqtzdsCjZN0j3mhXizXajHbRQugDIU8OplMF2Xiv9XN/7FxwArE7pDZ96E0YAJNAnYUB5PgG/dHr0T9RckK2qAPv5pHKButofTD+y82+cTuL9u/wZmprRrAb8QcNP/1ltLLmcn23fatCm9mkWJjl8d2SoFqL0RFaT/dP/Jok95DoyP90kelVSeOlwdpORTAL4PE8vt4YKT0at3le2HJZXiHfa+lrUguNDnIVRPlYRzQOO3uUFG6vuogAWffd5baCijhKm2wahPP24opfpta4yPN4+qlezNVHkILIT5psKQohmkOsofyJISr6hruEvtL6bqVtiL9gk7mA+no5Zoa2WF2yms24OedF4YWeuL8as2Mnwhdbz+xraAX+KqeKnzTMpJc/QZTvkQDXfwrE7jL1YghbPtOl07qHt/YpdVNN9exOMXNL7BLa4aLtxMRCJ6jKLOuSc8dGBZSYlycAz4MH14+fJm+yICP3ztMHhcuXgL9DrLooDGbcrM4tNNXb7FkO9H4Kbuz/moxnivuQ8K03uF6VGhVUa3rIRtYSuf9tfWHM0wc3M7xKYLgwIQXWKf/e7dg0iMR0OsWkwcInERByqkUwK9b3ubQHuWBo2CBuukwEPRAVV6RxOIVJMcx7wu3sqNJMjF7koOiU6WW+ZA1GYgUSNtsZWI7h5/4AZoLm71kLceZQauCy8Y9VgyNyEYGQalRWQQJiFz5wfgzCXGiDsyCdldWR9TEXHqWw345CL8v6CXdEyjOCg/X4C0p241C0WeP2p+YAioxGGbsn7BPeQ7JiSfAlnoFn00SCoE4pY/x6kCCZ9RmWpua0Ga4reoED6qQEGUCLlfz/o+KnUf5gxmh36MCHPfQkHhPtD6tb44xfqjfIoIu0XAOqOZO0IMqaWKaKJecOzjYvoDB8Dk3GC2JlsW19XGlfT0EW4WZhxTL7fU4a7z1+XU2sy/FKkwUF6l2j5UVbn2M/asfEpwWgxdgs1Mg/LIi3CZ2mcP2fnTlox2ZDOyYEBv9lAZvk4J2GWx2t/JaST/GwWExqm8x4hos9ZGK+4yKp54wSsHF+lPsszXok6nsIpOv2iVssAeiXArhZBVwvdEAWJf3XLuZk9eDsq5cqRBj7+PcBAsvTBw3syqhxH1Xpl8JqEBEwkUVaV4gthLMeSVkU4srSyYzZA4UMkZZmcZOUK7a8PVj9CFXjfzG3y/NGgj3E1nDzHWdAqIeGNuUkyMXObJeB9R48laYLCvEulweFqO27oUtnD0DLlYLfV4MtoIOHA5FqMq+5nzoDyjbiIzZ+s+9q1E8zoLd2A3Teb312P+HcOrwOdjGfSHZfmR8nNrSwWaaR0NmHcSt0A2qEM/Ut3jVS5Myu1rEbOdkSK2aVepATZHjGE4pZ9ld/SaaJ/gO5L1JiSqxrsYZdDnyvX/5S9NJfOTCCFqipKQTD+eYs7F+BoJTkTV7AMcWkf5onVgaCSVN8YbuHZD+VQ/uiaisTEJNYoVabnbsbEJrZpD9Jtmv0hEPvqVACjdclMoDJs+QRzOteRxxZf5UmhnxEYu/0FBRCILGoXz5bT0SXwtm3/p9080vY9AW4yfRYisJqpYL/G6Rn7pPxPrH4pnp6eKaj1qNceTQ6J56JMJx/tkryjsVU5EEuLtwx6NG+KlH1jjxon52znReSk5tIei9lKOn4Z/9YBT5a3IGgcXZDbIwhg9s19MC9bkMrCstB5TD/RhznCwjjrP3qnTCCuPdjfMNt87kuoQ02KtaHV/MtZz+i0ehCCMHL2bkRPSUvFQ1/FFrkczdMBYlzTXGA5B0q81oIrL2fZsLckzg7LvpFVArPlv2MATj9jXPlyOfCXhts5ESSkuIaU4hoYHozh1qLR3zF2zTtghU20d2fQb0Mlz/PF/wVOKcFkSKt3yqUmC3uHuBQK6/rz/zXo55px2v5j0wq/h3DWwWjzVJxABtAC48/z2eG770n+qyvs8qjjcn47Y0QuXOh1FsYPbwkHc79mul8QLLFz06uq7iA310JSpcLMJsHws93jPl9deUT+ao2ATzPdywqFEAVnFWQEjL2iNg5SgxB2Z0mcYezIZFLjdwUNK1cu24fEhUFhz+GbHiQc9XZTExSRxt9X1uKzYmWvuFN9WeX7ZYD+K/RXavnCYy1eD8wd21rqiYge9TvnEdyYCtD5H18BBvYZsbfWgEiCzA/fSuplYwdI8FiWvpCQk0hhX+JQBbPbwJHbl/kN//253pfuZermpR83ewgywMtpb/ENw0uD31EcwvmdLb+UfsI3ZGx2XWREY7DQoaoQ90ZkxA55555tZBfkrTHkhr3MLYheUVR/mf1IZ/L1QKNMduAOF/CgmmKyg5SmN+nNpULhRQE5B3HjYKDgkt9xBGMPnkvOoUMKtGf5rsBqkNvsbDjlkXH5T5V/yud0YN6cVJl7jxPIQkBgHs+QdOYYNkvLPn42GXpe5oy+1vA9+SnnnclFVAiraX5rT8AcPWSz7nOU+hNciXpOl3dRnAUMLERWTN71Ryyz+7DiB2bdQLTKwsKQswNdl7EUh4AvgmOtZ9fPjxYKdpuk7me5CDR7iXClfhOi0o6rIOM66BE3lJOGSYAS8EcJXZI4acSDz480d4+ZYsj2+o7zi0NtRVwW04Sp/GKzn6X7TtDY5/egKEak3HYkkjUeJ5Lx60m2+MHEwDZVJmqt9U2rCz4w7XbMZ9VM4XowSjREC6bn1nlG2rI8Eqr4baar6ZmeeAyF/+awhNLb4s4B1Jr58p4irRmXNmgvMW/TkeqzagFXq28LIfu9+UCeGTBI+QQs0llUWpO4abOSIe8B/QRvOcK0mQ35oSyX/IEsTFMv0tmy/o5/yYscmwdDtr1CaJdYwAJN324eCJ7T97dv3f4CD+p8JjfAOyd/+2pzRUf8n7UJcTsjX2JYABCBAVev0FKVNaAXkCFFONol+2L6kKY5xdjtNlOss9PFvAOTAbpXxo/wG3kuixi9e2UVqogtO7tlQNJwGYtFu0ttwLC4msZAGzGnL+v1OYAzQzyk4fGa8aTfEF5FbZbs3pFGRU82tQ/2bl7yJXaSw+240zfMqrU7ns+BwnnFIn2EOulZagbVPygiZ5ElkUtm/789bBJfcSNSxDVvGRms5MiX+bJJRph9kqNrHT2UczCoPpBC3V2ghvM+rk8UBKAFYE6YQdOMxtjoamsLpBEY7SIqthjDyzBdpQ0l5d7yLDbrhjalkPx2cfaeabzkHsFceaMDqCmO1bwU+dHzz8tF7tq/3HRimIrzpSJHlF6XpfyqZqjtUKMZMiSNBnIPO+C9i+nhKyxgCiQn21UnxaODus0Y9fBfCivIcuq6VfftMj45etr6ckdi+qLX88AapwSEN6lh7ZvSoQcjhoPjnQar2XiIu3cjumb6OKLwxsXfMu0RMUMWz5bFMXpRTOqwcrZM3hzASM87b9UDwHpKwt5bDZCh1PQgSoEZhzlQgP+mpeT8KlAHwHYtnYr0wS7XSIClykq3izKEqRjpiV3kSk9UpsPpOe4nNejteUcV3FQTpazwkqmlO/d5EFiyEbvKwE7cZEcZ2niorPh3tj7BYlJgg9Xpk/ofDY+zjofQfxca/8lt1ETOqpn0TWCSuL1IQNwoAoMiZHHDfKciiEiPOHGEYJ2E8zepoLr7oiBH6zwqw+UuPagaLPj+Wial6uciwJwuhzNFYYONWCVrvsPlD/wJi5lrGBmSZYc9C9mFpa4af4fzI+prArZfQHvfEYfdQnjs10Ala/m1wiFKhjVyB1Z+4YsZAA7nE4kqaNJcpfjK9zPUul+EXVdgiHDUVz/vD2BqGhNi4+HcL8Mq/nk+3ytvi2PBwEzTrmFD9yasin7wTGrV/WX+aLE7y+vCj3cNW7h2cJ/yxEa0JeRuXaphS2VIIDHy5FtlR2heuzKrYe2S185bW4zgUn1VyTJ8ezyl2JRdduN2PENKc9r4PKl/O61TQzW1l4jhbvHKr+BiwpXO+wsG2ilZpW/223TeXb0fee+PK3ba7UXqTwzfi5BC6K4DWORLi+16iUxs+UOszQXQt7N+NL4qWrqzYn9s9Ylonk7bLJf+z45pNU0yG/1XbAtF9JjB1EFz59yflplHDZSuhJTCvTIjVy3DjLGwHVhuJE2mh8pQSMxzySf+yi0UYGwDaXY4P8y5KZIIN+Tm3UGbdnVqi3+2IE+Oj5IE+bd1EwfcLqi8mmQFShNapEawLWuuagWpazRcsvGGVqOULum1pf6lFPc2y8ga1inem/OpqkLm/WI8Gz6iiHsvlirObDv12FOxvZb5t+8E4MZL/zOTBbDKfvXYdtKEJj8wKAgvghGgONZC50riIpY0mINKdH7ymbyMMpMTNNtAqFpJ++xyo8Fx3rgTunjIhXa/aHBvNsg8WaF/N1qMCp1mK2TMKRef/3RTAGWuZCe+zIMBP4ZAUsMemW6Uz7J/qU3m1gMh6MgvsczUoUco7EOb4riksX4fOmfZkaSSJNDm1Uxmpd84MYpBlUOn7+SlKgFfzXPZdZNQiGhCUCmR46hWB6l9X4pVrMiNmdsEBJDXy7yftErIRioE/bmsDHH/nHgYNG6h3+W+eNChV0o1T0P9FNUCDSA4sf8U5m4BwgU9Ox0TB9j+0a/4kQaCSkSrzCxIY63DfihXBDtEjg4Oh9n25g73X0ItAW9nPYrTSveT+xgbG6dCjTMq5IbBLR4o4k7dkt7/43Pp2sAHFTA3TKK8tRWcEGUxHXMaYqUmEB2PVTvArlx0oovPpkybXJPv8xSCvlkOJj55qT7vZBs0LUAdleJAIg7jAkflHwEuadvIrVDo8mG+FLolriGzPvs3Rii5xsKiZivhmpdXV4G69uHt28sSOXFaa0ELyiibYl1AF4nZsmIycsV+AMJxnYoUrBBOm1EzKJy7SllePmz77G64xukQZjcA1G/znpIa7aF07iOOq6tID6793UmTsvMNSK+6Ef/5wdO8ZtfhnRnLBbehC7StUBvgPT59t0eX9z1GTm4I05RcdLNcXVL2T/vxUKuBkD8iG4lbOoN8rytEQzI56WZkwL3Oezx0bCX/X+O3kt7NuZWAVljtyTkjCO3DIyltMnDQPU3EQDTR6kp9WDnsK/9qc8NBKva8By78YcDVxtmyqTqSHSlqHtMcXpsGKw9QCwdgkAeCdd3KwUpp5ULUJ5kXGKGY8ExWsnTgtm4Vr1fBKcfpyGmyyrzLQlXlTdQ6bADtTU2G1/Ca9LGXocp2dWCApxfVxc3/y/W9t5LbGbbqHU2yYvRWH6uJKlyV2EnoOtMOK4sptm0WntNCUE3nP36K7wM5k6KXbD3XrXre/FpIpmSKpFBv4gTr212x9wJJmK7jSQ1DSwQoqkTAgI/Lysr3RO5aKL/ZcuGXZqU+H3Yiyy5ANDAed0NSfwJesflRwfRMHOtmFSVU5uTnZoJDyMQA4xfMC83S/notxIMnYGuGtKI4mBQt2aeaxWWcyWBMReGxekKQ2ph74HZ+gWP78icSNhjTpGqMKaUL3zFdM5IlrlT363VIwlYQ7RowMAK5VW8RUKLjtJu7Ky77Fv0hYa4uJtG1NuzOnCxU4Ii9R8UIRmm3dt2McD63IMNb5DSKMfSHxvwJGo9IdIFm7ksWZWZxpYmz7FUJirODRq4NJ0sL6wBAOB5jdy+/GDR5HHFwfQI3lBMcXMSAk8w19zwkf3eID2mhnInf/n4QxHoG6PCaExsft+OaKLtYcayRdW651/50NPPfQcjoUwzg+0ydpmu5vUNS6D3cc7839QyOIbXO8ockhgzA7MekwWwmjsUhT6RNzl3uh8jr0KC4QTL+TS6rqrPdKAn8ECaH7XjkRQoY5aADegW/OjlkNV/tqn88TPWgz5z2mVZDk2JzCoxvxjY5OLJyjdGN/5ciF6Rxs40QPiibJ+Rtyh4TceWs3PqbHMYTHyft2Ke9bp36p1GHMKEdoXJ7AYC6++9V2bh0pmAeAdCjkWuMd9bp6pV3+9NY3RKQyCFEKpo/nXuER3iG68BU1EH7IhbDFIuEXDS+RkmI+9kwi8EsFFEhRlQ6MrFkXREhuX7+nWGFl5nyYRKgAMSinT8VwjlVFQbE7UqDwhglCf+N22jaZ/qERLSJsOK3Ui1Ww2pDCAPYTr10+tWhimamtv4wuFN6h5Tt0Ufgljg18Mx5HY29wQOW4SEsRJY6b3HcOBVBSiOYjO3hmdEyZOFTXgwvpXOFfdYvLP4sFkBkSzrPNcFPr0mUuAxAvj/nImrjJjmiGQKLvSH/lStDI+8yKoHmhEk7Ec4VuEDXLX092FywzSc5mKw4RouQxC3OI7oYfo72crwmVj+0EiI26MXBiaCx+ee7SFhITWVqsZRwpo3nn1wCHBT+F4Gd3c4Ab/vD1JXWpcAb5wFad8DDYzRJd4bRzziZfnrfVb5euECYOs89Z53j8xigBSp4+JCtAeH8Iv0LTF42xkzxdA4GNfGQ42F3lkOR8eMk4dg1UF2QbuFJzFRXhUHeIJ8DTV4A5XzR7Er9NUtRR0X4gmeBaUwUGcYcWSF3cUXuBD7KCR+3q+wcWeUv8+WUpN2efA7jggRieIxi0n+1zbJZNXKIcq8CTMhFUXgDY6kbu+v9x5mZ9HEGPubhwnMUMD3dUHYOy9I9eJNJvsYR1AWyW5KelITcAMbaplahW5FpHsiSaSavwAgYGLpsTX/bctz1CA5SfSliBKkjNUykNxCZXgGTeVZisFnEV2dDQAoD1ApAB7WTWdWuwvFwtgayqGEXkJYU2Hy8u46nD+8l1xITimymC4Fz7bqi9AppMRjPRu+AtM9asO1PedzS5Avp+fJ/m66IzWel484GzQLG941MSeG7my8z9Ug+UijkddHCosn/XdhK9Xk1zH+5mHIzf7PaO9Plc2Tmy34jxy7cDqJASRkbJ09SJg6PMIiNGt+33NhqJaW99CoF6AY5qgxzME90k7z0C+pTZFUzOI9PElu/pt/tRof+mZVO641spKRc9kAzL6iZM48HcuqDNn1kvRzZfSl3X3giWDfJ3A1crcPdhFn0Y5nB4OIS7ftxy911NEcACtAL14h4OnSJNIVt3A38IvshPd+xBXmZJEGdBYQDn2JSJpLCiyQ4rZNkvTmc6pVV2QFldbV6WUBPXVtdCivYsv5frjWnmlZAzc6PZUITbuxZ8lY6MEygmWokQxOLpE9pB8vBSrmIHruIgoZpb0g3JiVBInKUURwXqS7atrsAzKKxx8mJT+o3T6X2QnslWeKYz2jKkAeqGBzfnaxa0pHACN5bIMIbfOv8eywRwwBBXxpUZeDqA4+OGQ6/tmOybfv+2Q7fMlGDpSm8YVVrKqhIVzdkW+e6jN0tUqNiUL5gXMJj6SyLy9rkYaYnlqG6Ta9Vr0QVK1c3c4FHVPnZxEUlbpnD++zpmKIr6yGYkK+wKKoy5RpANnVMtTV8YpPPyVebmSB5b2j47pYbEH9kK4OTj2+tA/y6hOI+obWi/wmjY6ZPMXfJwjxd/QV8U9R9QMF5+3WHlhmfk6iFzLMSXSAOkka3Zgj0vfhkbjGOqKFnHXP7C2ZMwM1lMO7Wui13XIKOs0Mv7+vPduIn/bPFzkYpPwTs4da/1nUaE9T06oN69EWTXUYq9I7Gp7/7wVDq8qFK3kjx6HR8AZpYV4kRRpiYxCbsBU/cRbt8MllUMdUP8vH3xYXEX9rN5nSjtCEGxcbxDS5u6uWy5PuAVSZK/7+fe8clqvMqYz11V7XIOygyQue0tw0ncYeLnglgvPr9ZCsMJx1A8Yv1UIxSehVEbm5gknrwQjBZJ/YqL+f/zusL5sQJJ3IqJxWcSgK4Loj5BXkZechhaZnrtGqmP1htyTn+wTrEe3Ud1lBvXXY+CAg/zwMs9rTNLwMxQZ9XYSel8/F38jsRS4eyA7ffnZjy3bWPQF2/sZAVYK7UM2E9wOvP7ZFW1fLGiYySaugGs/VjbSB6Joqlse8vjeiwGCm3ZzfNRvyNykkzGC13YaitvcakfzClDwe2IpOC3HrYXFUUI8FnYrybqJ1OolOp2UnxDD2BRGYcAhQhovLIH8WzCZQQc9MQGrXVdcSsnLD3o/8AyH7CgJOZYch1an9v8ocv9T4Fkny+Nqy3PvL3yYa1kWhuhVc7nu1xt/NOlPgTfIfLmJ0GeXNDPn6ohygfLfY+kkoajPLgD4E4BzQhsleguZ7FClG611AUJ6h2ZTt8qbAvXv4wL2t782ngGrkzejoY+Ux2o3pcMkJcqY4tN2G3J2uBrtAzqQ7Jp+2UJnR+ECRMuAuDLCCKBSx0KSC7X/SYYxvB3j+OZR7muWDC9RZAmrfgUr42ZDFeHblBGxmm9KlFl4JCTsIuRMptgUKxHsoi9eCpb76JzMPfE7gZcIreyTY+uSGJfYjUWB1Wlf+sO6MVs247rpWdBloWC3vV9bZR2OFbvLMSWk2vx3ZZrxqvjH4i2kDXRLfXpYGlSyBHzHqSey+E0VVsKMte0LbgOID/q05DcAzwsRH3o+PqkIqD/TGmlC7+LXFpnHpjuE5yMlioR6J8mhkFTqdRBnLIAV9Va9iWPE3ki48zfkReukFuYbJN2LAncR/1wXPSnReR1oz0FixdUogK1Mn5omziiEHt5eSlflqZ87suFrkeVYUy/irv8Q4UL5B7Sv7em9mFR7mx/F80bohe9RazO8PU+4eDVQjJ9P4NStUhsuAK3iT4tMonkRwJOfD8Tjpo+UxjRJfnnfVuG6p2yI3flA6/kyO0r6vqRfk+TTZvJ4Xd1CfIg880GuDWcZ1tveAGLW6DVKgXIk+vRrQpiCcp/2g8257CRrhfGR2K2mwo08EP0X2Olb8/iTRKvq+Wad2g0Pbgbgc2d8Nj9npmIGKLZCv+6NRKzEuJnXq2x7rKE7mQUFMDDG45301pQUMXbaR5DWjs69twc3Hc4r9xv9wpaAvXyRFMs4n+A0I0xfhRCCPyFf6rxPTV/2dezBgZtmBTzVf+0xQqYd1tLpqM3FarvunM0NKfgq+Z9fwIrNAafaHTIYqxPHERAOaNl/dGGJh9kICm8HhE5k2tJlXdRvC+1o9/M2TAe2zEfa3TCJ9FGQ6akoWDjZm2ma6keFLUsPAOYbdclkIIq0IIn23yHYeTFWl3j+YueDJS+FATMu21VUu2by5KIkPsCJ221JiZsSlpFVq86RRx8+NrjOYpDXGatSxdfqTnLuFY5zZHjsZif0n4VzuLeWeFzDecXQbIpxhNVx6dHX+PjtLYxX8FYZdLY0MBC8KFduMuk4nMg4dcvb5K6CCsr7acJ4Gs+nry/H0scI80JchqMRnxHSZ3gCsR8qLrEtyXbwj1LLUKr6q7iXuGqv4eNn70Yi+V2/BCSU7LI9S6wmJ/kHuqBASpDZewNEQuU4fxjVZk4y8pe3jnS4Tlcb73H0KQagR3qWf1iu+PtzjiGBI82z/J8Do2JKOU5YNTgBJqIMs8b+f6HtnWUtmlZQ314VZU7gEt34APeWp7bVeduaGrcXX0IyhpnDUZXDliC9y9+BQvlpo0/9dpw07HDfbxomUNf+QvS0xPmNrDuukVL79LcqYkFA6HWzZdtmiQ473WftcnqP+tYKr3x+CD27XTxREIlTi7t6BpZOKVqgurT0OXC1u4tRDK3ojntn0+qylHOPESYKpFBfNxeANozqsV4BO5xHhQ2SY3ozMCYucJ/w9Pj8nrhAukdPWCNH76SndgVjkLJYpLptbRunUB89TMdzKZIzewFXKMSOByMna1zs83yQ7mRuf98ZVquqhiqYnRsEbEwpsWX/5uFLKRO1ZW/66OPg8oRA3VsFTW+aHc4Gf6k4ofmliCPpLId1kfxjtRHw+xLw04WfLwYfn8TMHXMzJR/8pLCbavS47fXUaLxyi59WspGIU/07HA5jCLDH0gvAzxe1mo72i4MrUa6IWVgzjNN4pnJDxHzrCQZ+PxI3B6f6X8ViJ1pm9YN5oB8tsk93ZngeyLWy8yPWVvWF2Z9j26A/83ufi00j3X6MMb5U4wrl55fT8D1YmFaa5b1WB2Y6pd4C43oHC3FOBTkirDp4280bloHePmeoFnPLW4x3MKc2knrmcltTNmLOpxvsjXkNejVGz7RkaTTLNAC/QeNtTpghzVrA+enS0wbV50EwWQz59CKzj26CEUrmHjDOSRMsg38PzSI/jIOOQPKBTJZeS0vp67Jc0AGazjNCDrtDCY/A6j++WXbZgS+Q0/zzMIhC4rq1SsDVbEPXMRpT+m1ayP/txIXt6pzR21plBh57INMe9DdXyzTDNimutAk519C89Jflp50xt2NTFfRViM7zUsvnyoP2KqxXQJ1pIVLcwDLB2p/2pMIe6f3tlddkuGtSnuxMQcnzRj3tz6sof6FouLdCnc8ZlbweRIMYPFjAV5+ilndX3irZO/++Kp5VH2p+87w7eV38aijnfb5wVhA4UVoFs2j9HtyfL9/myBAamYuEHgVwUt6lm18C5MeYfuV/md98zj8cZqgkE4AUzCnlKI8taCaTg/AMzKlmgs8bMnl8PPd22pJaFhiNwX/rYBejzReNF1DjEMtkI/woKByiWwpn7UfWwbN8+RutE+JbCTcF9GXdzwtjjmOAGQjELe0CBJo28N0E0mmx8m0hI+OMBBIFZ1PruCDnrf7EwIQ2ThqSBMU/Aqyop0T4pSWzCqvwv49yKlZPB5vvctt4ySxce1ibgLXjlOZOlICRPY8WHYiNBMOmldBikGBPWLN6g7L8/ln6uQMyv0WYoO8dE/Mpt+QoTj96ttV3axATQqwHpBiSM4M4pEE91Eez3zaNOVPcE3pB/q5rTteba1HM1Rc9l2yFFVjJc27BNOx3nDqNLaplsu6CUgg9aYbFkfi7KtV+l9HlqjMN1YXI3TeEHpF6K+QYlwnZ8ml9J/jZ3rB46+6WYMTr/tzK67KI4YLzr+bw0Jgxm5Nb1ggiDwJarmAyonQXV5mQRHFbF9+KtH0Q2/Oi2+Pj8V7Ln9zpiEuADhVQAVAYl7VkdYwzAAAnLtJA3pm1BBKVE8aAH7S8SFZnDwAar7xgNqpAb3WCMVxzQ25JIabDzf12Pjn7eYuRd/cmS1tio1nTo4CX0/ghVKVaPZpo4JZZE8KnsjzJYtNPqTQjH9aNra+F5vgq9zXQidmOWvMR0hqmf7hnctwe9LIIPSs2v68M6vvafLyBAEDc3ruGpyiuRdAP3MYS/Z3/J+SFwx7y8d8jN8dSXNiPa8zvvnmo6uFh0bZrNYJiaYcZksfnr5Jd/GwHmxGeU8785s5adEHkzPhQo/OHIt7EasiaKatVozTBLNqePs/eUS/VjQghpYXrXOWLMbf26C4hL/25MBjjzsVgvexcg0DN97OkRVtr5RHsd7vD4cOZZzPGIIhR9gN2yjZlUlXKEaza4ly5Wq8awRABwfCjm+MiKN/zHd7WOne4P3OTqayLfW6v+C/9gqq3qoQhT+MHfbrkTyZq1FrfTqJrRznTRAgbCMII/Lm+/fvmWhc6FsyHEUKTcBMXWpeM0be7SST81w3pRl/r1C7JjJF4rs2MG2X2qDvtk9E+S9/9VraJKWfgRz9xhNB0GZoIMeuZTAaiyPLpJ1scbPwweYvKNlAUi5t+rF6tGIZ4HxkOC8fEpOx2GzFXJg+YoJH0vVT5o7lKmg5uHZ/+FBMGwExFeT9/r/t/DQcqIqUtt8FnU5s42J7SnwO9TiQUN7aLiuSo/vbXh0cNTVSphr/ORXLAWyZTJj8gLb3DCUKjSph+oTnwvZ3T9r2W0BfmwdlRkrAQ/1zEVLILtMHMuh8T3NdCz8ODlI7TkKIpse1fwJWvvemWi6uvsK5+hE48BbE+cZ05rCPmreAe6VBAUqkvS1scL5RYF+VrgBuaxbQBUt4f4pzjDtgyflWskhfh40O74HUxVdiqamlJmyWwtO0He6fWU/ODZjmAqNZD2AHRiPp0ss1lTXHclqvdnwL9Xioh4ANWqMbwyKNS/BgvCl1cyywc+YOQ1Vso4hzUy1CU5tYRxT/rKuhvAuziXqcENqqtWMPpaLmny/jO6NPl/Xpfy00UIP0xep8KCGDi7byedzk3t2TAo9ZpdJr02O0F9r2vU9sydxlJlnxua0GhM/+Y4nRmjSPmKsbbb8oNLpYVYaYr8IwVA5t36IRiIeNRBzxs2izxRXGo/WM9+CCfTdpDOg8g+/cw03eU3t8eXZcqjUNTolyEtJeaM2aq2JZq2zjn+Ckv5p6mS29UENxtBei6w7xHa2XthxlAOC2E1mERjXJFygQNJKFj37LVL+66LHFDQADqG9B3MpQGi6YInbSkS1KwfHEHCsKfap28N4qCFY4xl89dxFMaNffQhGU4cq/VFg1UFZhvV6Ypgzl0RY91Zs7dCT8V5XUHSodwNhAn7Zt80h4pVT09/luu+B9v7IWp8zkWqqy6M4tsXdIMio0Y0Y1xvp/FHP3v3b9fTyyGZ4peg7AXaq+J/MjaM240C/zPQZnQcrY8UjhAR1Q2/tPncGC/3nswymqZZ4clCE5JyeJxqMOPnzDTHSNRjhqBJak7SbjdQNkW56Iy3/pnReSI32N16F2nqtlKgxo5F2o70k6SuOdScdTx2mvVxGhO4lqlHamV29pOhnvU8A+QlNiC8iaVyjWm2m++hmdOuDr5rJJX6+no+uSx4UxeIUdZK/94ggKRKG2d3oyAQL8XLdQa9Ycs1EWNyX9wy0DN8TNviEWQLd/hQK6NtzUF76YIFnH0Zqcn/R15zs6QDuyAzhangtGssKFO7XVdD9MDdjkmlWue57xKkUntDB1w2l3UH5r7tBOnpwSNLx3pBAnN9o4UyQvZjzNWHkbQ2wxI2DPmHlNyb9Elixfbq7y5NYSAAyKJCK27DCSottE4/6/yJxao48R/ojCYUOkMiNT9WE6b4gT6AuUFM74Rt2DQp395BSVfnjdSLCRXDHGp1IR6PYuO/V0bif4k5XujiJOW5aPj7tzZtkMV9wJzjAnZ2rz/EjBgTSVvFkq5bSg5KwkSF/o5SoUhJVHDbQaidXWSnRJ+zamHcsgCnIuXeGzH+YdKClGog/MAGnPxocTQ7Vzo7FPj8wMbpCeT9l5IOfEpOMHicplwxtmW/v4Rewk0G03kGdqICpv9OSahm2a3Dd0BF5iL8GTBMyuhe148x6Y8wHXGiJZ3+Xf+fGdwhsoXQhHuQETUH762FR8mumZ4mPx/p5zW4jw7FlWtjIEpSIjt8qSmmQG9P62p/bHlj0BCtIQNJbWO3ErfB2MaK0P3JY6BsM5tdSvqSoQu8EHD7eMZf01N+KbOlbyUXEhOJhUTKXz11sv4FRqR/7NI5nSKYBwAyZzUY11eQmhBjAeo/zGNA+8B3dFeIClunvnWCYY6iPlZIqC5G2AFguGCnwlfzwZkY/nrxe4sxAYY1GuYL0INdIM1ogdGIVNGYtamC+WBR74DPHqoQHrBV0kYBAQ4dCAzIrRKVLYafd9wHu5/L/eLteIdRbWJHIYZFA6pUFkaLg4NF51wvrYvTQ7m0Lqma4xu2r9qf+BhlteRXFwQSsH18Uj+tUafMPzR7ffVNWPYCo+xDdRmDHxMZiW/n2aQ+w5bApFHMY7z3Je+XhGhLEwC5DxoEkTrRCIXiBanQ2wjgWgiwEjnASA/HWXRwzjERneiW/qmZw4MIZGVuqou1z0OZCEnfRNTC2QV/PE8SkYt5C+4QSywtYhWUZDkbgSRHaNjJpKEKNj5ZWSjb80YNBfH8Z5ql8IH7yPW9qyNbKo9NX+IKRyiMKYTLW/LkYxdTSfXbae54vONPwJ3z2a8RUWrtQOqnTnjWImWej15EgNMqvgRnLDWcE3lta8ZNDbpx4gJ0sl8SZqatu/gKVI55eDg/SExNTPMf8cABNZ5ARzZiym7hCCSVoOaJoZv5gCBd3/ae4RORi1cZ8Zhwr+nFg3piZyYc+bntKMd9nMJ0dX/Rqu9bnbtuYRcfBTWF4h906fc926ItZePc5EXPDyLAz47rrQezNvkTJhJUoxYZcNNOjO20O7NeNEupZ5TIVrZUviOl3YWKlt8zQRnKsY9EiU6WotgvfF2+vKlby8QrVe2fW0wzTMIy9hbN93bUKieFzLYInmQetNlK42wCH73aVJSFlJ5xFrpFnuMFSOULFcecb2XVXeisIgo+DM8JB5XG2bcaIoKdGFB2RE52sAXk/QH+raSbXXjINrSAc5dWRb0giEseYLPXTvOxmRYUgXfA24sx4IbzGA9Byw8vdShYUjCeuGVu5PNtt1+iBvCN9EIIWf82PTN7qKO7Y0gbHD8YcBRZsxOpB90nw5MiJZqzElTKYc8be8iH7Uvnx7cOAe4dn+SGiEyOPxT01Yz5wqzEromoN5tbD2TY6OjyJel/ieKvBZtveCmkE3/HBfnH+MiU6cZpmXSqBpFB2HJ53lVs/h/wl0EWE41cH17GXiIhGGxBvqXafieEmg6aX2h/K4ltTLwhcygGNvE2x/SgEXf9nnAi+niNRp2e1oCQZ2oIA6Nr9cnlgI41bMg9ibUnm4u8IjinLipkV3O4tcnIRlxVBr9sJ9ERxJ0GgPVsUS7haJni+i7KgeEGOuhIthshLS/3FVhzKFb4ZzJqNb8q3me6A73hqrN3bmnbp5btLFmDmtTr258sugWNp06tBqdPDjbf9qPYNkZC/e51/Ovz86CVHdWizEr7YhElgsFa8aIMSKlQEtJ/G31BfHIA+kEGBJqDmj5U/rPZHBe+0KiLv2aL9UffE/FQtknJ8kahvALzjn39JImAPbA47of6NMEjyJBFzFZ/q1jqcPVMKOzhzvEjKIe6Km4pICQdO0YfGoStLeWv9h3byJfze6eiIGEXvCwTYOz5D+X3POIUte6sqLYRN7e5SgKN38CHm7r+4APOAiQhrxoa5yQJoWy/WGJJ3VaptequxGwV1VwJqvTMiehZImSfF1GU2270UPOYAXm0vLEZ0E84gcBltHgi+1cLA72l/AsY7EEEpknJzkCq++npIi6Zx+i17ALXC63SvadYHmZloKGR2UNrdc058mOTnuaMsTc06IadSQ9yh7qGpRfj30wSw9S9qe5Z8Y535K9FNhCt/ODDforYJFxOND+xdQPe5KrxTzerYKd0lvrtMzNFNqconRbJwE+E8C+jB5D5ZKAKNIos7RwNIar+kCUkoUyg576FWsv33/yLpn9yLek/oqQOSXj2KDBj7cO0ZI7/Wd5a0CDELXiz95y0ee4FaYF4a7Y9kmtc+zy00QUW9R3KDtgak+Iarj8PMEpHCLDfsjuET5o8IWz8R4hv0bhUvZMuMXzA2mD5MEExWKfsxx011bb9pI8QlmAjJSll7rpV1t3IC+dUTucd8b4jf2YGjK3eJUFKYrCpOgVPlUAbRDc+6OFCY9r+tx7qqCEWc8yzoJWf2PRBVD2ekUlMunhi+nYeEfypomNnyrq6NYs6TSgdzaCXssW5IVpx5xW/cBaFf/Sk1Fw8jGjho/zfnJqG9moI4yTIH2tFJNPm50jBwyRUloKiSin1/WJ2Kcn7Ea4VnEsUmaBCFuTS5MY5/TS2Cqf/N3Cu2f6HgwBg2luZPOPsN1yw0J2IBVW9ijTVNRzfwBk6llfyz+kPDasUK49sD5XVtIZJnuScWi5u2O+BbwpqcOWo/JXoc21+iUof3UvulOZMP1R+v96amkiHe9xh2ZMo+EQAne36o2Lfuj1NwRnVgzXP9SJYw46Ji8nOQ7rL+wZBGJ3cdRMiy2lUxWd9Sd+N44AfWhHFsZ2bbeUOfuEys9o1vyPSZ0LAR3LiVa3NrlHrgLYAyFCL3pq/+Ej7u7i2hTCHoYZCXk54B9Ti1kxTPDohOGvep201lAr4EkJHnjjAHCw85gA2nikNRVve1dq7d+oZfyhcAcOGACwTrydQcEYX25hsaPKUO9U0Pv85xrlnxZlscK2GQR3VgG3TaXVdk0Nk+4Ne3tEwy4r9GFdTF8jK8vaaJgtk29A5VKYaLeEH3B/IkU/MlqEwI5eAFviKDGbSg77OXjigumaekmdqERLhSLGWtclfMKN/c7jj+6rA/qZ6+3YFO+g44zJOWJyxRjW/7im5tamTwWOU3yMyAQvegIMvCt+JwAP6fSvzptz62v2mPLqc8X2A7FErUhYL/4D4+NO/hxEslW4og2oCBx3TUR/4/JPXQZITytZSZjJQgzdKOnOxYJIdNLtJryEEl5xc7ocJUXGvDEPFNSfqUEDqDHU1cacJNOIlK7izEEdppIqanPZqKEmvUKoGTtrSz5acPnPKcYkGWSmIaWfmQK+gH7WDiF7eW5Pg6YlvG18YKa6HQYewL1cT6kUT+TVbvNj01A3H8v1hBSQJUGS+A9ekQIKMcL5a1aX1t9HF/tijkRAuSEigMDBE+C6toAkyYhj5neMd6LXmpt4CyF6qn3Fw9MnZth1nZ1jXHsthXtRcVPXCUpacVgrOdU5FiCIwKusY1QA/TDY+O1BubOIRgmlwGphR+GrmuIaI1vPkQAl2yQKZL0m42A7heMcUbr7FRy06nhaEJJRqk2cDQwkfM+GUo8Ump7knR49CzeGz1m+fEgN4/4cIGvxutkCYaEDL2WX1cLJzqHyVowRYgig+OkhBN19Of2IQgVt4441rp2U1yAv+CvVDz5360X9pUwnxjA+UjuVfvHsOxxDXEy7fdnOD5Er/pOlimZyI7ipl+u6HdQ94XJQ/J1/rs9TaeKfjKyb5pbLUcNYBdzFqzPgf6E/wkW5BsBGqU9RfxVdKiLbqxYS9nJCaWN9BajZfXMUwJvrQGxOwc7P5JqJryyTMd4HyBHMb5OYuZjP3Te2i0H/LCKctc5tJqSdnvuAXJmWjHTL4H14JnbwxeBFhHVcHlCQolvlZFk5DMx+7PWXCGjNFvJ0mr7/LDyXkG+zzK8yOoMBJ5jKxkB1tjjLXezC+lkf9ol+/MEeafyW16xJNjcYx6aq/WPM+XuSZPKxmy5v0SW3NPT/aFhdDxH4PB/DtOKZPryO6piornQA2SkRq0tMbK6alRDwvhO06/woPE7iE50d3et/y05TjBqhHWjbFRAGv5wpMuJh92g38iBQW+hoZqpFwRe9WGQmrbzUbR8oNdHS+X6lotfPwEM7d/kkSb6CyRNyiC3/9B5ATAW7dyZw+DvIV+yDpOn8Z2/D7qK9K90cPvNkbW6uhhGOI0dcL0dCLCSvDYaAjRvE4MrQxtHEsu7gm/4GevC/tXuE4jiLlLdyc3sv15Br++BWOvCiAM1B07JV4ZXrY+wv2zJd2J4q9n9nVijavFmz8roBNLeNPmR6VCETte3B0uZI+nTyefbNEXMRUw9fgftL5YEmlza5k0vPS54Hcpz5chB8gP03BIFUf6vOnepGmR+s27j6GqX8bvJ8T+Sh5ek0GORZrd8LdxC4DubDp6P6O39+Ggo+rLyi56eVbgWBUVdtGllYHA2Nx8mtctDdkWcp68GVj/AphQU0isWfoXh2IONVAZBFe9Xrp5+hCp1FOFnCBITb9HrnrOm5l7ZuKxpgF88usKtNpYWLlzH1PWXAeq++Ieyn1roh3asGfFXoDh9HloKbZYKlhoysLQhIJVXVx8IF2vNiOiHWWxvJBaiMfWfZ6vXBXz/q44CZwXxJhNFVz/79nlFM/sd9mu+nH9NyXYzfcp7c7Nr2JbLbHzu8QSKuf/H3hCpRzfb0MR75NcWI88qIOTVRgMnDRcw/TzyMKYEPGzUHgtb+OLzQYhy3y/Lm6ambGUP3eqW61m2rMC5Sf8yFvOehWYmXFBDJpZ13BBKmhGGSzzsFVFiABnFn+pQBe+vrUq1mUtXD6GHGwUPsb+d3ussKmIJOtp9ESSwOtaNdm4IBkp+BOzTZsjq2EeYsIYSBiHLY3K2wF/lJp35b6Otxxkg0DWSa6Ke49gAcTM+T8UPjks4txPiWsHSZoUxmPKTf8dbr+nXgMqn4JQSwcNtF5BEykSiqw0E29VsJNMVTEiekzY/EruPh7qiCVGmVc4eDNYbOqhq8c3y7CH19aL+k8noUx9KiLl+nATogaygP7umo5hgzsVbGeKNaRcWNJnsq3l69vDvMkNpUD3GbmGa1z+/nGzyGEt0oentzVcvmSiT/i0CphCpvbp2FKaseAW2i/775tI8SysvnnN6IhDINCYDl5fAPN4GftL+P35ky8BVjJSwAOFUldWEgQQsZ3ec+JHB+AR7WB//K85+TEMTjrnaI4F5TSbHTa6BZks8ekSv3O4K663GgNf1Vc7SWniP8dVKXhLqFsPiwXeyBRLXGSkfh6i1SqakiZLekf6I3Vv6znTRO8mf3B497vfFoccyRKB/PZ3FVjpJWkC/YVKtTvWrG3XPh6U2Co/DvoadQIYa5sEojxLfwaSbkSbqpZTJNt7XMqzpovmbWWR6sEGZFbSG25Sx6q4LvYxJpTtGIC1dx1tPKhZDHy6UW4M2iDwW8p0tel0setqUcW1fr7U1f/ceFy9mJdH2dFd770vnfMKZJpxUKmR+SOiIWHWN/GmXqqZamhzoGPyZl8LnzpqtTmzyNVn61c7mLVEAhvE7WMsoIXCIYm8uQIZti4Tv5ByZLvq3sn5y7NrUhe8WTdPGtOa1/qzMQJMf3UaJ1xfB/HbDZDQ1pmgNaN8h9fUVuKwzYKCldPivADQLrVdtOn6Oo4GXqWQmCrbnBgWPYN4hy7nY+50Ir9fZ2yGua8KtHhr1VOvijSvIcsjX3sue5erXurbxk3DR7kDrygvntCH4nRx+UfVS6Z9ykyzaIyE1Z9mUhc8BRPTVKRwZVb4IWDovG5CH/7MG9XMrsflaWk0Hav+XlfnACdChDmRl+vwVAjoyDmMaYojQknfLErERoZfixN2qQeceRWdn/y5GhkvgtR+/GZvxCXGydwu9nVnlDZZukNxhuccZW/zSvZgQsKfdOpaoZHBXjPY9/O1ejYjb4XWZ+g5bE6Nto03R/rsbXXX/StuhiO9xikPRHaLUsXwuXRHiWEIFEmh0xTOfAizV3nZvHtticIUm6eHSWoPXa20h/n9DwKjxw+qr/4oE/EgmAg2zXXgBk3j5+JKIbswxfO6qhzhLpkJ9n4cdj/rnYR1Eiz6zr1LCthLW4uC9HeYecRL9gy8B2lutQq2zw10tqk4z9i1uhh90Js9f+yyLbkKksFebt9NKBIJqSF7/Lfkxy8ogF6vo7Xik7uu0i0Y9ZB5LfEVzmrComoz8pjIgLpMBlTWHcIiQUE659f0X8vdzrt2avQqhYtvozUwx87Mx4CvCeBHLdqaEGMofor+0WnGVRxKIs3Jxhr1EmgZUm9X6EM+DD2Is9zj5CxOaCmTNaX7vQ6rbUbox888a9bmgaK7/zwjNNS2mrnw6kIwr+BW+cCPEsrIvxuJ3b7SeOre/ud3LeebFbNbkGVw0g+mSDy70BWPpM1zvieRyN1uRNQlpoptz2M1DHev6s9wnkWQcLRSW8yXsPHJfvo2wugWnjykKtGHDXTqhHnPlsRAQCLT7YqCBSc+CpyWkieJXwlETd0JTL2GZ7ApaF7FquZ5wPAboX46vnbWWqU+UQlVp01tNq02MIOFgqX+gfP1071oqRrGdu1Ysb69EWZlduFuenkyvy5kABLP1y3jU2HkccQoMJTvuRmFPA42JAc6fFrWzHDuq4eO37JmIyMa0GjdKbmxC3SZXDdqTRWgkKAFZIrRKuYhGyiALls3t0SDSk0efGziDAEi91S4QQTd1xG5lo51D01aIrkP7pJcMF+LiiQG/8/l4HdC6AQcL+vJVRZaxQi7oqTSfHXUclnzEndArA+5Uumqmx5hn8f68ij9+bkvSRWbrLKpmXQCKOAUzebtY4YGhEfWWvFP7M3eYT54Q2bVOMTLjlHyzUykkR37qVnPbU43APyijDRJMFgQSX5wIbiLdUtr0I+OLa7Oh03iBCCieKogdOPU5hGZMslnMc2JMpMciNJ9lzF7ShFEzqheibHo4fpLS0lCuLGarhuOIKfKVPeIw0xm0zajtKvn/IyTbjTeEKH+Cq0TrKJE+WvpByeauJBd6AIo6etD+9T7rLVNHVLzHUCk/7PSI4M+bCU6rDZ+NyigYfF63izPl1ztq7Apuln64m82+G/ymDm8Ds0bjS0UjtR2K1IowgUAbUPQZMKo8yxdHwqQTu0nE0Bg3Ou7odUnIm4hVH1zAhlpmqnDNK/OKgY/SKwNN7DGziPAcnTWvda3BnEWqwZdKAThQzbKBb3OsxPee1cOzwk5CqPrWvR6HBFQFESSmfrXaBFaO6d5owDhsRP+iX61LXd6yRFICvKH8eNBT938QbBQFkU9d9VIU3CHLb/bu0JF8/Akc5upDTzNBB+XfqOpVYHLZ9oQsJqn8WLtYZvbO3nIrECaH2pLf9BmDW3vfMfxOvREKRubjGIiaEzQ/tY7m1ZhLkbXn0H4IEpJGzWTwQeoxY2D+3JFOuYUdpl2IZqmqZYFy9AA9V0WwxO8ZW1oL7kYYpvgSlxFTIVn6Tmn6LNLiENnwYssRoguk970cxER+IEmHiUY60BdF1Tl3NWaOd06nvFnJDCgktZzUOsZ51o39f1T7egoXZ7Nb0qISzXsPRekTJxg7suzfUjkohAExZ02Du51/eRvIX/L0w6CtvkubjOKTsON1eEGbH+AaC63mMHGsSIq/8US/3pdeWibDj3BD4romeAdDMN+qc4g45u4PD82Bk16MKQWXdXlWz1RYSiWWDzsVSkNto9pfLPXQTb812FmExhNdN40QxkkdtlYiwo+QSNWggPFbsYNltoPEzYEHMflsIECKcHus4XGovIELVFxcyhai4R1/aWx139BXQnp5yjGKYVek2eXwE6zd6dBto7MUvQERFOuN8vaBWlevaVZNTc6pxflE2nD4qV4WZkvNq5P7MFt9VWCNPsavGzy2W0H7ujpjfu2wzdLKj99oYFOS2v6bDp3zt0vDd7FCPxrfgLLR6cQ8aw2R+9898gWtCkCx5urcqJgjzFNgTwoynCwMNcqk5Hev4Lk1ViVXreU1bIiTjvU/kMiRRhnd6g1Gqgw5Cq28msNTcpobtJqtQ326p0JxJn8EOzGP1Zwywnmujyn9VpBLPWcnPX4LWfvUjtdfK4gcoEvYm5L+8Azr1Fe5SfXCbCqTaZcu0Vx85NPJ2/L4WmQxJR8oUZqGCGHIzy3mJW+wmjQ0VJrDj4b/ON38PVKAxAQDHggnqforvJIlDOVcvVNrDBDlqVK8KrOj9/p4HX4+bwGRd9jmGfY3FPxePcgeXZbq77xjdaOhGepr5W+semscT40h6e1mVYr+XdGNTIRTBm6ueiEfuLJE0VrLKAmz8RGBouDkI/8JJZ/8cwJUEEPHjegLwGwSktypn0vmeucoDFwyiA50fHf/y815EUkc1V2wh+Ojd+BR+R4mDbPaWlWfIRfKSajx5jCaTskVQGZNUqz/sjaHm5gDY/W+FizUScxMDcz1Y5EY6DU/GFtQTmIJilAVva60ianXwpbFE/WEbqCFSWysB1Ar3ICIVsZR/2ZGYs5rrZ/Hl/JL3sd3GGM+GA934KIqXZEvLoJ7laXQ+bskc5xr8VwQoZHyCXvudYJEVIb1aRmCFEC4pEvxOTJDV8huGpCWvlRJ3WDQ9rDbTaOSkOUAxK1deG/Jdy2v0ZXIMpJ1Zps89fgHGjRhQ+qf4ntnLVNT4NkAMXc6jBB2aVu9D4EyhM5VQNhADO6lv6Nme9NBYgzelBuYEogqzDaojCZAk1Qgm6sfCk4VFzDssGuA6v7yCVSFaUdYvWDo8tU0StQ2F1efuuK7JsbXygb2Tyackv0jGmuw6Ip4Bfg7LyQHISCMU8FAxjK+JjIBMJ/pBtzUN+QX4zIXLExIzFhR4BHJYOTreAnj+RWYm/aaaCUmVktuMzAqVtGBaowd0mHSp/EKDXEi2tUsG4X6fTi+owzQIKKmP2X98nLvFa69A8p3GLSaXrwYPZmjpbnJM255kJ7vMeMkN9UG0tViT2eRBFtTD6aoDLno36hL8XOZBAPB7MYL03s06PglqI2FafXu4thJSwO71gR80+RPhd7KwPoxT3Yi82/sG4tqD6Jv3pyKfWu9rzL43xQxDfGC8DDVi2ANuK6CSnbaXNBZ8KMmqAI+E/dEWwlkNjDBGC3iHNb9AwYpzCguZi9wZXjzPY1pArb2H1UAfvCJdC6671TJLioAonTmCoCP/d37sOJQpf2aDVGZECXD/i1slhgCNx5JdUra7nzuM/Zdra9uFrCpAhdT4f4ljzX3yEEn7AgTS2aEHfkpRG2YYQ3HugreOSVRQXwRLdggBCOuVE8mV2Vgk57sdZMOAnai0Drx1JWgt+TcPHLUcQBoj5Fk8OtGh83AoneOyfqpsTEYl+K6H1aU/07EKZpdBeKmF29jXotLnsQfZc1roHUK8NoHqcW4EQVC7rk7P8I/RsDM/YJPhILtKuvRuYKLMmzsAkgNGr7GaPNeOTHOq6V675R5P7sIF1NNDiCoOKaBWHOUJmzKRapSlWv4T8/ms/zhOdy9oL9ttUh0eSme8YcW4hupw+Pa1io1gEp5oFjgtTNMXMuu6f/MXu23qPLTB0GXBd4Mv4dUBdj+PgChp22jmZCOTxdwBUFfMNmIOpWEsHImEH0kffypN84vxydgtQbipqc/+efxLrVRogD6VPdxJQlygIWvD9RaShmM6V5VntlL4tyw09ckJJ47LcU8tRZ14Kv0zjfUyhCy+IrO+dDUK8D5jzTA/XFSTPBef9GLywWF/DZ6XYCEGiuWHHDC9lhe5g23AvhQpDlIJ2Z9IYhexYCjKORy8mgz4CqvxsvxFlt1xGgcrvSIEKOoVwYk7lh6zNTubbjPSExvxuUefo1F7dnAil+upAdYhq3dK49FjxklO0Xz/KDWSDI9u3MaJ6/1JF1x5Qy6oIazhLfhuYQps5kQK2CJlEhg2e9/toMSW/685l3PhLThOfRBx773WpB1/HBfQ/xYBlOWC+vkQe5QnJNTwiiLI/hnyjhL+YKZ3OhEWJmp1eiczo6jWk/wO096yJMBEi0/db9kZZDc4DQfq7UPw28ijEPQmCRm8X0yYW+zOFpt1Hn52R0TG8AUvX8iAvmbMSV/V3p7+tndhDQ35/K8xBBQbOoPul9//+hzjX9T6r19ZCqt1Qw5BWjMTApD1+ABaJ7Fk9L5qrzsUWmXjQkVQ+l0SPe7NkQNDS8HM+U5TM/HY3+B5GK9R2gmwZak8kVUn5Cd6jzRRnFzBViCF8MKAMxRiGmfEhOMqlo137lkiyVsX2YqPdOjscx+VRCF84vTtuZ85HVOORkDeO6ON/PFpDaLIosP4U5bscB9uq3oCvKxJ7NQnceCsljdLLkRNlKPLgFOA5hGHuqNmIBs1nv6mdqAM4zRvtFM03cuEWUc2/k3iXuFHmAu27+DuG0axqswdciT+4KDmBoM0WuGC7sbVzYD7aqIrezpoIH2vgiNprFGU5HUsO5DrsceObEu9hyheDhc8uC6IpuvzQkxhvm3LH5n/7gnNViE+ZYM+SdaZDdH7c6nPSDN3KmgBAzKsqHqc/44UnNOfPi/GQAVab1mSrpsWwp8xkk49k6dovpbV07/74yjxmugFPLDAZcVnvyO42bN9Kcg2bQovT1PpVcto6pS5KqwUbkkh2hY7TrOWYQbhboNlq472q8DZo2galkbflwmz968BL+dndqTA/6lfqD/WUB7IMB/uV+kkT6liK8Vfz3RvS84paSW8OEutnZolO40XYLdkQuUP0MIRv2uAPbe8udov7aRNrB+OADcegAq2imPna0L190HHBEFiYtypDqWY+nLqPENd/nzEA6osKuDFvuq0k85iuLKykbnXraQO49mnYDv98jZlylIR9n6PV/e0HoEXleJh6cb/beu7H+7GskCn8uDIBziNsvHqRaIbb7kqVNIi4FWCnsgvEGv/f1smIiPkC4DDTm3MdL3+L9Wlx4iovAAOsggX0LTQf4KisrHIS/Eu6t82gW45xUtNJnwoBsEipG4aEaUqk7uIpJ5RujLJEJXrYBN9MKTK7Fi6MDwVc0ssb1azlfVX1aJfTLuK0zLk2cO1LFadq+lW4xPhQXeD+RZB4sQ0zKFxh9LI4dZ0cA0Q8ydEFPeApjM4CjkHhWHaTcjTsw9LKj5paE9Hy6vvNjsKS3++txSvFaA1KlXlocZ6U//R04OF4vVKlW8kucwhJD5j1H/i2anvSv5rgnd2uoNV2r1hzcHIdHAyGpL/uQiFAg44Et0bX2/v9oDWMS3DlkZHKdVLqBsUBjSFwjn3JmfrZD6mfqjPf2DVih/sndSkZhMqOvjPFTmwZAv39VJfu/z81s/e93K9E9rLHuW5DLYgcV4iRV1xaNFMbFnBfFnnB8N9YnrVjATs+f/vNOYn0gVow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70865" y="1826882"/>
            <a:ext cx="8002270" cy="4743092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1527918" y="6477000"/>
            <a:ext cx="136768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latin typeface="Century Gothic" panose="020B0502020202020204" pitchFamily="34" charset="0"/>
              </a:rPr>
              <a:t>Source: Company data</a:t>
            </a:r>
          </a:p>
        </p:txBody>
      </p:sp>
    </p:spTree>
    <p:extLst>
      <p:ext uri="{BB962C8B-B14F-4D97-AF65-F5344CB8AC3E}">
        <p14:creationId xmlns:p14="http://schemas.microsoft.com/office/powerpoint/2010/main" val="14719243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European Labor Costs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otal labor costs vary between €54 per hour and €5 per hour in the 18 largest European countries.</a:t>
            </a:r>
          </a:p>
        </p:txBody>
      </p:sp>
      <p:sp>
        <p:nvSpPr>
          <p:cNvPr id="3" name="Rectangle 2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64v8K+Vk+elgjx/NXvx9ZdSkoyrEzHmwx3KjGGLSwAvHwzrXMKOqoqRKKdn0Y30k/pc6Oqymx61nISC5HjXiwgCznYdC5eNG9Ny0PcknV4n5S8zCu1cnp0tBZOsIHqHEL4MWlhOuqBeUaflbABb2rcjxTt5nFQKrDbfVRP3lVzRn6g1iUzZKgmZ7LophUhCsdXaV3a9gtF+LwzZTmJjPwsjAi2/3gDMfZ8wUgbkNU9BNh57F1cvF3Ao2A3QHBA0v+TQVJS6xDI69GCLdIjWcrpyDJHhSEGJLiNn8E26mENjtUP0J2ZIRLVA5WKIJ9/huTfHqJeN02NNmZuX90W6jkRbg16pHgDXcbkr6t7UpPmXrfcC2K6+GaznfZvxHoyrKDjJAS273sb2GaHolzimnAtPeZj0VWEkwb+LmmaPKPIEF+z5W+5b7Rpn3kg84eZkYByzhjtzd9UTfM9FnTrwZ4hlQZcPtknKv7cl0TpBlBCNQ2N60jATBoEz1Tu5X3SibM+7JjYhI8A8N2pOcGEZzwFK6neJnQosy1nom6WowBifaPG3GsBGnClR21ADoEz7fKZH/VDTE9eMQNlGDV//gggK6Hyh1DnbTKIufmmjo5X8IcKIjMnDcpQt4J02EKGNiPDnNieXEueP14Cb6br7FOo9cWeCwAJxzphSc8KVwlwC5eODua++/CyYkMnfghKBUA32tH6l4oVO57o6fsjQtoG4yet79d9wSxTanSDwmuOAjJsehE4NlA7fpEp0Ll54uWvg6g2B5gsNLrdLNfvtO/TdtaAjB5yiHTZB8bQVP15JLAJZaJ1Xx5P8pbfoHJiAe1npYv+OkVp+mYCW6VqgkcugdSNERUDPFc+Av6rLEKgvDG8FQpVYOfLQH4J2wWXJrWDEmRT/6JkYBv2x5gX7WhKk1CjOOwpWdWFOpkDXPcmkaObNqAQ08v/ajMMqbs5EhFCNxfOmbEuTHeUnxNOMkpBGtId/0+lEdOm5RfgXVkhvxuo3PyFwoNKkRmEPmIjov3BL96Pmfw1PWw54STJsLDFDwD8FIHlDbFEamlyj1CYARW2Ov8cHmsTrE/Q8hOxZJJpzrbHgVruc+PgOANjYT/7WZ7ZvzCF3Gtebt2UT3uftORQlatPhnR6NbW4Ub48iF5C761m8swXGVgX5dsE9h5c8IKTTX0cpb+H2lr0K7k2EQQVOERrawlp5aa2tYXh4gvHpfia0SPW8zN4CwoaPoi9GyGk32y6JcSbGYmBiaQZPXlZX0RI0HWsP8szMDQQewZvLJEKMds1FnYiOuF8mNDPZ5zpTUiF5g5MQ41NdvVoJCa2NamHqxFs2J30MsGp4Y2i7QewgPJnJ2wZ2jheNiEbCCgqQwf5+pg3h3CGgOlJ5w9cRwj7pdkQHTCu4PY1pIV8Usfa1RfVKlLkObYI7Sbzg303TIgokpgnrsMK24r0Pn+513FaHIrrVn3Q7tTwkNvLmC4hdSXGsbQHnJsxtoWO/tt65VcDMPBlQizFyEOdMj4n/ntXjfLnM8PdhvxyN3D87ZMkrJpLqT4Gcp7A/P4NOgmwKvuNnPl9sf3n4nFqBMHmPSw4dwfT5N9lXgzmR9YC1jT3mXhIDIItGE7vA+BE4fyWZe17PSXtm91abQqAoUYhdI7EYh5xmA0L/90vOw+uRMMqEsqTrUd7g0jp8YRIJGor2VWptMlbEuoVWuaT/YuxUK8j+HBVq6QwSeF/hWUZ6RvUQZqK0ofoOU3SvqDmfJOyKJxrPW3+bl3qwVIBN+Ro3XqhLyjBWFYlZ8CeYslzSds2Q9z3HpjbEU3fQateGeVJ+cGDfKYPQQ0rs3bI+XcOEvR7uwKJxEVZrY8ku2A5Oa1OzfBTfEaacylOub9LMvh152Ea4V1H/v16X5mzQitRE3MNbcLOCgetzu6yNsFa1rFB/9OzkR6Wxg5ssehFaRXwsZlYCQBYroLB5EZk6fbWXviWBqn8eGOAER+BRjV6Dm856VQ1pSzxsJ1X00j3G5+4M5135c20HZu7O1+nZAt0E+qP2jyjNZLbiME8IEUFUfLPXQEhE80tGMNWCa0s6O06zzdUolO+CiGBjlsIPXpXv/bs0Rdkj7XpWr+OpIyPraFTD10rZD5OenBmK8W9dQUeN8hVDNDcm9Fs09/9UyYV73DEmYSODzGHw6MfT0IIGsG1sqQKwHTZ3IgnEVp2nff4YUf4O/X2cX3fojuR7oZQilqEDtE3jvZACO1fMhX8543dqp7EzD4nSCmRwqlpoZTBf58O78eDyuZ9+Ei56ufHL34y27IGddHmtHK8iNJUhr4hjoVQQLbzgPWGxLLLDPLE9LslsSXCnjzeCaHXYmnM0aABWgNiu7OH3maK6EtvcV2ql1fF0DpqjNxSTAqYTbte2dfHU+4ofrz52VNyPe9wwHOTdXU7dhlY/j3TbWObg4p+sXOc889r2ywx2zn4KQQxWzdLBcYnqD5rbWDQfKFszTrd0F47HPB6FuD0ay8TtnhLI616DptGyKFOQv5KNKM9QF3Zxp+No+ImOwh0MQTtFKB1fnayPpuhnQ+efd/Ima/ieENUriEPShoTkBQqpSWhXqH8hKVZYD0gXhUbIVQrNnhvBeGucUDO7lOzSxc9uGb2IbCKLNF+0lC7bGvvHT9x7QGkduZBp0tv1gv6AE0cQk67+LIqwGTuKVOlxVEtf+GSByinWb2by34OWIPzLhbMywwCkqm08xARBfQ/yPPBY+VVamDgvfsuC58D25LgsSi52eNJs307MXP1diqzUdw8ruXBWV4SfRoFFTGzWpphyCdjXemgrzm7w74roS4iAKpDSauDb/AQb84c+U7zU94B7q8bj87B41nxTSc0194T2VxEE6rJ5r+Lfp2syNFRzpF8ltBYHn/RyZy6oADoHZsE5/m9wJCOphDjiye6bEROG8L1uersyhDqmBGEmWx9VwPRMrVF3iKzXXxfWcVNQcMXtSk5bLrT3K9AyihB5nJepjmjGEa0Z9H61Y2jP3dC7ctfWFymoYLXIpX37aWYqJlEqPhcIXhlwxm++epOGFIUWnmWOqKmfX4nn+p3jprE9abGHY2WDIPyqIc1A953AQ0BNeop73RagMfMf+pLuwGgE7acaNK/J4H1nuVfV6T0XWYQDwv9eVqJfWFffr2e5t1mw9aSX+PUl6UcSsSej1QHybPyIg8R5cQ8YuSE7cXE6Nj0YkbuJa907anSqCCREPbW9pk2J1Z64d4vtaq9mrkrLrhuuiZ/4n99VPXyu6aQHVKVo1OB2dz/n63IgdZjII4LyZOx68AnbaviJfpfHpC9E71G9FOYK3c4/LpfwzaKnbH9rR6Ixxsr4aPwRoqlXygxW+Sxlukfc8HbUtPBd1felX5j3cCj7NCkNGcNOeZlfLBXAMLtTjRNX9mw+zDIX7tqBYbDULoG/60cfnr6E+sbIDqpOAqRLmTI1B8kK9yU8jlXlhgOgLEYRcxGhdChgXZ/U9tq6HbyihH1n6+hqfaFkgKVh1pZbWJPJf7JXu6ozFOiZ24p3ZZdWkATtmDPyDTPhOjjdUQoDXmgavHhNW2yagW5uw2ixh3OM2U0oq2ZCtKsm84u3cPEuKT8zAD/8CaYp0MTXWHilcCSthdn5Ww6TKXE72skinvC7SnjV6tuw0m3BqAl7npMcY+0kqyU3L1OsJfTMCWP+5+3cy1u54Z162CZ1gDnfFnBi8zBnxlYjmS+YUF/2yZwS9Y4QR6z47Ol5vfZ4E5XVMAk1dMTZ5DfZlcMeRrtrgqAPU+unhLewlRA5yHwCPgR37mBbdRliiiSVYY7LkE2Z91BouL7srr+TghjEFmfdB+yiDRCGRkfvpGLA78eKtANLXhtS1LJ92ay2+U5a8R1nvbIrTYdfokxWdWpD2Uxy6tChKxZHrtIHUXklqSqqa1qfKlzqWNLq+MA4/jY1j2idO1hHgRoq6VOp4wwtqjyh7YFaMjQfnsq64CaQjkqhQT/ZcjyFkhKLQykGATwRL6UOjHwKH6FDIhxqRctpOvmqqIh8FcoTzI9IkN5sbVaIrJ8iRgO2j0p9NWMM3aS7NyAWY9FPgYA3ww6RVmebTEScQL2y8hgBPOOe00N+V3OyfCliALotjeJxHsMfHrw16tNFjnItSibsuiMV591LWLmp7quXmXo9fUHfq173yZd6tGWqRYKgMI4ZXxLD2ugiIIv3u8KqCHLMW8+qNjNzL5mMoAvYnJPEgZVpti3kPSAHvOebXUrjaVLS7SnCO9/LYJwP/PsOg2E5GMTRroZIuIJW18klhMqC6ImcOSyXCWSnills+TyEMScbV7QUr3fCuAvfkgUwGW97UJJVpeb3gvNeocXbsHdse6ESUAOowv8caYxY7CxWvROS3+doAx+cVtt5iDo8rOEtc+xIpIXer98+0AhdsOeCxjoFPniKjOq4RKRmIgPblPaiXtT1TksAGGQOXkscaCPyp6rGIQKSGs5jhRTTMQmLO4+ERfO0LrIgeYXvu50DvyehytWN89Lsy/cUxKAXxHYJOWMvg59tTv5eYM302oaN98jHU2cknBADtDa1EPmoqkLKlHP00D8iUPi7yaWuQ6M1IAY/s7nxZ0vEyOqwU0EIt+TiSIhM15bTopVbOIwq5dqKVzytDcr2gJVvhIEqdYcRvR6wX1/DCLZtoEeRSpdHIoOVXDvDKeZczWUv/9IzGySoyY7LmE2OHvxZC1R85ChfnD7vSfVa6kkJHnwJIzU05a1GTvi6CZBEUtnMr7r/2dRMLbwNM3Qq0gMj4zgV/9daeSf5nTxz/q637lYrqlVuUjOrKNHuA5M4gYzEq+sFHNp91GO2AEgeh0Dm23uxO9wr+ytkVzCZ0shNX0Tu1ZLo7RpkaebX/Vaq1VTj44z8yijUrk3rYOeWvjlp5mUVdu+VTgSjmvXN8vvIt6WjysdhslB7l6s+PgGwi2dqRAg9kgtVjOObHHVALyumfZOhYDvZUkF7LpvrK+VcMcHicixLkSWSeQkUxqR/CBa+iZ7eNSr91wi//0YyOSaIhVkvzPNTWrM60tjOibSG3f4+hRZ8MQg5Ag8bSCNC2a+6lpy5kXvT0KNW3DoZONLEeyx8UyPwzphSN7TK87MIKLW3/DDzNsMnPb+fE5xo4CTJoSsNuhl4ZjzcfQCzLJsB2xZ8l1FNar24H7nmgYbgonmH/+O7ZrheKNSusAcXgj9K71dFGtOJVCluaD6h6WdOlv0sW+dsMfqvgBjtzGcMEL5NSQdM1KvO8se8Pe2HFGlKljHloz3wckuggkUC/RAsikLAFyxClbA48Ai1dbEdX31ZkR9BRaLZlfx+LdquQtTqA35QhqEeKmVZVuFfp2m7786CO1lkkGiKBZVSOfqfycEyOhMKYns9lCsnFx0Vv3JvO2b3hsPMvj/SsWmt4USmVUzV+ADNbfursGvFaL9zeOMIRzYSUKbr4JF/hbODCiJHL+MA4ddrTNms7idlOo/Y+oyU9+j50iHSrdO65gSkCaJleThqtqvmMTMOlA4eSMbXUt9UxJk6t82MIoyjJjFZuwHbOKVBibROp8n2xWGIHR5r8sAd/T2FY045f0IXTPkieVStoQVyP8PhCUleiSGcg11qEWZ6SJJ9RMV3T9GqJAVoZSqTaFOeF7vCKa3TDfN2vEfcdR3j1S57hC90tt5lw39a5Hah2paqk1ijRQWih8mq7xoWI67zDvUL1h0kNqQQVpeqgJfWRD3KH9nsox+8JTMpB5aKDkqBRpRYUihTApj1WuD+4E2E16IfVumx0qR3CB4GCImOTdPARRemhB1/uEQUItSG1fXNbVkWbodliqk+YJxRondJGh8HWNYCwbKyfAzxZga7IftqMI4RJr3pxF1YM2VQn3k61AVE3pagZi5IpJv+azTM59XNE+yKGLXEhyOCxmwudN62GN1y6CIrah8o/sH7sz1ym8zpuO13TsvRP1tz4h6y5iBp0rEInOqCvc/mgpARUdWAjWhZBzZ7qypEmWjWRZAWhR8hVihWvFAjeJSNx85KM3I7axcAiHiadXPK3LssjUK8JiydxMJiX2UVyIGdBSVQHmc6LhMZ9vH5ysTX+2kWuGOlNlf7/YMBJeDJdvH+b2gY1X3PGAxfNFb5PD01z9T/1WEGHusFRErfo3dxWoquO4cl8ZrdrgQHRBVEsHdZQKIOH6jHM+xR1esXFIikW9kjDwZK50kLX+K1ayhcH/ZE+Ik9liArvWx86a1gJLFDuO4AQhAnP5vFM6ZPbTFJ8iNgjlKkw67HmtIguuylwRfHHWml58ACFLFSH+3kxbTwczE6e7QOdmm2neIHqtHWNIlF+zai3vhVg3WFP6g+KCawIkO3U56QtXnFiczJCsknH4/ISguO8mQj452FmpXZDD3kq5PB4v/pHFM1lZyYovawIQ2mhz/PC8XY8x4t+lVWJcQ6KJnT4D1KFR7d7V/lMpZJV2ZtxhMbD6vGlSg2nvTgOHq2mnzvTxdV/gqUZjw1mO+ZXOp1xUP3HLshIMxkiiXF7W7+xGAykxinpODUEOt6qI1YA75QKJrhiom5t9quGyBVyX9ivunmdPolPSDJ8G6L8Ez8b3hXJRIXQ8k6lNU+4iYjlciicPFpyZQcGdbEV7wAbVOtLQ1/as2iLlG85zC0xkuflMg1cOmIQtnmYXh+wqlhelQI+FTvByxuwr0EKwNToX1GTVJ9GWqOY/I2KMRz3KvveQKEGFPRVu4m4yJL1PUeDDVVVHr7rTV/6J5czooNHNjHsxYwo1/l4Re41lgDVY96GYPuYeqd9xtwXr5/f0MT0/PNQe1WHOmafvNfnyvCLWs/8S1aO6ycHM4U+LVTWYHf48p+nDU1IoA4QBJ7QoIBrWcGv4P9Gxb4md9drSc/KD5n3zDIxoRfdCP3HZlFWqJn1tdg5PDxfqoZMrnltZRsmqt/jF+MsL2TBuqcYCGYEf+hAej7m6IwsRu+cS1vKYaG37GGu8W585PzVM8fE2Lt0IsMyXqukTD62gke8Xw5g6BDnWbhLEx4Q7PqEr8kKrOy8xk7gPi76FK/NQryGkZmGdlkXH0+zHlJzxbJCahWbFsBaUCA1POWW4nr9rvFWK6nun/xb8/umW/+jprF631gERsYmtwoEN45MUhLU68dhoqROH7+QAF1g9n7EB3CA1Rgdz3OMgIOI7sAwHjTbHSqhpbXn5PW1H6IgDOR/HgUAApDJad8/Hw+/khvw73YCcm2uMyVxickHaUE8by98BxkEEgP/3UiTtfatkp5FsOnV+OWfKAoot3s/I4JUpUHSpaL1uWdyw/2Q4pNsrVAr06iYiPVVaK0YQRpc/oXUe/SLu5E9hhDMt16yGrWjignnujoaZ5nKgGOLjlF/3L9wcmhv7Kjb+mqmGay26WmUAI9N9GmZis//r/9tZSnbuh8HA+fQc96zZgyEco94clFmcxbY2Uc94pWJmtVbm7fhS5zNT17fmt4mKICjb5tanXFJ5ArnF/HRCm+PRNwgtaOwz5LEtPXGRpP3MyaaCv1JZuZY99WLUYTfAmpf3wfezxsry8twkhuF0klKmzw2UZNpmmLHdradZlktkynlsB2jKYERdU3iyiLVXdACQCiE40r1xp0+2JBQqsAR6RDhoCAbXXzdONw/9q/sdAC8k5Io17kbpVOkWqpkBFBf2ryd78FUwC+nZJfDWSRkbdkgX/+oaPgYYsBi+O8wvdub+BXRRrlLcSV0KmQAvwiBwsPeBWxyPMsxLnyDiwVp5P40qVk2LfloVdFT5Duj6IwRNRjYivssy6yEI0EhYiWpKabp527SPgjNwFKil1HfDtmAllFRvPtykRCwnBXcJ8ezWS465SiiUEabsejM/xZzMBruK9vDDi1MpDPZfEHFg69sfL94jOldx5bP21dobcmnIORtxzNl/W2QWanRPscuolpHUiQms5jGc5WC6qATfTSTsrbgm2fZbnCYQ+zIAd35Q87WMUZ+3whlzwzkQJd07AqaQ0O33bAnS0wsMCFGx3eFA3dIXnTtWi/k0gUzj93vklPMGuJ/iYgvieGOpSB4eW64w8PzO0waMnGX9uaej0xyG6eO0gl9RYjc5NlyOIwmgGQN2WAFYEnIRxxREWtAFzUyaiYY+aKs4jxTiTJdCp5fCs8XORlnGSgUwWUe39o/GwB0TZIsM7BiarhPWvHbuLD0+jdFjczQS508xFuKeejYxljBNdFmbQ9Ksyz/8Pn10aQt2UhgbwexMu16zsaFxDEYx81EHZZ2NidVOCZP66UWzl8x7z07gKGU5EkDi4MbE9oiygwFiMwEiOkTnHSCRr+TzQ9wyRVOZtT/CeQsZmANpZpUR1LITfjCZ4w6Qq0TG1pMkkpwCkQLf4gSCR7ZI2eACh0Gt5oNkgMRyRE2jZyhxEI6QGPgTSXQlh/gY5YaKt15oXzzyNdBM7I/LXriz9+u+PfDgh7mDTnvcad5Q3mPtmcKiJxoU+oZmmGD0AtXy8zDn+whL7nrVFoKM9LYh0rKG9jkfSpEc3dPrCb6EzPZ8GpOcEpTCQRKL2M5AX/HtIzCFwb/v5hOZ7BuOLI7DTSgCmf/Ue/EldluuMcqoDIjvk9eJrUeiy91SALB2j2ATiuBfxXlI5X4fvJiXtCP8q4oNZ0sYd4CjPMLdYCTp4kX2pFanbMV34qo/lFriP2qbkl9trd3F7WMHnLxFSK/s/mjdvDLGA380UirpSc8zEekw2rsBwloR23d7QqNljNR3Tcd3sNWP38bCpL4erxLAnmzbfnAmXf14QLc25gYvNcODGuPLTjQa9f6EEdOLQ/u7ctdbMz/9JwGX2rl7pEsj/mri6RVOLFZWJlgI2LDz1aQZevLL42qQJeYGh296+8dzFDiPh/hrXhK9Zodbg8c+YoJafVqkWgYyodoUAod0F4ExSo52CYHz+kS/47aBUM/wgm4WBMcjPpo28XoWF7Y8Okb5prpzsiRu9IDRF5lRalj9P5ErCFfH5m9J806vTQL1JgQ1WqIKx0frwNxCQP7Fg8efiiVuc8jrKbqSo4IJNUlUQULd/x/1/czxwrfBCKP1s3Sgn1mCG8ZfzSf8D8AsK+P7OHKR1u/pOMcRQLB5RY/V/uaUJPpG5XSUf2XBtRuO81mA7IlXudn/OlPO2MeTrlkKVGUJ5yv8nhy5U7/wPsZo15WR1INYwrURr8CQgaDQfaRIxSxeWgSYsVVfmhfU4Oc3s1H9UzHSIc4C09VpBZY47KcoLUWIo5CsevMwh/f774uB4KRdX9XNRRqeXaLLpc4A93FpWaLpPL+jW8R9iYaXqJGKW0ZAQzGE5BExgH3A0qOe8m0jjQnZ+qoeLh4dtVu1znx2B/pn7Xxnc/aoHbOgCuBb/G5n0tDof7N0BnAJx6xeiKDpVzT0QKZ2LaoETdinZCY+CfNTHMNupqtxooUvwTnyPldzVWPmEwM62qlqd68lE8Rb4jR7q0pFZcqVtQLfe39xoHW+AQgE40TEeIm0QwliunAHokJ/40pdp6J+HOg3bBf7AeNqtW8ltUzNDdkW9lwcP31oxh7UlKMVhJr5fPaXLKLDdJSVGnJ/MThG0DPlb8gJucJ47ggKrlwKdNSf0W23kofEY33MVNnELHfQ9vqCJeRX9VZig/TyquIdd+yQepI+EGbTwRl2UGf4HBZ7FUQyNvDoLGwkZd2ZxQ8xMl2NDzOfDxuub0xIk4+oxIUHRz2HNQ5KtaIsxlRjkJxwAPj4uIWL3sy41kHgWPpzhcbqJyqwt0tjVvwkoFLqqZCll5cmQzOkC0JNJwmd6KB46YQLVEOr6QxD5FWlG+S2qMc6jzzfTBlUeCITtysI0pdlOaeYKv//F7ls6reMU5vF7z+eBl+aLBR4cY4XnemStLbA2eI4gFbteOiHhwTiGkYLW1DE6+VMkWGhvafNbiJx+XcmBl1N1H8+M6hOCt0RaLlWyYikaIXlXfNl6GIppNWchvzGQrnVsPgCOAivUBfT2zpzxuwJOkSdizOhuzy5nqVE5Z+SCCmUe8BrTKoeJ2LuIQcfq8qPbyW2zCpxrLBj9KtFcgDqhoRpb0BWGopIRcnnorfohzfSugxEXbj/8oDhFkhbeDbkg1u13NsFicqw5RLKQEbTLjZBwkpa29PweXmltWRiW6H1ouNKLtacPwf8fU5kYOFt2TZqfBTxiBuMDuhpr8ZNs5CvAeHq1elvXgrbaTn0hjdIjjBpb+NLNEqb/HAgfFigAywVrEnYSvh/SdsJicqZ925bVFfRtZNADf4Do45vjnzu2Wixde2ApO/Au7/7evHOebzTJ2NowiT1VrvjStTHPm3brehmh9nv+KYFyBU8VBbs+9KBev6FPfEyk/LWZ3xX5v20pcpoyS/5UNK1yogXcJZujtbyA3kvCkffz8Dkrf6Q4tsrOOsfY53jYZVFFxfnuWjj5X+rmxBr4sbNuygJeqpo5lvIT6DoGeN3gzG4Adb5bQEl2CjtpY29qBFkNb2lIljgOi9YxS1kWJQ2XZNI+dsmEqz1AAyelnH4kisvHWzY4IoAxHKh1ZliEOxg+OoKwaQN1J0SqVxrBrj1meiEJ4TWWi/rkY8Tb3Q8L+WpZqvrIj3CHsR6XeoqjzXh7BRsr/d/janMBF5O/UmrcsDt9X/s96BBXBne9xc/opFZsSA+xOAH7w8BVvnFDfMZZqyhBK3o/EQ9jk0CKUg6vVFM2G9twOJW9FCDTdicX8Y/d0E92HOUA7jo/xkmnJHu9CJAIYWv4jyOiLNCFvZTHcodlZGUfL97uOxsOtp5jEE9i52s2oD1OfDol8+leOQmZlbM/V0kc+EofGnLWAImg2Blwt9SOkCgtGPDd+OZy1eHV+Y8wuhvUUJEvbD/AJXjqgqmAclI8JWoUqbEk7rH9u+bKO3Gizzb7ZV47yWPcyhx01r43CbPxDalzh3BkIDM+M74rSx+LA8POg24GEM3kTx66P7BWP2tGwfE/r33GeFZVkwhMYsCEm9zub0OPWiRdpOj3xvPItCyrHHp3Uok3s9WajNnG7UU8X/dhj6Ibs/1QmNfGo+qWDy3WWc0TKkyQnRl3XS93ehZhSJK3fOpS2Bg0gt9AUQbMPjNDvzGpOhQvbQtZ4Yvcc80d864onFeAyiE5OAlZ+vXdW7UditvanQu4qTjeRwa261Alc85nf07Bd8nhAx4lWaTkusN6X/E33qpHSbO+gazXGPARdmQ2j+7MO+SGExCZ4QZbsnoK97ftqflpIj+3hDGF+v95UTQ1I/u/WpfjwOPH6CIhH271UsKf11f8ViQ03B4CAxgYVFuE5x0Z509LqkNwtwtITEeDVD12G748bkYHqLLAlVHFQmVUOz9YKF/7zaDw+6WklzT8kESzImMtBhqUldrwk5Yhmr6hJBiIJuuMzqsPR6Hoed2hduJcNmn46Z33FmbAHMYpflT9bYbAcZhGG/vrM9mqFGNds3XYZOsUJlKmxJwbkyfa8kq+bYboeURnwY9srgJ6Hy3Y7Gclq4KosFDnpaDWgFZBwmHR3KBucUu74y/qocLRAuUdIco0TExLRY+SVAuIMJqgtmszr2p6QhygX3PfyJ4EOi9xyNIiXm+gP5RHcs8lFCDSWLu2eKWgMTBVHE5BKbY1Xr3Yx0LljvM7Sobzng8psuPl9Kd+k/+IohNHtCXqhBwVJmQLaSSqduMY978jofJFk5J2f0nMM14VqgGkC6Of5I1vygOJo6J7y0z7GZdrmcEyCMVSPi9rlWp0LnC6ItZnpiHKPXw/sqDhYgLLfJ748agO+ded48M8t42FkajfuLLJpkIAw7YAkCe4ck8fbig1VZ+p7Pn9aYJf4G27jQSrxpK0auT77Obwtzh176LTxlQ0pNBHz529LhLRHOU/B22mzvlhFCuFxTKCWDiUXTBtLj7V5L8GxAiksqb+M/wGns80+uZnHipMW5QamvZJKQdAc3rCGNBZGQ9DMO7twKemovhszckdfTOB20sUeSVwj6mAK13yZnPgf92wWbem3l5lEP5tr8sLj0rpOn+be7nWpJvxvzBKPtZKGYraIQLfGRFMkXFMUz8G4z++l6oGRRO/yPkQHmIOyWxRhi4mHbFzIPP7yiH8Q8/idL//O+tmrg5kIXEZ2ctkEeexfsjgajJpV6F14CgW06Jjo/dHp/zRr3RjuM2oCxkdbHyDOXL0lxfGwjzL/vBkZ394bblJ1f7nZxbIv38qt/KDa7KOLXMiKSGmGlgXk6Utv3zMj9fn64fGndCPY2iIwSuAMSgDdEJuBnCO1OvLBzxO5eU4WHLGWtqUOaMLGIDerCsyn6KFCgL7hc2GW/+IDItH9qFabXKISTKV7U01r5j7ceZEeviHH3M+XAi1U4RDVTWBsFb6zhbmVrGRJMv6oFvnefXuY5EQ55MD2V7rIfYu0DoYLImL8EW0tptJfigN0WM+7lTPS+uc43jkAtviMfM+lbLhzVSH9ycQLkkxUvrVrShtXi1R73H78/7Z5BF95Cr4WhxJu0bKvqReYw8lcUwwz+zXrmp4sgcUC5Gvu4Eebii+6BzNK7oZQYcV9dpYXQaEZUMo5qW61mtJp1nin/bSxef07KjXqSry+1I2hcYv09pvLT0hNmuzT5hbITz/zFGzBpBpIe7JrRDgoIexaBfMJmJ/Yqqc3traNOBoia7rrvjW1cU4QswrO4pSJbqkLwQst6o8g4Wj5PGTKKwg/0yU+saEJvPMuBwJpw9wRmg+jkxDAfS69BzOcW4I7xFhP70nzHWY6bACdUA992JOsuTsWGwyTFLcyHh5WdAr5dcZM8X5Sa82MhdgSDZK8UQ3ysKt8o6q7XgDTBqIbckdsyQSp/BeGaCTOYSSV/68Qe7cYcX/jiWclegoHZpRugUJ5Z64g27rs/SdRY6zSstLFs7E1sDS1GcUjFBYyPPfWDkbmIfDaoDyt9ZsebZ7j2lpkR97qSsAK+dRKjEHwERD+SuOdYLEDEbvKgbEpiwvLGFD/2zH9J5HdEOBXg0iHRKKP11fQ0+J8BPnJLrvRhB+jeulYcZLOkwcPXDi59cM0RAmMnioniSbXkbZStw6XFtT07o86MsFka1FBs3cePHlq0w/gY0YJfilP0NkCLFA2LkBv1YM4ZASYy0EkDLQpvebXOMX++EII/w6gCd22ehfO7MJpGygYKnT47PR/BFOqwZ7UBamol2aXJ07MBT1sLhy7yhzMGaqn/roMcq5riBZ0pSDy0LffPLzGrOGjZsXLF3Do8hADXBXUmTpAr5D1TrEXWkc5Vs7erhAYQprRhTX6fo0HqMZQkKiRGe0XwFQHMbyCI34McT4nhD6K4W4YVWNa/O59kBO7a8B0zK7DjUt8L+pTCKf0vrEUGniHmRnf+2lAXwd5zGucpcqTUJ8D4vDi6ESPU1tQu2sNxOh+n2+v/etPCCX/0CVU8rEiA8BAIxbw+N6LF9x6XG1gAqhXsOQgyFfpT40Id29jHrMAFHlUoUF63kyO3GbBd6vEV05Wc+mUBQ1nkQHsFnAVplxaoFTT4ppqS6Gpd6FtzngDRy+IGzQ0Mk3GtybK3ukK52NSFyWGpsK7cBjefNU5c2FxK1qxTrmEZskabckOHLU5nBtt/I+Fa8wIqhTasPp1Ubuz2qUn9KqW0Y3pT/5OtDyG/IvojKGFcwT1j2Xx4Q7HKcL6fOnxiuNEnMh2subvv9hG+Y7V4ParSSuu9NrTr1qsKm7orzQUuxWcU06umzGJ8hB34zmtzuwwlBNxPD26TA646kMG4wFirBAtR7Pl+u+jouWOvaqXGKQPatpD0rVHA+Y70dOZR496ZYH4agv0biqmYNzLE+UVjt1IaUqV1R0/8YtQVGMZ8KnSqtgHGtB4cV1A7sqfwR5WL/PJItuzlA+Cf/+UQiRhnZXI2KmC4YEgPK0fTFo98V/iBhuuqedX7zJm6rLaHwZ+wlncYHZCDIJHYTMprQyQNCqYsz0DlQqPSlmGXS9puISLFDTevk5A/zwLM9JrlU9XqTDJ6lwtxJiUBslhnqinZ/QeKrYsb99opugHsT9doJ5/05uJ8R30XU5GPl0wz2IRVTgyV2G/3nVHNh6FHOVwKHwMEmlleLKRIRocwpH1BKiHtOYduz0H0/p0p+JQVEixTS3LOEja6h+jSfFhS4C0PIv/V9B4bsUJf/jjFB2m5Yr7ZtbrmM+zuyyQLSzoBAeQtcFkNRKYiRcv1kI7k6e33X/ufbvOQG4t/IdSdV2ZKwHR0hDXOHwk7z8PVYQZy7lJCQTI7xwUqD+XCYbwlyUZANIHNSAhn10POpAmxcys+VkDvXHgbUK7ftYBLPM54GQG8lAttXtDO1JpDAyjOd9ZUzDfDa2dW8C1gjfH4LwfOLgAJYbzX4N1cCbLLNi180lbniiFadmat8x9JiuPrfUwEXon3s1tR5LPPIFVmsWb5HzrHhSWRopQzEesga7ENooHNlSL9JS6Chqf8xbebr43Bn4GvKNhl3lxfbjrg/5+Eps+3eeT5C+FQYBRmiR/oYFs99Lw/A2/h8bzxhvr5zcpbG9PHklGeo421QBAK0wK9KxTwsL+wD1pCMBJ3PULd+/HR6pUsoTwf0Gi0vct/hl/mH8na09eSuVF1/Zfc0+yhE4bIUT88WwgSmp7kT+DXwNJbw72aw7HnIJxAaj66dnaEG+QF6sWVnTP5Rr/1J/8H4sXyM87TgIl4gD758N2zFnXjN9eGkbqy06FXrgXUK3B6VVYQNkwjiVhJoK4ik+XEY1afe59S9AAiPROLppMeTbSCAJHpsBt0dXMN/R+ItUAwVvwA6ErXBjA/jgvV2yB4z4U8x3MCTIlJaeo5BO4XRw+TOQYfuSpfRJ36oG50RKNIC7mEikkyprHsyTFN6UElWfhI/6A5vZEillZF3p/sdQ7uRqT5bHPFOjDdd9q1tUHBoNkAJFtLGeuQWsZC590Z4V4jqI5TF53kXjuNDrSSGAyQgkEo4vqAk5ieS3IhsCWkMWxSGZKoIRXXINg/l9yabceM0pGN1Ff3yNcst59AXP/7p51OjAQdOnawDWuSwAVdNQaU4JN3p92c1wKZP7pYz8XcxMJL0rmLyJXr2XJLBCIAmNNPOMTygU8buZg0M4+AUsuHKKcG61G9vWSihVs6+InoTP434vFm60W5a+adDO2JfIXqTiAtHtDDQHRMVwCKM3z1VL1XMNz9KFsOCtbV7IFVREc+LUK065n7k9X2DNRSW00lzYf6fAK282rI4pKWFk9gp99cs5nPOwCjxG8nQbloL/56YNikbM0TmxvvaT6n9o/jJRM3vghlSs/aSk+vtCBADSykaK0F4ECn78Z2x49f5LwXGC83R4HUMsBii56V98OWa2cJy/Et4Vwvci0W0xF+i/gMpj+mfrkFotBvXJN8m3wJrtnskp0I2F3arJCU5sSC6zUiWlYU8tL2FXG/YHqA3R/e5olVwIoEI/UyuQ4sepyIA2K84YoAvPlv5TLomwgJoGDkFkz5HNgn0rX6X5594hv1XaZZ1/iNBTQMmsJUEAA4O4hi+HiDqI4+IW5mccC1ACSaMkSe20up62loQm7zqT6jY+C/ZHIvp03pr/5uJVA7RAQ8Ym941CixL2sKgJLhVP4ThYDHJp2bfvT0Ann0p4cJ119IDt+Wd3J6L3i0Q/q8RxlGG7GHgtlnUnofwEoBjf8gIDGxpcmEDeAXn+JbwVMVusjwB9xj3faWhPbYL04Ly+S7w9XwkqU931/esDrEEcpYa/OQvuvh91EYVFvNpaWXLGAiOqpQqmDvO0WaSdrMUmvJL66m0oOsEmS1vaK2mRIeVhf4rk71H4hliFBR5lhi2/hoBUIlPHf1U/lerrg3/uYaqBPEyqH8wsu0eKd4WuZxUUz4mYGX7WC0Bjd6EXzeZhPA+AN91DAy1bDpp2knBbMSp8lTnOQ/343TyuyJUJ36+dSX+7L9zfZmqjpPh1A3CD3kw3OcrJCMjuX8JpWn0Y38Tu4TSrQphALVpnbL+/ZY44akUwh3an/jLBuf2jNDxOnnjgVLn2tAyCCLAjYdh5C0QnFjfJd8O7S8DdlC1i4779P2kqyDyEgfyVNI/wi9pPyGD+gU7xOLxgdo3nmA7mxetowJEfLr4NyWJkZemq3GSfcHxqcTu0Zd+rwBuNNEfcs0HiJNcNrOpF1ivmUxaEBsEBBJrKfk/ZCpTO27HX5tpIjbadpWXrDnRj560M+4hFAkjPbXQDg2UYsxIIJ/TuWjKAvZEsxp0y/po5Bp2nabGvyuyWF/wmSGWV7RI2L2ZxYnCxJsm5nuHqWu/urrvUYYpJFlKOwI6Dv2dQCjGEqerZsj1KhyfQCDowjYRgckoUuhkmZF2wWaHOXrKfBpTN8Z8Rc1LX2utlz+Cy9P26qWsBHQOcK1UU+DGlM6kV0Mm8f/X36Fq5VGOJoJeV57N7yh8FC/kJvYd7ktb3hYkluuIZ4VPPJRF6Sk5oFYoLP5KyoopulFiRs03KL0BrpFi6CzROHJ+rJZKA7UVpD0RfXbrSY6pRr1XilqgaystyJNI2CyRai2dCfM0Oh0NXbXbXRyUHS+yvApufoC2r/E+wI+7xVIhxb+UAcLaSkocoWPSqlWXMSk7h0vrtQrvQPguOJAxHVasKrNuxynUUlcc62EBq9V5xVohsy8FjkldPgtnqhtb3Os1L0wqhs8pMhXiBhE7ADx/2Esq4lMRhNR+e8un8QIAaR/ipGEknKraKDRLQr3WOLCJJ+8LxJLNOr5un7tilmZPbA6ZMNRbaJfyKyukaRdjcYNBCzxg2jZrCFpH9SHMXqPeTGC3ClmwfUzJ5Au4zqhm+L65whzSOT3qj5P8NOTmEMXK2yENfR71pKrNxM4jZjdiK7BgXuPVjeUKd8pcLgjtF4/WNfTPWvUtZ0LP7Ygjdd6dAjer6AkBqpMT9ARHGyL6zarT/l8gH1PebEv+RhNl5YKo4ITNawqIDxSfIit7cWncYp/TU9tYvB9VQamYVLaKHPG82k4WkKTepGfih7xmr78AHu9/DyhJ8nQH8SUC6Qzp7h5Q3HWI770vgmYSaAJd+FZxw2ObYMuuQVdxl7W94fxVT00PP+Bud/dcFZb8QfA0GI9UIL+kGbQrBVQi+Ghlk+dEOtOqgtJJ7jNTH9/UjE5B4xK9msHPKGa7dXrcjIA2mowvmJeDyJBKXyuZ/tFaamkna/gPSqHv6NVc/GA0rDMLHkiXw2RNAE3H9kIOayNgEk6S3CpYUoXbXa2RGXVjlSLZZ5aU5EgFpB+MQpcnBw75xbi+Hwl75Vxe34EZ0fGNliUdszN07j6ZR6PkYDseA4Ez0lI7XeFSgErEwnqlDsbI3uTtepv+qqcVIfXaQj5H0mdW+qDbfytrCbt78BJYExYmb7VS+5Z/HNNKESp+4/RcLP5bm+tShH2BknXTVCfC1HfxatS9i0yOkDl1asA5AM2W4wrtsR5RKPsWOSfU0NDRa29NBuPcBdzFxVUMAQ6quY0QVPVemt4qvGLmOcytXgl6dTlQC+PWuED40egmFNJVyn0Ezi5F8JOJWLFUVwzrcPwssW3g58vRhbjDCfEIf9jh4XeKJ897Fc2+2Jz/wH7l9l/tZRR2jjLKGaGSaQeBzf48Jm0Dwdo5i+PZhh2q0zlXB2vy4WyZ4m3dHVIeoJmf8IwJsYdVAOUn1/5YYSqQ3P5KSmUw9xNnideZVGttfTLGk0KDcoS85sMquUNpf7cZQV1H1q8a8+CFHArR8LnEat4GBEgrQTR6eO9+sTQLZltmmUH36XKW3SlvkdYsRQ4uEH4b8Mhan0KqfAVeVsIb9jxk2YcsRVlH4pVeWe5NBZGFw36vLu7NDVS9Amadk6J7tAyKkNOoRYYm5Gpx53CY2QjDu1A72KLAjMYw1vPZ9b+s+G3dktnTnFQQxU43TElUqybcYOqYXciBqUvlh8b7EqVhMjc9grj5dvqPCjzpf3yCmJbdtPGHtAvU+PqGxYmRhr4ATleX8AlLeEPdLdM40MsCOxNC2oe1fqNmxDk/Lw9YXMvUXBkLUokF/y2tkJD/Fz8tKeWXk5ACq3WF0BMI4qAVLIlVbquDI4ToAGLgFz0gPUb8yizJj/FOr0do1J9CD6HduFVUUW0fM629OfkEhFdhPfwA382yFxjuZ/ZAiV92lSRS6tYdYYd4DlGAlXicFuqu6OQYQnzaR78xxigi7E4/wQ4acGQ2uHpKXYYv0FO/AKraSgfwxkw+c+riRn21IbZ/a6Ky7I3iKJep00kggs7wutYwTB0xkvXzFiOyIEd/Y/OduFeNnLBnuU5zvRtbdU3qHV8mx22pdrOp/SRHJIu9Bb7MAXWvafDEV3ymqaMnYzVVYnn2Xp7k0TEUL/VXQlmqaoBrGJS4Pha6ldXqshmrrkCWAApWFOsmA7gGZnJsF9NcK6GWLCFmMApGhjXWp+fW9ljrAkPT0/NZVwfM8Omc9fdcm9H0C97n9+4jCqhbqRU1o9vjRkrG8s0TSzrHw1d9bnZBddqgYE9cJ2wyUITzQl/7Nb+yCnwx9eatDlgegZrN3537lnRTrZuLKDGjK1XZn5MpZ2nHhL2ovg82DCgYsqhpkeI5QXWa6twq+fSKt2btf3LiFuntnxeM1/pict0rr+fxGJhJdclG4W7Fyf9znwdSWIrDaqj/cXeJG0Jb+6wtyyIEtdLmRj5WQj2wX4mS4ACBw9syyHjLgmNY8jZapIYgMbdaIrlMHRHX9b4VpkTermldCtNHIeNZxd4Q1jzgvOU/aMwc0XodZj+GN+EB77Zh4NpXrzmKg5z+MJnxlFdYVPmVCXPJafnCALEx/OJi+EqQ1X9748t/ROPUW6Ln8QjpxUAuGjLDDP+YhRM/kxTqfBh1yu/BzqVmVcrMajPhAKdU11+/4BoIv96/MbwHcFw6XKA+emVSSE1p/Pu/i/IPmJQUJOg3h9VJXWrR0DhnAuG+QdefLAHd+agJC2JFjr0dW05cntX7lE67s+wZacTdcJwQMw7dYQd4gCIQEbRotT5BUC7ROfxlStftOl9IAvISMj9fifOKRoJMNZllT4GOkcHZ7Pqmq6dDm5T3LOnzujgG5JFIpOKd2n/xsBtMFmgt2SSvUEmd5Sqk6R3ycmBIHSIAxrbH1nEjcEgcH45luJ6ib/jSR0bwFgtwBCNS7bnbJbWiOgKbx00tEsuM4YxESR4DcRbfIx5VKGFUD+hbkrCtHUKEktolwF1WZveyHX8VnSFxh8S0eVXKLHh/KOvr/oo7I4GuR95rtWGwhdPc+mFIgba2YUxgU6cRAIPcvNYb5dAbcPtG0RLvOOk00OCEHa63CzBU7gcqtEG7cB5LfmNFpD5jp8p9Rj9np0u0iWq3c6ZH8eL0QrgmCFvjElYV7futls7Ne8f2ziDxEnN3f9YeCB8NKFRN/QYCj1iq5W/c09VGk+xRC4rmCDYXN1tb5X2u+JbRT60W0yTwZMn4UtGD04Ra6U8NeN5cgMUZ84kzdRypqC2nZFc1wL+4+q5R1MkivfA5AznlbKnueB+kqpYbl9Y3D2oqAKNDO2q0IO46j0zTE1aFdFvQr9+nWizeLgJIbLtimK5wMrkyVzMyf0Gkthe3EPVe4zbMoFguqIUAR4BUklnq9E+BjoUx2mEYVsguBOCgPmSpmCOIUTmK3sIUaEGWvb4cciHRBzp5DyiRo5u5yKvg230InrxT4EZZ247xmwX3kuwVdoThRjh7akv0MI7ZcEh7wFM0bHrMMeuH/TPRu+wOwKYoQS/Zwqs2vYhbWPJT1TYya3TbEOr7CpqZIPcOaoY0bVWjvtIs5qdVWmt1nNni695y4OPpIcOytQhFpjAFto8d3icE08x8B294r4WjSxfnKLHl9PHVlyKpHCmf9Ba+7RykTj0rbPFR5SJrWtyRS+MZIou++7lzuifYiRvo90nzBffZR7ojUeRj1CVXwwlnRP3lgdOspcNYkZl94y1+KNn2jyVoUXojYpZDYTi3ye/alVa6i9U17BLdsoUBHf4gH++rLOjMcQbMQ1XzGbK4DcC6fxk0Rx56fHePUp49hpP/r6Uj96tMq7ZzvN6bQtJrDRsXvU9dNNax8EyZffr2Z6nf4zaWL4ueqDfFcFq5Ih54IuCWEzxPkgTOww+VmvI/5dSiBubMT4U0pXoeiQ5+dv3uwfJiPcwyILuioiVf41WuuWQ7ZynuKGHKBAQRd2IzqLu5sgFxiDyp0HDqO+Z36XaeTzrN9gDTGvON4O6qh5rCsE5tfQjMMyzFqhqTvKeNVxugZP5asptub5WtrhN4d0ZKBZcHxR2ofPD1eKkHSGTUJ9SojT06afCr2aBno7tBrJ9WlP6wkFi6ry5bJIbpR/GqLJMPNY55f7xhxKVnAgCZe7XQETPTVX1vq4RuHtRjx9BKPbs26yxU2rvQahjgMDNRPbmtrRf6oCWramb1TVgmNSmc9h0gLq6eatw0u6V8sthZ1uXUEVS9WANlMazxCSvxTqEMCzBoOZr618xXFo4psxrEZcPrQj6e9LfCfU73WVBGMk7nPr8dwEMTBdHTNzG6EfyjnMqmaT99OvYypIrH0z300qyghEZURVBCTorlGPwzyIiVcu5QNYYRlDBYolX/9CmOzyRl5p90bfVvwjk+pxlPOKrR5JH4Rl3AiAgtdVV9M9kbUgkXHfRtii6NOO1kmr76lUA3k3aNQDWYtmBidMXAycRfuU8uOXVelojFsL1hupZTDaSPWKEsiIm/L5qQSIw7fuifqbKHErAfXKzwKW4QmV/E675jqTioWpQEJibh6rPQX+i2OJnePf1R/+5ur8zDs3Dzf6imowMl1zD7W0Y5y0x9Fma38AzGF5KOUhSYo4C0NzQQEM/uXsD20ggmLXbYttZLRWR/48qhQjXVN3yg2eE3+NWXk4aG250Oij4JVWLU9sjV/OQLTLa8lCn0MF+lQW26dFn94TrhQ71/DlJboyyPumfkj9I6MoJS1/qV97P/4c9nU9ciHFOR9o/9G0EYb+9wjZKuQ/Cn85pbImZwgGy2qLUCJVTk7PowvtkFWrvHKH0DV1CXXLdkoJBN4hZQkDEKUqWCVASU55AdB9qtUa+lBKf6+oEM/OMBXEilsUGqltKv0sxWFDwxAp3UBYfjP2sZayUSy2QQ+trzZjoiFXdmz7L+QsytLSQRiWiVeL3WLt0wnaWs9E0reo3Dl/IV0fzH0kBwixk5IKj2oot0/9VTp11WASxbQibTNGz/46cLV7HFG9JNcyuotSJHMOj0Ra0wDxPcXLPg/ztHBj38oX9ntDk8rfbu81C+yUYyN22c8hdsQnVTq9/8ul+mzl5raB4q9zAO4qH2F/td3CWf5m7rvPpHWzt8Wuk6u2NAi2TBsIH7xd2thN0a++IaQG2XADFPXCrrgQ9KTjzRz0rlDkQj/80zsuLv8XZoY7g9QInsdnj2O2kUG7i50GmYPP9LcVTlgTAQ3p3JpROS/OwcDCWMQR4j/uYBCvrRbGn0OYVKqDoCAbUne6np0hDLnQTByz99qGuxNekz6Kh16nkYSoKczF9PWAyJQohw5vnefG21VwU5RBh9Wus/d8dHQUriYuFQb2R7rQsmO/hF4wKxqd/wAdPhaxSMmh9TNlx1iNQWW/06InzQYjGow/dqgZ0LTfOx9Dp0k9ERGHs8IkEOSMSf8/7N7exRoYAjV7TF1RAJxclLX6sjWBYly56BDxFGwDWbAdjuDk5C+fmlN0+hGOWFbDWjdGCxv8V9JqfmYmzapZM4PPBrIrgAxipPycBgkKbKDZcIpX/Bqmmxnn9JZWf+sTk7FCvCQtSbUAPStWLb/oLiriFXme8AslZhgIajmd8hvIt+0BOZ28VSN12iX14mKaw/jZyOYUurnIE78+kzgUBFZbfPHbFAESBQgvzlc2uBgEx4z6DhaI3146OJEmu7rHef5mp9pBILVpS9ZUUOVttEz/vvvCVtxL/c6bSJXsvGYdr4UAwEKuRzPd555RZRV9yjFO77S8RHlkxOwbZIvDbAb/DXInN6/H/+6SETbhzNcmyLVeEJZRXp3AhaRz+wjpSNbCtekF0mF+yCANk4JFzq8PXo7Ian0ybeePhZD7PR06SPoY5/tAGrtnpsIqsddbygEvnUu7OYjgClhW7B51xlckJt7+nIbNKubqtywxzwULojt2dAag9JG01ramnZAl+6ARPbiOBYndo9uELAnh3vUoU/bi41HFYr7aG4jQrzSQMc4w1XPN0GX4ORHSwMZCCXFfuWM4RWz/Zv+h4dvH+b+i0NXnje0XdkChlFdZ/4dmFGTjBHNZ+Lg52QcSlmpFfPa8kdPMA5mqdP9aGZXCvLmA0kiclbWnc8rSbExX6rJ636zyUY/2NW12nw+SPk4p7USh2Oe0+JrNyR+48PTf8yyD730lI9EdcalCCk+cb2cZgqAOF5yJSfVYhdreo+oQQsfqVIMHGc4tfwNG0OBJQB4itP1iAwFjPVU2f3yVvfKfQunVeXf5YiTc4xle5cyfVV9nD3f5WMToKik4oseZfd+3EfWJQaRIzcfxHglHlaLVe+AE7UbAuwFLvW+xAMDkMfUrQ2+JbRWc2rZei9XMw4qyNS44pgLwC7utf/77d7wQkQt1I6zm+XdOV8rkEx/6nk/HL9tYkCt0JifzydS5kJtYBClG3gDOLN8RUnUtj9een1+s07jAErjP0ZfvDt2nJOkv+aOaj6xFu0jp/Ojeu99fsmu87owcc3WF1yfpWeWXePvnnhYl3WFcV74IWKIkL/dJL3vl9HNCDbjAeBs+THSO3ZyIeP0xdnheCCkMVJEiNg2BjWyba0QUqJNxIG5zYNpIDDj8mYUt0tBMj1bj0s3ks/FNzv6K45YVj4yizbZEnvbqP/Tm6ydOuUS1cHwE8OC0prCOfl2wZBsEXzxOagt318DcLbbxnYghBmWaf2ravKBJw98PQjAEJxD41ULYTSHUDae72yxSxP8/zgQEDBR3C/gCipVys3bIU5J/NgPSY3n5OOVkXyPvzW+/M73vsiV2pBFk+268MCQ0U2NR3Gw498qQ0qXeeEzlqu9v6gcfjrBBrT4v7KYa5u7Uf6XXgJRYN6BcJ89+mwBHtCfp+gpWbboxgEsOm+hYPXUZPmA5FPqKNa0Enl8fuvmyGzhXZjgs9Yb//ruwa5kOnwBbbQXJBSA3QJXRw5Bpy7FjEIOvY9NI/ToT9itkmsGTKfNEuA0oa8wPNkzIpexv/GiOhbEoiyd0xOT13JykSRBsqZNaas03R+5VQM5a1DlbCmrJ+VHRGF2R9QiSEol2S0QHGrwGAYS8y+KBHRZJsPr2gysptnL+WTD2VZ8xG5NNBm4YYM9MF7NtaLQOZg8X3j2cS2XmOP8FIRedtno7T24igSa31Dc7UsZGbgOvHBO4xpZ8uQsNEdq9LMbeY/AAYlmSkAegzWZ+EEZBUZzMyVkz+g7qXe4XAOg6v9LLVFJza2/vlK1s3taYzUAgb9MyEx/xvSMk/zIQH0m1siSw/prVN/USRp/QuShMBDmu9X0vVMIsH0M2xaM41PP2tRX79Pc058wMcTw9OhqDISrh405A9ZsbNk1rlenVaQncf4kRMVchgFdOJs93dZfpYEl5A1AT3SgjnkytIp8pD57iKQTpisRUp948u830nWW3Uxkjbv1DZlXhxngWxsPwhHLDPWFjTXjKL/XKTqHLtc/POa/H3Utn7FM7MjjaWX5k/WyWCPnudCWmWB39CKDZAsxQPngfSAP9GXCHF39q2v4Vo7qLPeFKKixZaSvSWH5uYbTg5igqTn+lWwrwCENo4fIYDY/5r02v9a+/c/7jEaE7U6HU8bDqb2YMlNaGhwC4opupaoRDvuHhdR45eZmLf7aUO48oOckeqCT/K0/TlD7RE9ajEXX4Cf5Fnc9WSVLTZHnpoisVyDiiZRxNBvkC+CXon5yhse+OjVqHdJn6o2l2lDrB1E23zK3JdAkVZ8B4uXTgKEIpDlWXRYp2LZOpZfQLu2VDrX2vGEk84+oB+wMq+YUiS769kjtgq6csg3RMQ40/MPZkoXlIABUFWAV1QlLaUC9S7YvxN9Sw8ZAVuD3jKZl5/Xbi18P98QKiE6kRpWWhYdDdHV+emuGoNIS5lYcB41BOhRg0t7yqgklrs+9alNUxyNJujlrsFgod9s9YZqVuXvC/aIej+0llolqry5IoDjXyamkysb1RTvxpHxHJLQZi9G+rEQe8JozbZJfTwkx4nTt8gIyABh8o60pVh4Fw/lMrBt5GgFbSjq6cJ2UouLo10g7RkTe8lYMlBx5yNIvarMYtqUnj8HO2ty0cyLcBpSD27sFEwJ1XASXLy0GgdxNAsJo/8sX+TNwulWnrC4C3PiqrUMsR9TclSaPJSX+msSnxa+C7iwxNB0Z1/3AaLycYHvCy3YudlVaCnba38KMOhQmM7w4JS1mc0w7l/g1+TNwvWuoIqbChoXprJBFFLnMHGCqMIUX9GWC9a5ZXo8mC3iXxqzbpJEAUrZ6A/y/djTu98Zt1NAvOJbPEgX1/8McHjkXyuTQPkBGdrqi5cceFnsBZ/noxse5NHwQ+Wt5XvrDdcBZC1gTEL7uDGZCFIWl1ZBRoV9jQhdbQo6QdiuLupjhAsDsE9sEXwjM3m4VyxyS80uK/0KcKM550RiT7/UBg943B7vBXTL8YqfNDbYMHBJXFTqIAlQMreyITTp5hojggDVBXQPqEppy/z/HoeHuXu0NIALgjDaOpfmo7hjsDQm6cEtHmkyXC4tF+6VLmf8jdJYikKHYRbtYpH1tgbX43H8cwtNlhNyhL0AMavtBV8UPO7R8AXZdomyT9yUt5XA7vsYJLumOFqizfavqVD67BsoxXC/r/xwzblLWTtowmnFEiRpAB2vZ9ULTaygi6NP898DiCk79bUeCnShV2xvbsuba2wjMPncpd4cXSdk/wt4qCTaIB+BU7zmmlPChsGElSBRncr9GhW4bPmqD6VFEHbUnj8Gfqjdjdz1b+WOCkE/b0a7rv700YMxvyjS4Gn3DPGmp9MO+j4JiDdxlEyWLO5ZmfWrel9SDFZgs26KsUXSDJTtKYg75hNuTDTYefy8xJlPr+jYUMGuu1w1AjOJKLIendC2fngId3OjDBCTTdf3ZKu94ZPbolqBanRCaef1dui1Yn7eWn1AFJkAUbaa7D/04rNW5y1YC3uH9EoSBFHmP6nOC1ExjVIS8PviKmA2mp+LJYLJryNdgdpYuYLf0HJtLW/JSgGGftdcsJ1WEs60QtMNtaqS6GgMFHvL54EUp5tw4i85Lf2CABVodpkdFjgbcDzKj2ZQjehUnpGFqwzDCr7x04mTGPQsHSnpFCUwGteHSqgXcVswoW1oYsnQYs0RYNNcap2vxK+sUxUY6cjGtRbL72GOBcmHqdFyqJ48yv8sNloOQ0bpglO60ZCD35TFs4iBafDXL1g4vcMcg5fLe+Ah0MBU7+obcnWgw9pi/dS4K+f5r6tPCKXu3BwXoYRssN3zHskXcDFFc6tSR404vAQxDzY/9NsNSe/LshsS3moe0kqLN+kcwYsKs8LWR/KMVhsw+MBuR1I3lxMwDueVRb23i+GPdd3JegRg3jT5JvINN6i/UGefNF4Orz9BTYKTba8S8LqDjqmsntFgqJiPEAav3EzmEw1dihrTgfk5RT+Iz20IYvUtQzhw0bN/PhoPFnQ7H7NfuTcfORuaCi+UBcBOpixYDvGZtK8ibFO7M+Zatf0VuAgEP8svp0h9Ya6HO9nIMQrqAXTZgcXMUVTHcz8Ar9LwnsvjFqSExi1GYZKo5ChlIWjk0UuKi590aCF/3OviP4ODsGRCf6qcEmcJCWLicpWmIgcKp5mdryTEjseWE3S1h7hS300JjY+w57vJC1pIQhI1oaTkUqG39mxF1FYgvTryERU2QL8byBQt2ffPIRlZiCkZ13+W87btQPNu1NvVvrbZQeMi8V3dICMbuUQIAzjB98Au+iMc+hjB2b+j9XHNu8fvqtiuROC15gMd5vCppYOeBspW0tvul3C0smLtwyAuYr0+WSsntiVghICAW0sorjgZYeQnuQ5Jo17HGLRmpJZZwB9o8dADfkFqGuNqp2mJ5w0Dp8TxwAX3EHqobDL7dyFkiEl/Gmv5xAdSEpRjK+oQpMUhVc/NcLOoSkqnWmzsGoE31WyDg1GDT2zmlex82um8BxQP2g1tIKm/wyWmDJZqJuFxletla4FqNBRj0Oup+wUHPMtNcH9RLgWglkW5rLBba06lnbX4d96KEPKjeHLXcV36b/DGXPZtnJvzCQ5GRuwGz9USGPIspqH8exZmvKTPW3E9EEzB9M1fWhRupBlCD9hxQPJ6zJMPpq5qo7CTIEkd0QTaEPmNaWDgmHO1TRVjttcUxW4rnEudl92czzN6zgXDLitsEUcJ2vxTxZCRmjiOhMt0a2C7tXgMygqHifhDuZIv1WQRoEJgMN5GvcmUNW4Fbsf7k56gOHxp4SRRmdVJYuq0LvQYcOBy+lGlq37NJCjOjvNMJz6+W6VX49FZxMLfyF9O4fYCxixHFBmlCgMHiGU11wdW0+g+WngKvFX/efGdIJg34Ptu9dBs922B+kHEFDiLEV9S0ZgZXn00OWG1LDnZNbvavNXNWjqEYj4P2Qf19Fss+284s8zDh4Wa5D1mYnK3pEETa62hHSv0iSktUMlpVHPfa8P6/f1B2h65GRaeVthwnK3GNXHzRItLEVyqqAriVONLVwGfPJwJa7PXmamz8jAfKZZ438jBhDcSqdFglqBvd3wgsana2twjPmZk0GHDtc+QNQIeKtqzOt7Du1vHO5KGl7OFLH3uP+jx0ulnfGtullgRP9YQ6ZZmU3UG39G8vrPhSNgIFRlJGz8/THBoLPFMoTR1I1c0x5b8jq3mRH6HWXX7KZhwStdT6Fq/H5C2ExWZnWV6OR64Q1gonVzE/kcQOlD672efIZdab3gcksx6VWcGAouMc8U9NdM9Nbjo5NCngginShi7JeP/pYhLqVGDTe+mmUNcnVpUB2qFkodulR0hw7Np088xc38ZVztd4vROazz8QSTHBhE0AB/BFEwQdEQlJRdBQ10BaM8fFSFBOnsjPVFhwV5wq66sBzxqxR3L7z3rfNAKA7HK0DPR2lRDsIzcepOAxmijJlzJtONrGeOBcMgGBlse2TQ91S6KBkvhw8wy2jPb2ECwzBoeWgXdRqRCgwSUEWaRb5z1tDdSqa6eoLhQ/h0Nj/VgNm3unWGNHpYedOTg9nSTxbW9egHha6KfHPtooMBPwpxj8xl8Z52JUB6l8ZWlchV8MHVjqKq7FdkEbh27osOv/e5mmrrKTE+LlXTU5fxvIM7MG5GYMOdMna6+vtgRjGM/Mk3taquPYW8Zgtuhufba52BJdci1ZhmKYv0SxjwTmj7phqcjJ57FEkCQF5CBKGl6HHhnUL/1hyDfEoubmg76t2SyVIyVN/ZxxNcgcijzc6GXQ5bR6GrpaDB33SPo6l4xhXM2QBpjkdYEmZg/rDiHVsrsX7m8Bn7JbbEy+I3MIpF5CxHJsEW3v5cvtPFP/TDWyRccyNJOQuJSqhK6RTCk6dE25huASirl1hr+eKVJCVHnpv6Bt8zvNor0Qjfxjz2kVj0uF37s2OAdAJHUXT2GfCEP4MpIwgze/FHzVf6QTvOOx8ZUK0tg7JmbBA6p+of0bnXRfdITfOVMT1RfWT8Rjr5hQkTc5lmyHtTNJAwL/yhz+AFKd17gzLtLt98ZACsh0IvJ7CYT58yG1vG9GrF611522g7Kynmb5DAdm76Dr4ztp6zoIp90uc7mlz9tK2xoFRMK2rg2E32z/bjabmAmC0jeCgfdBJRQMb+4zEcH1Y2+3vyh9Vu7rGXH9Az+qRshBhVEXAgB4VkKg2T8eCFLBEY2T3b1hjHx7U6/rS3bfvMFp+LMosOmDwpQ49dI76KqdzON+5+OO9P+vBHgXxW+r5huDnJ+vGtejbOF6kpea56uDTjURAq8Cfcg04KcjmyPntLECgQeQuru8F2Tzr++sjktSSZAvtDlgwfFkDUVPWDyiXeGKstNX+u+695EiEVeLUolLbNNsope2ag8RVIdT/DSsP60zTuXSq1iDxs+xZtWqR0i0/DaU8/rxOHLTQR1+h9ziwMs1ugfSLJyEk4xDxVQxha6P7CHgMsvEnqi0ruHpFPq9GzheGP6GdEBPeSYHjbMucJUpLMgLF/Q6bZNkroUujK7OW5yllImC/rdnghfN59W8Y1JNhE/zMrlwG7cg8goPnGHvU9ZVt/bmGyWT5ZTzVh9bY7jha5HnRxO2dhCEqyp9wj8GHPfjAvK1988777qf8sxXH06CMeJLyP2dHTZaPVPQwKuY1Q2MCUHM07CYqYWSHAYgWvE1VYd6VS4EDeO7DT6uGj3xtkaYRg50EUQ9xIerCNAPXBlwRNVDyRj6FVVjpcnywIoGht38UzzpKqGow0kovfg9BqoUcscGxYyyEL05+5G/iLLyfxU6x/J1Z20YvS8c3UzDUd48Gks/McLQjEO7MYLVVawU3Nw3YM7qg/TnaWXSsmT6mc0aHuJVJQXSAXo2KO6ZJi139Y44sEnDy4Lr+crCTfC5n3UnUgo2/3np7aCCxGzamT6k03B5qacMbF1+lt+viXuC4qMeeNT3E2T3w2maNKikLvNRwvwG4qA5+CFqnwK0h5Fo0Y7z/CloHWIZAYA9Io+qQ1gaY6ktd1EkBw/pWMp1u7xlEu7bq9GukdE1b+9ks2NRRVQYyjA1wDkGo9nwcxtITDNFRGlMupCG9wJ0aaGu0RebdnV9TXehMZUIS+L/IVM7alL/28Fkwve4Xlgo6JM4SBLzzqMzefLwB2RsQZ1huERqLCcTvokneLEn2xo/EXKrMGDmE5QHAOS44iyR8usru6N3NkIYmiynOHsNAoFNaXSL15Ow2vZ/TdFAZ2lsgAZW2Wq8hEGYiHFPWRN6bEw6yppqHkoY9Nb88VlDIQX/KXSk4xfiiUAC4ek6TzW+3a8nrVMGXE7shjdClmlgwjbVFtFkhNHK1ijuCpFry05BPsn0UFsS0U6wpy4tSn2dlzLzKy0nfuNHAKVLMhhTtD+RgyDPS5TMnZkr3OymZEGairrgejJLRpcj8EJYuJ7Ee45YVQEhTEip0c+LT5vxQcJmz2p/NnhR/yY/UaEbt6R96b4jjhPdwqq6yvGMTnZgnYpmo0YVcqQgWPYuposy+CfAr/k6gw54Xt1MFsD8oSyDwbSlEDm26wh8gK9ffXEQt+KEpKSt9P9+ZCcFwTvn+barDU4TikfzTvOFoQpT7yU1v1hzxNmb8mBv4tiqhQBNkx9gyy48+97aeXJtnec7dJOrOBsy3KCUX7VVRFifHtqbSS3LfonftayUsv8NObrub/ePxAGIzhfuN07izZlnk1yxQnGbLSwipjki9+yXZBcUSsdtjoKTNTQQjJg0iJLtzPoxmQS7y65OPNqH44AVFErIoP7ZA5//ODuJXqBhgadBhwAfDe2zKNCOkP5MUqyeJPLsCRRYVbxd13EiYblLYts+b1lz7ZTws33cbbUEnk/kyhDIyKf2DCQAKlz/BsMPUiL0MJV8i2EsQAEvqZr6pwl8zSI7mNo3xj1UDSDwxQEkZtO45D30B5OKuiBH7LcddV/sbCA9Pt/VG+zqEzxJUtLLSWK6MlJ22GVzL85+JfMn1xMyK27uH1HShpriD4ceEVXirWO4F3BpAjC+9Vg/3sRwGnNn1W3mhIyl3ZH97lKTV2g2HO9f225U8Ot6qsPd8N9INIxQ3zjXw0oJHyzXc4sl83AH8g0fGRpVugt83xceV8qqCm0XEHx8qWiM1fAXX4mGYbYhj35FYh0mzRWHrYN9RxjS1eK04di3kPltuq5uPZZNmgfUsUt/wQVEiPIOc6HcBXcGvZv1vAHzBNB+ERWx/xDyNhDwCtqeKD0D2MvWbLsiC/cwkO4VaDZqzNBM15x6Mp9hb+s7pm4rh2ufgMQrXQbsJXWq9QypvT4KItAUDdkKVTFQMJhDrLzsQVXIUJolbsEjCP7laQy8mWJ6LD5/J5eKWzYUxeE9vxstEpXhUnJePoyAbb8d5vB0fKy3GwxR3T1Bt68KuNEdGNq0XkHK7WDrYv8Dyv4F5+DoYdokBKQg44gQep0KbuH9SgX0ydNBcOvaJo5cpMIeVWQ1birSsoFTMA6szHa7vhmblQum5zCmJKTzIppUhnQyzs7rsTRZiOlUqVJa73Fts+MogzvmcOT29bOxZwAUENwmbaK1VBv23pHV2/ktLVqACp0UFSP+EAXhiS+qGxUqRJ5Vw+yThu4m5Cra1VYRONtIFokgg0dF/TUCgWf1J3rY6MbHjPSSZTeNlCjCmQwYUwH5XPzjJqCR8XXvWGIalRPHNx73fjsE6779yzDBBdboj9wbgAgKLSCvu0VJrL9s7lwkEVOS8KQqJCPWyq/elfeqqCfAncPfsd4uPhYXub4yERwJaflAc4KAUm5WdaOp1FJIAFt+ziZIG0SiiwPaxP9ymzlrUfWFJCF1hAGNn923rR6h3NG9sK1uy+0qKAK1uVnNjV01H7JeJdD+yQp2GZvaa6SgdGf5aeDLtRrZ9v0SIueRzVpkhhTKVMoki+z6CAd/W8Z/I0qxHDgB0/X9hp6Kr1d9iiufleeBwKQ7S7o8ynelJeNoDbPPtFxLRXU/EPeSKngGqUuwcjMpAraW5V0RrdKOqBcwUGgG7JmdVcpOckV0+fCNiCCfQmDQXzS+vqE07qJlyNviOvBejZnF5x6/xlFxb1ksBr2GSWih7sR+fEmYxLydO6JiuxnCae2p4GJin6j5n6zyKCnh991ESgvdc78E/dYSxMzB++HUyx6LqB7b/AdLnFQyZSZ+rHOnyt4/rwVrTssXLbkxiDx6ny2W6gS3xUinSHzMbA3cvc/Qqwgn95VxsFRjBVc5WNAAeuK7+qd0B1P01dcyMIeZpTAUCbVaXhbRF97HIbuq6z4VyeLNWcQb/1BYbv2qtS2qr+0EWgI6XEzEO/+2LHprPU1g/hFERcgDrxZSI4ZNdyUvOHF8R6D92GePNnhRsdY7XHCmVnIngzgdDo9EnD6oZmTe0Zvnk1V/EFZ8elt0xt4ZQfDInRN9/LcBSG9zrkg/n7V+Oh75di6x5Njeijn+dBQ0zVhXGSeXmYVuM9/vNYzIoKvjiJ8hGrT5IE6hfYwu6akXQou15kqwJrzl4MNx/CzBjbI5qITOIBcN+O4eaQoqUrFFipPLZAiG/WXC8zP7jhfUJx8XE6b4pVRXen6qRjTAOFSb9ne2DHjwzhvAwQSUvqkC9fU49pTogXFGoTryqLwOesHf1Ag3czpUvrOWDdnxVU9Mi6ge843HIq0k5OY81KNVWgiCQc51YWmItV2ojv3zTEDY6cP7v0JhCKFKSqyC05Vr0ybrq5fdd3JDrYHeekjZz9AEvq22Y8Zts6hjRwH1hPmi+WccbTRP+MMG/Gp/vo5NwLObNkXMAVsP3v5QrUx2WHorXgIea3yPqkcqfw+XKlLaRmxdIGGSiG/vUbgiKmVpJnOhKyoUvnuYPRhB6AlgJlhdV+POhRFdwe764F9Uq9e3RLsuXq8i7Vn0y9LLrCO36orvxxQq8/9YudcF7UsK9YTE/iH7EVbLQlkq+WLuvKoiRLJXvP382G37lavYO/Pc53nNqtH0UP7f/jc4ps/hz4e3PYnxFOf7LN0WGrXHpb0Z5obP1M1E38KuspB4gIrZX8zwpf/0TMYuxy6Kyk9zjKKl6w6ISH8eJotHuQXeFOdazrW2faHNI0MpKRZtfCWKR+mrc3hTvz4ENlmVjuoXYAuNR+ETr60Nc9w7JNrS6WOLaim30QUHt3F3j9xQ/P06yNtOKSSVR12mwMWuCKm8dw7TEuyo/upxTKDVIFCK3qR5KgSGmGNDiYWLLiouPjxcliWodiQ+jJ9FqmKeQ5/Cw6bYzqm0T1akCRyCk+pz5PZFzCXfiNGVj2cRnV6thpXPXRyECpfowR1g9Avb62PP264vlq6/KDn+dn8ipuDP/PF6NrPfsp9kw2AQkuoLp7s9de244qkwdjK5MMUjr1wQo91xmquKZ3tgNXI6ARSPr/sjvZ2MhIUMhkHgC6+nYKjVFi0E9+mdQ6n0JHyvF4KAzbg3nti+Qn3uRgqwo5p21HO8Sg/+vuVZ4rnyk1DERHgRQDaK4J+Bm4sbc5Tq1npXYrwNEVUp18/NKF0lhgxDGeIV+JfpGaCp4UEAQUBpfwqRhGxahyFzUcPCpZJP3hx3O3chOyvTR+5okmY8G9AVd+PZnPxZBL99E2n/Cs95RF5bYaS7d1ZxDb0d0wxxFcn9bKDueyw8WntznD/LNagf/ImiFznmy5cJh7dC7PaiWQmhbaGNqVTGD+FELd4RtCcPLitdOv1byHTtWFEvKREp/tVTM3E8UOfBYNwzypXgN+5S4LDYQfMelqfttpnu1L46h64upmGyhSyTfOYLMYB3XAFXxwjvuPaFzZS7e1J87Q1QIh1Ti9OKy4huCYtrXfGpg9YqtdRz4tW/SmN4cqtdvPUVIzM2KwUnA0WgKmwD7/2LQvjXo+YsOG+730HxMMyI2PNgV+Y/8JVglVHS2yjVvjbHl+dEaNsBaSMjPAE1PHKqtkQB4e0zrO8OSF0EG2YsKfTRbOcUK7y8hhqY1htbv9ARTA3z/heIOPDp+5qOHLIUUA7myPg/5d72MLYOcgTgazxGcJ8tUzq2lOwO0PDJALZQS51Fsicffe771rknUgENxbLnbHhdwA68TUa4P4Ko6czHBWp96Q4k2P2CTfheC3IKhCpIif51g4BTSaTc8sfkNsVoMVqu3Ub2WCNrHFqqZ2PLhyFvVBI/Qu9WDUbZg6VLvIqTV4Gqf5HqJCGTmECFMTQACdCmG0AyYqs+kv4By61N2h6bzN0bzCPq0O0tfijEIzB9qRaNjWYhaXTZ2eNm1g3Qzomuj6pBEuylYWg50+WbVwZCELD3n9ZLotN5N0/VGFOAeomYxJOeVJOrFrZ8mI+juMLYBAXls9gvFl81UCmWPHW4nzMS0tcA7cgsYekPWGp6BL2kuAsEZBkIYjQQSm84gcsDDwHraBfBECTvKpMu+YkPaUOasaI6eO8F5uaFAViEmzlKfQEUZFYVxWLMTHU3/vcHsPpzK4at6RpJ+OhDn4yUX806lc1VsFls+mJlJOcnwd238W0gcxO8YgTlXr3o4Xk8zKB/5Ts6aVviNOB4DBvZ3ED4SOOWp3hpAAWpHMHYYjKNgxp6S3xqecMHAhSlfdLS1FQvmaBNAn5xRxV7ATFsOoFA0dwdZRKangEZycugh69XlxxKuBLuvplv5JPi0u3RU1CHsL19IOHlNUdJEokfDMx7ejXyg2Ki2CFj58i9GSXmRi6CG5bsPjmc43R/l0hNFkox4vuwY/yUx0ILw7Wj+pSWPq/RcEpS6p3QH7WXXc8T0/R/RgP/aeDTjpby4UH4MyT/OswL4+u9S+Q5/HBc7mZ1hMfPMtlbEIkW+twYAq0kMb5FrI6pDozf8H3Mc2zT4S3L6EVXI/M0aSVeSQyS+Ozo9HZrWrUfUO9wG+KfI/BEFRMer26ihSRHAszLOc7qOg7B0CoigVTlC0/N4+kMw5R5Nu1A1n1ANrK6L6buIcoROukifW+JKWrVfn/EYnlGf6eHPEq2SqkXkoBCmf5NRg9f5Gg+Q46lPXgVdrTxnQFn72sF78hOarjwl+qtcmD3Ew5sbERnjmQhYA/WKW8kAy56Rz5UMqMYw1KJyrerH/BrZa95+9VvhaTPzWPAWV2+RC/I3X5yByNFIExFAXrN0TGo13HapjGrqdKtvHk7vvCfkWoUYiSm/fR9znmSxwYFrFbsSfoQZMko8dRA3RwFJk8urod5AMJc22WpYnJsUnM6QvmIE4vUNITcgCm9LyYDOoHpR6NF4VXkmtRWFC2OWLRItW2AuWBMNeEtlYmMqk3WPzyApfYzE3SQnuSI9tyyGkRrwLEjz50LljnpUBTab7VmFbjP48ltPpOOxB2IUKP410jLdu1fIu5mxJaia++4cEVjjWExwjUHCqVRRhBcGAxDlvXX9UGoG3P0AvlSNqtyfpP4vjArq5xjwYpAG/lKfZp8F93MdbVWOWBosp2sLMdRBDvE+VAleb7tVHVN4XEAaYhD/ziIIYpJJjbXV57RQWxyyQ1f5SupyWciAvAWmyOzcqoEu/iBFTD3Jpk4HTi4MQwYIjJYZZ40eSwkfdB9O8Sm81p13vLwi4PwvNBj4rs4Lwdgssx0NEY6XdrS6jlVHuRYI06XluyHX50aeRHM9I260KMDkJwNm+ZoGVG7b2tsSRNWC4l/b8mR3r9AyabIAYPXxeD77icVlqnhGRAvp/5+95x7/Pbg1vvcaSqnoZl5S0yJGmvKSu/OPornS9kMq/Je+p/VZSTZwHVqpox71HS0okftNRIz9si0MFiugkNbtWFClSPIRE3EGsM71PEZftq/ngIb/IoogJ339wlP+gx9VzKJTvlMGmFsLoFcxxXkjsGQV96obVC4CNv8fZHO++gtbNizDylC2As+703Nf3RYO3C108Zd1ZnyOiPtGfwWOcuRscaCA1W/C1soXdSH+nk2sq3OI+TpqZDVICHRuzq5v0x9JWfR6qGYAUhbV7fo/sWcsHKBRFSdeyUik6aORt+sH9TwOkAvIrAA79kHiv/INVf4dMUXv9wDHZn57D4uG9zwArcnYw978vyICV8wDdQs+Bl+ucqYSAtzBhdhduvXHT2CBwkxB56VNTRpRekhYUUOeKLayuNhkU01CJxQmxteNkAqwl3SssfjBz5sStDBd4FXRHevZIEs+xGa5VB/v+zmJ+GnSLee6ewAAO/bKIFCCpIpg2yVL3dFhYr4wxvUATSUtoDbKSPoHWaz58PPPAAi2zoOi+Uum0Z/CKelDBaLmQDx9/00GcoXZ354AbraQ71Zc8GFq4YSixdC3K2VpP/XXdtUbnqj3/iI/r1m6cvKrp8vF3PbFewDdxlBAeF9Bz/xp55cQ4Bi/E7X6zu/0V8kVR/boVkrNvWE9oDxWisAHf4FKq3Dxdl5oS5f96WNRGxtWYpOd4QHVlpIrClj03zcE18e9T7BdCojci7QFx2iLtJu6Qe7fpOeUL4q7hzMW47vOYMxtYlj2/l+ww/pykRJZaOBpVEvjZpZ+MfO41uLz3WcQsDj8rpYKxL0LIfgD90djUl6HbH2MRje8HyBlO1iPg8q6jjZ2TCu1yGQLC7X5pR/3bwr9LGAwJYZUhFzU77z8H8PdyNFTEpcFXbLZjRY3ZmypJcvgVOrVPEMhkkqpz6eroTUny9gkqgYkbMwdpd1uEMU1hv67arf25vmkKsVT5B58vkGfB87zJcvvG90bwbaDetsGiEG+DYW3qW5XrjaEQCfqqhwIVgLEpaZfDO2MPWaAAWfPgZrpTQy+T33XlRuI4X1hOtALFRnsYCeEFXHSz0VvuymTXMDQ2F6riU3rlBM6sRBdLprVog+skTOWvdmE/AHHARzrGqIccknRuLZRCAPrntxx7NgX2NKmR5BAVXJzaojorjP0DiNUGGqobt34bpo+Eo+/9rzLqV+HFOL1mAx/qRDgzsMYsTL7i9uORthtnQz40j1jSeQWi8jCTsZbIKe05/t/LZlU/PEhK3W/HWDWLpIGCRUYclvC2ekzCeEWgtvXwcvy/mutfzD5k3y1x7dd0H7SQyv1Kz6iLJ655vFm2mU1L302Yh17DAVQI3llA12SEbi408dvYdjMTJv4q7dbEMUDdMscPM1iFTTQBVwjRtoFDh+kNi4tFVtCgRqwt4izuvKvII1oEGkQLpOxRPIgohD82SaHE8UWx1bwxFTRJcYBx9ksyXQRMXFZLQRVU8jfrtJRbDJRYyTj4/KOAXLQzd+V/C9KjCGh7FBfblCdJVb5e2iFSSPs2fb/v6PyrAGNp+ezyFZDoByg+aS3G5Ap+Pmk/rjW/X2J5nZtuLNN3rE2X69O2+Hczch7pzcIcqKSHGU0kPnPsBIJ9rEbxCcT1RiS8Jigkq2OLkSo0AUHxtfxIct0Wk2vprFJph6SWbxvYeLF/F+ypweAqP+MHFDHLpAridwmdJVRxs1E0M7X++WhMgWf5MQSd3wPuzsqsw2IdQuOM76LESLsxn+5KVMabMVpvXr7cnzz3MwBfjjNtdiFpbiBXU8QhfJ4t2Kn2jQ/WAqhsP32P1soW1Qt63qOas27mDbfvsO0YFIr22EZpajnoyYOZE1ZtwC6+HLoeqkI+SQZd/Ts1ufmFvsomQQKDnLuUA3X7f1mu+RNgshfUGksK16kyUgF4bp4Px2Adu5mv01WMTYC2zTdUStAOO7EyKtZSxYjljXjwd0gaKZuabMaKM7gVYEqZgaIh5SD3mtmBzXrCQSDMvDTDoH61et6bYbiwUmqMZQ9WdoizHHE09+sKOPP/60hoXwyqVVD3Khjqs4TD3pMQpygbxD6v7YjTfh7NKtj3A84qbTVtNwynIlnJph7+Z4NbHakbnjO1mS5+odsPDCCwwuAJPrl01dG9NVUngbFWO0Ga5E6Cw+uhmv2d8E7sq4xBfZEPaKiT3ZNBJ1q2S3RFIPn9sPgk5/DbFcboQrzIz+0YjhV48a92yCQuaZ+IbyGnnczGR4E4JHEdznkIzLST2iCMfzWSWvijO4iugI+p9zWZMpDlrQgSx6lpmchjpKYH2Sj9p3pq2m/5NBJVpMit/m/gldUxwhfIERycpWxFSJOKZDoh7915CZKGJf5eeLo8YNd6J3GFNu2GBquFxolcdyJ9ItHCUoX1ZDMPEqFwVhv6m/glx6n6bBi8vLVMvJjVSfADmbO1YyxnZJbR8TcNTe8X1mt+RtiisOpvhd26lyzINabD9I6qFbhDu+5jUKnVN3oA950PfY2LJ/T7ZbTo+PqcFAni2+O14KjvsTK4bBjLb/G3rVAwz+oA2FmcuvBi654FJZhqBSv9cWc6uc43pdqYhs/JxIcqyavp2bY2R46YUvMuJqltiM4+uwjtmZhlBdK4/SLY6frCPa7ysO+ZmTWCXAm81nFBcFjgS4XwvPF99PiWWe9PwzYXCOvrrkM6WlSik7SJJAZmcfVidAYfVWZOlFpLIANdJQepIkqKkXJ7ip458dDB0EWdnf5k/RVLT1p3p0Ojlf0UeO1q9rF/iKSiXfOsDSoW6dPrOq+Tx5d42s6oGuideKYSU2oM9/HqshGmzM4GXpUqMUwtamrnFdsrejEVvSr0J1DEZ+uMLaiW6AxGDnuRh9AAI3tUBJJm07ed1fLoV/ORATxzJtyVHGvqV03pboxDfl1KU0MHiyh3c9i+2SIoApDXDqhgGOBHSLuDnF/NxE0w7HMsfqYfoHACvUrMM0l+wHSmzwILYWUT4vESytgyhZmatUkXNIvKwY03xsDEYMq/DPfYOh+7XPrw++Oc5XyQPleskEaQp0Konfiuw25gVgfobXY4r6RPlMSUS8Qm9JbKweRFK+7gKiLD+friyssCMNE0+S9FgYDewg7zTk5jRsKMwwpQvqapiCruJpMZl3Vdic456Ye6VD8xW+K5GHMVzuBHBFv2YYQU0bB8k1jK8Nu+iBWaZR78VKaMno9OC2uVRBnkHhlB9M+HyqH7SgxuzmNik+bU9smhbokYd7q+zmgynRNqteFsmY2+eW+TZ2YZ4faoOIW//DdA/jdOcjW94p2NW9wsjncoYY/U36p8DVa0uCJO8/wfYppKVJ+cStflrvubkUjLfMKZGkD55uw758UmEwRKuz+t30vt3siMs5C+tJsk8qvcxWTkDipy/KeWH36UKBvB/bptgzdP6Va/j4CnYyO6OZ6zu4e/fS3ns1UyyXWYHsvTzkiLESWymA56CI/SqFqomPSFbX7Vll/4gb3PKs889ovJaQV2KswU4TpMbJD+YQPIkehoTIHlv/LYYhCN0C9LtKIuTLrIoEu16b4Tvr/Rf0CokYGgDlY9WEAqF8g5k7iP7ZsM+7yVfVEfyM2CMpCNdEyD7n4jCbIY9Nle7ss0kub41O/s1OdTDYggOPiZoueLVCYP2OYtIW4/XyOg/U/3FawtKqEDRWoJP/Oxk2pfMHwHSyP/B8SPUqe+Qz8jO666tRMPijjJOeWTSR8UZuxJxBLbSnwjZANN0b5a3z2wGBe5BLghlDKorPbPYpKvfe0DGF75AyP8DGj36w7xunlhSmmkVx6LFBxsx4tQw354+Nl5N5lUI5dNXy34YwP6/89ZSUvipilkpRm3zPFD6BOtyvpQLMB87QARzUsdR2dzCnFV/usQu9aGKYLL8FexhhHsaGmPyvnqCmR5VNsnhxGBtOJiwWTXvQyAWXJKGb7Omy/uNwQyYlDY9QcV935hbwTT3Rn2+M62sTE+OJjkpBHEEOHMuOiN44BfS4qWcOehUGHvvFXeJBxgdbSP3vA8Y8f9UJqi4iTjK2l2tYSnC3ykXGISB7/LhQZcHo0PyhZ/eGpwDbDuF5/uvscEaiy7EwL9SEbk0DMYwb6B6W4M8SBuNbWucCxnTi/P/Dgq47V1hZKpTFNZokbLOBXsKNj5hhuWGeHz1vLWaH8jUcN0TUE8rLv0KMnbEBIW+GFXAnYnbXUB7mcglw40fxD3CIuLYiuqPl0+or2Z5OZsiA22oSdBpKhKmwQ06g1+Jal5eevbxBKFIGt3taCJGeILmX1i9eeZBbUizHOuKx6K2KyLUnXwhyJfZuVJnfMJMatR+vU7JRhLu9Dqlt2iw1Ci39zDPn9qkKgg2Va65CIKOLgCI50Vbcl49ynpWbWg3EPCKHKdqCFr51TQ78vL3ycsjD/AwLBgahitWhs5ZPxSB50fWX0P7PdfP1hT3WPPcMdnFoHOi+ffROhkiScRu79U5mNdotZixP9HuruxQEmbhSt0RikbsMNyYfo1BpQ1nVhq0gHo42ErAhzik+jObKZQMMdd24Q62E5cxlqJ/vuWMVpbSw4evHlAF7B1fKABqAwcmJzi4oUzIxmy08kLQJMNX6Hu8CpwJ48vwyF0lzRsZT7TRVJwiS8sbON3yNIe3cFmqi84oPLnxGdeHfk8yEVTwmJsfTgQsHAVf70vg/MO0RSR0jHSo0y4mBldGvm/51wQxaU5GQGhN9i1rEuDwKoA+5pQLOQVU3i0gG7ASL8LPY695ZKZWD2KOsefEaEEcOmBRWNrSLFykq7b3iplOuyB8k5q9GvYxNCiLx8geVzdEuRNrndAVgcqjMkgti5nJ6xMWm+9z2Ug+R2WtQvgb9kbrOWoNnX3aE0hYm9p2h7c/sl4SAbrhSMfCNvitoU9u03vvGKuJVT4eIcqP88Z551WR2OKlZ4iTne6n9z3kueGK5xg4duajI7HvnrOGyIs2Ry1RjZ5KnQKbIsxYnXxzdzFn9t5VLVevE5cqhgz0mHvAeFrj0ZBj38BdSRJz68cM8X/UA4VmiLNawx86QUzQZY6Pv9QAnWAznTMN16EAbPBToJLM1GCyilp7oD0dTf6ywUripLC2c9nWQR4I3vIisBQ9Q229qQAPLvJMMcTkVt6XxnqKevOq2eKspi/a9YZbwHrQoEi1WBp+7Nr0ogPJP8RW6l97Fq2tZ3ojYe8DDHDx161zGYTUwHbOiHR78EA7/VDBgCFhWXzJwQUqDlWDgVfsn+ok+J16Wb0KU93r/9zT3ylTUlnF4XAh5eaNMJdcMxHU6eX5xefa0OBuXfHeU3RcgTZvGI5w1Y7P8Vc/mcNEfwjFI0P/VUkUtiEh2LzxmnXm9YgckhlszdcB0x2OSt+IguQ0+dywPezsUn1lj7sACsviZWUMfJHL5dQ2P0Z/aC6sguA5JqSJxT9yqFshpkkTyTLsBUe4ta73pGQxa142I9baMPLVx0t8NaIaK5yAmC4e+qRBrkXgBNMX+sws8T3NCGaZW+JiemcE5YchY96SP6nsiV0/nWqqAK5ZJHrRss0EPpZMj6IvqJD4KRHLzuaBn0ldNsCiC+FBVta7Rz2iMsoP+vRlTs2ni9eexE6sZR9rpgXObkEPcRn3ud30HknbSnNykN5bLmIfht74+2eU5WNxI74iJr2J8FrvRz3IHVFD4r0nIjGyJ01RUbIlDHuqbp4uz/YfxNpFqtQ/a7ZrARa25KdPYOP4gKrIORucEb3mN7qhUnUWg7XdGuTpZTLJg9HWOTXT9qw0637uA1vjV1ufmwURk+lrgQIMY85DP0h9U1RAA0+5S5AnV3GTtOGbJWchK+UCs5HExsvmSG4F3JYyOZZJx1pjNHwaSZY38cSsgb0/XkZTabcVWNWyOb90iNCVnYpLDgkwA3FD2NqkUE5Ets3Krf8R/1DVeJYKsFII2hDN6Wf2Wb6kezN5xPWe5JND75kpbV/NBf568exySRamKajuZi9p1txFRvvQiXryPmS0QJLUmuGrStgp7CD38HSnMvmE9R7RZiX6OzFYaXMRm03fyddTm8xhYLczLEHtXl72bE1cmvU8r26upnvsP0pJN1mcaPsiWfhbNK+l3kvV1NYx1+dXj2HidrOLVtvhD39A1Ghy+X2VX4oATYD1I0w4vnBxCCvtPXkaCD1lHv4VR5xKjMSZp736c5Hvkae2JQtmOobD24VPjfSQLoO0Lc/CsZIvAseKRLA7fM/2XJ+481nOvYV4mAJ7xnAGTdis80+ysQZPSInOd5LYGxdlLZvfY21WduSO/WdBX6I12FeTMqFrvSG9G8xtucSzWtAkw+IsXhEg4i2Z9d2IZ1Zk0Vo8hIpTmt1KD5ORl0WcFpATDuu7mHRrWIsqXT8IWbho0vllNspYMw16dIxL1aW4gcdQLNORdbu8SMmRRSsSD2ntn6onfKFQrjGjissc8Iv9hjR/TSAg8CJXJER+URshdD9jaQR53RLliCzWKGQaFrhWsGO28tQXEI9Jwm6DYeYrweD3QqTyIy5d/tPVCWnKcdjk+gnaKGApIinyhMEa9MaCJk6RcuXF2MZM+aQ7T3sShmLKnYdGvS633t/zpo9pQmQkSS6pTjlhGFY0NaVdRARh9a6tEyRci1DcYnZFJSyjdQrOXwttP6btMfBOVV9mTWJx72hTwAA7zIYenAtO9wBhiKD57zgy0HHLnoTfA5c/HNiWzr5pcSTYW0s6UhdvPdzKaiJnV/JTkUjqkTGtHVBzw6KFv3DK7YxBw29AWdvhPNQT8P63tEHM/VW5OwIuMfGClYkqAZZNuIhzUbQUnr4bfhTiBPJ314kbiizVHkZa0ntK8YNa4L+rWTOEnp452JHhRKCvvi0XvHVb9MiPS5pjChDY/qRjckbtIBEigwMDdOoEm7YpYmJ146rvK+PMUGAmNdpxhDZxDkI6e421K8Pu8+VyBphbjVHs8PAaYEf2CE3WrOJN89lmdc/rk4WwE+gD8s7SQzCy7sIJh6Jl8YioK8Jjo8uUl/N3tvvC4gpwRZYU3TsQgN7kgnwW8Lqfq66M5yaIBGchFPJtQSAgOJzZv/HPmqprx0maW7EncrfnE/0pIBiDDwYxu54v+yIJHlYvh2IEQ4Uz95n68zNpMBJFu3lms99Fa3i76pTDmkeUdoh8573QANBdYPjsJE6g0L6DLiNapJo93Mf0ajmswW1/ETb8c/yBcP3F5/wnnuU31N9MtWf0ffJv7FYOAMz1A1W8cWL68yYqMxfRf/bWfqCyUzRd0X+wHHIujl3z8QrzIFHfg3+AtdgzlFC8d4HCj4VRVAN05rMCB7yGLbDhxk44anOtMBKxP7Zg8DZK5wiJZF2aoHRZuqx8M3YGC8Gyexjo7e3PhonQBE/Z+BEL7JP8Tvfhj413KkljsoK5pprrPDtsGqNQF/9TXqvzYwXVeilNiq68gt8uP5Hyatk6ikonm1IIk8SwgXuc31l5N6DwhgL2+AEavqF2kGb5Z1BShY/PcluZph9kSh/cSEUbWi2xt1ako16tJ2NNNMBGwxfNNQIQkRHGgGul576jZsz1T5qm7HPC2mqg/lX1l6lOOICYskTyK3q6JVYU7T7ARDWsog6H/Bp/8EEuANhCTYoJFf1wMie4Zp5KFQqrbt4BJ1h9qhi1A5bwSYalf1e+wqd1/WLWEdsId0ice5mnslOsQiKg0t8Z5XwiAzgpVuKzlpy1KSSxNlOsSLqDRPWQatjVUHRitxWSzgnbzfV0+Sglm+58sqF8rc6UhG48b6yM9mM/bO8u0SUVE5M19UvHwS1wn2gYdQydFvv/NoAExx95tdw+NkrHdDlmFpuBp1Twphfi8IP0fcQQqzeabJh5mDClit0XnO8Hs1AEtb3k2lxyr+dypqVBUx6vFVSAr8tdZU7ad+//8EciI0RlxpHtoVchNRefnzpRt2sPZeebGzrv7wy+vf9gmsIUXIoJb7ZhbHMxJ9juI3yskncgZUI9EGzF2h27SixOoaVnqB3qL4qml6+jktmn6qxN3IJQWJgmeK+8UAjqoOuBtmgAdtuQVvsvzvV8YbPjx6sd3oyrxaIZbqXud3bkLZFSOjHNLWyjtU7ra/hV/t06YXirI7I2WNsxEtgsBIgC5c62p9YzS8wbjcQmzFK0rq2BE+AuneiwPmAAWcLsBOhybQqq7Mw1F6ewOnv0qevi/9Tei2C2K5r6dWBdEIlb9w0BRG0JfGbePmenINAwpQrA4tSufZJpuQkDuTg09n/pjglceuhP7EcUEO5VXRWNRgoyyQxSVozGq+OmefbVSkteXk3ilT8ne8IEZkCbXhT8ZeP3BrTs0VLcLx0YpakqtGS4a12vwrUH1ISity0+P/eZ/hESsJfuAn/6vBPKAbi02VDSD4oInalLttJSOo6rMLU0vJA/uCtL7zqMPA1T3GRggLgSc5cApZDlga0Y3GJzlaDAkn5RmIVyuEVWZCJIIOfiYxAYWOlKhRo96LUrU4HI9n/4vY3i1jJ0/l/Y+mwc/vm3M4VpEBNFtHKGEMh+nWyUQrP7uKYM0DDEjZHLJ6yZ59kZNzosfbPwMExwSOArspDXdTa9YK/6b3aimK9PrkgwilQhnc/e1twJYvyu9U9gYjUnN5ww3dSd69gzTB94120GPH7PT3mPhdKZzFBKuDyDULFKC7Bd5DDCtL7/FCN+Bjuh3pnEnyIeuABXgSLEhj74AX1MoIuvXbegQArp/VDaOiafS9yoy7X8tdTLCBV87loN+KErJ/TjFG5HCCB1fw6kL9H+Tkwt6YnzsZeJNmxn72Leiyfvjc/i9oNbNLKmbJkauIZxvM5MXTQ3de8Uof2SVh3EJiDmWq3n62X7myaOPZmJfZcd4uvYZ9WhWs4qUdtuJlM5XmVNbNzGn9aQujQ2abMlejGu3FKuS+kTEeOBc0gXsjRzN6VYFrUMEtZuTpiJRVxPgVMjoeP5cP+H/MPKDmi8wdLC0OhOR5RTelcfWyqP150TYzrp+clmbB+9gUF30F26UcZu5EBayZP4cOOAalSvm2eoRrxLhAXeX4mGdoyRpT34W2r8h4us1sJG2FTkoQZtsfIzv3ZNDbwBBbZCT8tifCoUEywA79nYq4FC9j7Mt6Zz6CwHhtWkGf39cGAzZl9w90NgV18TQhi2u1aspwBK5glajvRrRPCaNnbPUM/Xm8toW3K1ziQyEZJN5pb2doRUyHhNpgb9nmw+ZXhkko2lU5DqZmUPW853ecdaplUNfsAhwHFWAx8khRIoWJjy6K8vJ6avtrx3p41nm5qDhA5CN350BXvpmETRue8FaXJ96cAdHDBOqI4yjmjErAwJlnxZederS+WY6+kr1NiMKBCmj59ODgxXHoZO9z8S9K2LRFBw7vG3TsbePLw63oi1koyG1nEalFv9lHpuTtj68vjwYKDh81zaXbdbVDalNUkF3aeHrl91HwRZhcKdTQFd3c9w4vMD3QaVKAMyDRS6CD0U2oaKPgD2fcSy5GeUEs3ZNqb3vcMkjnIcz/Sekscy49jxZnUbMH4X4/MYnMfKp/EX/vVXveY41HWdNuLZZfXnrhhXyGNYRt00OkY/SOeKvp+fR/Evd217n3siRWMArtWiiku65v8SBBaHjbHu1Z2KnMrvB37n8g2LPkSJdwbv8XgWw07ZCsbbGNTqx9Qqws/+JUmGXuCcVJ/FwrAYEuxc30KpRj29FlLStdIFrZpkwkQ2e8KbMTGhwiJf6DXscN2IeF/MJBO5bztk7oXHVIoAcbspxhsHTKhGXvx4PPXbp2w4p1pxTcOrUpxSAg4N7e25NcjsZvnR7LyN6cXcL+PPkbQa6e98A0zYGmQH63qoMTulfnhka4eMMIyNwhDrjPTwcJQiCAEt6HS8NmG2xVQoXFvIEKtwrvNuxFTeifA07JXsFuaMzaB2Qbp11a35AoP2bl9hPIG+unXGrKurVJ1yL5noviiT2hyiRonH54gKZmou3d5Uu7kXtD+jKkUkrC6ntBZMQ64VZTfy7WHJbSzIv1ZCZT16KAgDSDiEstPiMvlqk5WR8oD6MzIomENnAq/Q/vQp3CL6HSmrvlKCQZsIEt5tAUKdeS57/MNxN5k4PdVvp5+WBanp/X5vW1lJ7YgGea8JmM0S4gnBD5y3TABbGqAcy3O1aMgCdENHz9z0PhNwo0wia70f2c0W4sRYnUkTVk9au0+aNNn16IP+RLwFVaxQngxUnCdZN1xmjHqdeuGJIptwnVd8kXd9UpV7zucP+DQvEJ4sdH9DMMUbZj7LBfl3Hx28bSW5PACSjycm/RlAh792nngx/NNtWnZ8+qwcL7oW1qGbc2Lpm+xew4P4dgP9wpEwzv00CXhUX6nxYISO/8o3mMWUWsV6+nSnw+yEiGLOp5nFuhn1OG26F9GL7akvercF1B/aQSZZ2CUfxarSe+07CYdYQWkFnjGGhJmEfmwEdWr3lq5w5UiQU3C5H9RBQmFFDZ1NV+37evZ2UQWTmANpVmzzHecOByHgsQz87UoYBmUEAV0QtMlVAzMHEojnvjziYoviSAoSnoipNfpPIoCSLq1weB+sUlN2vq7jw8aYJ+SnTsXpJNT732fmkwstsFQjDqz7GjIjdgx9iou15qJBQ00Gonx3y57osp7VoN4wyyJaP49e8PLaUUCmKh8apBDDgRAR3PntU7+hsHuwTwSRoByzAXFtEhc5pSGcLu2WiAB8kc71yaIXZKKR3ycrT/bSVacMMVgbkWTcmNjLTNAaRxrQ/wojts8T1ioJtIHHEyLw4u0WuM1pczdRO0k5cLlr8D//C5Kxvt36YyZMidErAsSog20O4wYCJKU1VHvT+eGOu2henOFxajP4gpEtuuufTEMQ5QzzMfB7+bQqAa0cLdiRY/Co2XM77Ptzkp77/Kfhv45gDNS6VSYLJBeGLtdm7owxwAsi4g+brdZwN3PQDBMTvnuFH+rAmMmrzfCG0Oc8vCOSpbCEmr+gxc+9wFPnsLEbidWZj65d3ZYPCa8IPn1+jMOq1EchSyyPLNVRxOncywWKV7wnMnj5CWYEfVU8R1O6dCBNJ2b3sCZh+IInY5Dn/zpD4wP40e5Ta7QbvOiv2eY195UykHYx6rAgQ5fe391Vq6PC4tDuLt5XmvcGYiizIsKxVcbWZA+pFzrpDwVaJnQJFpaoaLo7rOCGK78Xb62HyPMHZXvKJNQRUNOpgqkQ80y0CJkppZ1T2v45doda2bC7UUV2jcqgWnwa66CL26CTRGGoxNGqHsN1Blspn/2DprbS1U6mHrG0jDd37urDmKLK7B4o1YXsH+DkrgbxEgPJAIe4zH59hjmemMBW9xKfjoxirUA+rtIhF6XfGd08HzruXS7Jmz+NSk0QHcwRmR7kRfV5UPZardny9HETtHFBhYzm9XJZ/Jb81pqiXWZAwuHSMDj8Rz9GeOjVSUCV1d25ENz8vDx4HD4my5biMw+5HnBrVslrTwRWteI0lzQibxEgVVCvzpqzq3oz1Skabjx25cjkSa3kFdYv4rkOuffElA2X/AO3X/Ja0uaghsqtjIah5/YlO9EFz4YGJlqGg+dF11VPo1eJREoxPsEdQKPSF9tqNlqTJCoLDi5DE8IT9Pe3bhiyWfzU621oxXuvB//wJxtg5PXIgImwgeeUhuvKK2InalY7WxMj0nVyPe857fHOOyhjuDdPiaHKzTGb5tQUEIgKzRbpcfyai4CnDdQHvSyw0SaOis2+6X8q5TVBFkNB5lBVVCFfVwb/WHEYvkzTD3ozLfy+Tvy/Wgw7FScniZXoSRPs3uWKSEsq+R1zq5J8i0Bofd3NHC8kxc4TUD0I+EqGEDkJmMMbTJu2zvT73PiYv9ol8Ke1+2BGKFN/DH3eEwzXQMufFoeIWfvAypJ4kAp5JOCZycfDVCN0/T+IOY1dZfSMjMVue0a4FWMBuDga8SsZgT3LChCWZb/r2mH8QPl9wZ9fWG14uNCJJPyw206+pIydj90rH70qxHCpyXl6DhHKAr0+AmhxoWAgGna634i3ImdAg/A1Q3MVAg5VxBSnSO9FmG6x4R5eud5CN9quFI9cxlwYEVQHuwRMbfRauSiU7Xu01FrSsMaCe2idCysk4rJXiAhyFs7W2kW4scYqcd8JuFSVP+QSRcE4fhn17Sgj64gtioqP5xtAEumA8efEcuhzK5qHerbUcTrTn6Ey6V9iiPRkXdQSZ6M1l4XkWwwveEJWgj48erLfLM7Eoo16tCuvAXd+8PnDeOkCNM5/9I8yIDPfNoeF4TGuuzNiM6MUSptLjS2GvNedJ98PzXZguLtIJI2ef1lC4mu8C48me+3Gs2qkL71M92HQGkkV36Bc79hUb9+/AMxTuCawWsFwZnmJuOaE7pth3GCeARgkjc9C8IKzXbveBPkflX0YF7nY9QxNY1OzJMRCaiklKXgOl+eVBUJBDqMkCZEGdsCmz2LseKH6I1EBJ2gtPB0YBukYVubTU43vVJQS30y1RsX0cJ/5VpakonOaGQ0HzExcWay98FBBR+ANdEeWAlcshhqvMD9+B4Nr3GmT0HHLsUSamNvN/DbtJtoPT/73L8dGMPlDatM2ylIgoAw8Uv64sSYSxv8x4J+VVp9E96KckVvv9ulOQcaTnRI6JR7xsycpbsvzHpx0IO2DRV4aRfJca3UFYjXjcOoAaD3G5fFbRBRHBtqP+fa57fk2VOaZABFx+TiAxvI/FoM92G+ESqOVd9nnAcwbv38n3uctrO7JGKA/g3xPu1o7uS9Np62lDj+w3rEugUrRO16vyd2uylLeI2oDAQe9id3s7aYwaWWKj7EsavIyMiu9GniMJqUycdF8vTZLejmlzHlIaQjkm88pBvQKH5GG1P8/rdclOD3U10NtZhTC7TiaFBj72+0uHneNXAZZnz+qrLLBvVWjuH3j6lSkB9J5slzrxqEIZ80QJokKH8DN0BTjF9fcTK8Skocx0SnxSZQxpiXnU0fPw8B9v0QyCM9BDjD/ZtdQPdbvkP+Vi4LN1jcg5yhVzdJ57ZXB9UQDlJBfWsxzu2y2+WcY8f5ure8D98N2YhAt3RxeTJ9Zc/jXSrNRfgB+dEksM+9dK5WChWGaenL7NHPp0OD5IjEKlM6elsMvMZjxZ6hgBgNVaJOC085wrCg4y0fhdzE8XFd0dgl3O4ehx7iW8uAkxD8dbXwwyGnBeFKmq0XEuHAgc+juNPS+jSnhAQwSThQy6kT+xUXIEKeWmgHeqkeHG2LYOS7wvZEttBV6DUiaKSLl0DOd77jixdwOK12kJWfFIhNvqA47h8b7W+Ufo9wr+yJjOLwgowbFFE7z9qrFOrTFOrM9+R0kw2z0nPLHlHmEmfliPqFL3XW2pfxOCgysOpwlVas7AQwjFxm1oxRnbqIcYqFFKbmoQaCIMbMLMXWGYN2L87OdkigBi6eAN0YesrIW3Eg5maIlKW2mgn5Bss6sNmvpXgTuV8bD0XDFthwBXvPy1Ay2BksKAFE0oGIeFvb5RHingJXjvfbSRa/f4CUsqiP9QairTX2X692wQmJJDMY5o5Z4LBt65c5/CXCx9lHQmolYNnp9MUBuBvk4aGQayZQzn/SMJvqT+D/GnwOin8v0RYiEUFlDJeMFFDjf2rSAD9BApxEVZhZa6uJQS55XXhF5iDD3QPXIM/rthc7YD8CR1lRu+1eCke5NfPyHo/AE0U7yLUWQam04XvHt5sruHUOOCZQpg4Ef2LsTAAc02qj5DeM8iVyjnPh07+8nhJaBH7+3mrT0oH9zkCIIkiKECMVGVxbU4/D6cwZrSXTL6OBCAldYDMVEHDRdcyZ/yNgqy15SQ9v8UDw+5hgbvY+ig2fh5xtmZg9Nub0I5uJo2SYg+XfZj4ODoTLcBVgaPLuF/0Q9c5gPrCOliAlm9TnXFt9C0dZvc7JVfoGb7MFORKJ2ih7uPYUEQ3PeUb5J5X+WHYFYBxAxyMj3Uuge4WxGpbqniqOofFb3zy6aiVeNr3HSs2R58hDgzi1TQqV31i4HrfRc9gDlGa7UB5Q8+BxvgvPMdBH3Kv97IWX+agqIkYbLvAayOnN8RSzhUcgM1hPOOXXHdUsblFSR91XINr3bq+CvrUHNXLiDqHoLvXq/3OrwyuyNy/gA96E0zPjGZcpsWrPD8oMZDuVbOj/riOXgpzFBrSCmynDOvjBnDN1cRpybxNeLB/IKWXhW4GTAwaMGMXBwZrm5d9GI2csqYdvrvvcYeGst2qDTC1ZHBW9Zw3IfzRmTHwmP5c+K222A96/AEFflPzq5szZBY3YzrSVRqEpb239CzjI/wFnmefzvYHrxlJXelrlrkdd1nmXhxYWU3y4nIAcw9u9whPwC8nWocRPjOR453sCs7W9qALFLSvRNCvNASe0PaYxc/bvtzbXQorkSRK5BtAC/26BPCnc4NHcOYRs1+EjskTsccHsr55H9gqmu4puGjazAocCOORPT2YTO6ROV92+C4VFFvZwJD3URRmFqvebOwh/6mQKszre7udHa31QMaU6KjncI+wtAAIXdnDcS8B0NGHyjNHmsJD+4tkIct5eGvfbzGHoEx+N7m3pLmYoqKEUnWZ6sAmyr8orKYQwVMDhm715VqGUiQX1igv0bhFmYVCiEypLjc/MCzBROyC+FvyfKlEboGNrh/dCABW7b8mW1Scd2Ux7uvU3CTbUEATAnDfSxvpnGFsm3wawnv6ODyz49gqj+iNLkQBKIMhElySwLnWkYLZsXcCnuPRJ7pB5J0hfKDci3XjrTTbWtDp8f0nV5U/YhhJuGedNQ+NUvf2Gi5gvHYMaw0P4vKB3ZedwyE0bQaLAadIqiguPtcWWIjvCNtCX2C6ULZxqGVT8ov7mnMIC3q24ZEzFoIhqcaeHON511fY/i9pMvPcGix7vbeZAdDVGfbqotzI42U3eURBi37VlL38/GL/lLMh2j/hJUr72j16Sycd5tX+9NaamApaZH/i5psrO6ai6+oj2+oI5BGZQhvCK0ADGI15T0E7x86KycmkpPAVTLO0s6xLET12O+LXNvveWIgzAjtSFkQYfmPyqsFwvw9AMw2SZVOnPe1siHhP6xyhbrPSwy9diX9Ulx6TWlyTi8vlae8bIAoXybYIC30KMULZGADJEaBwQCB0UrlxaxHn/3+mg+wIDWIJdhdebVhB9aomBMS3FKpZrHl5GT5IrCbm1YuCHkXxs4rfG6qgXcL3uCz+i5na3AmBqqypdpyCO+O02LlFVF/+uRkL0B8NBqgVI/TvCRhTf7O7rDKkBO/vHw30dtkONY+voiIBPPfvdmpX2aZ9zxMHUDHJ8a3wvlkANV5yYmpLfHf/p4GzrpQSrh7PM7jm3nO2L/UgtSY5tm9AcUNGz6nqJe07i9ms2FsXKnAdydDm7256kKkM/aCx4HNvy/w2/WP4bMhJv+FU8FCQydJkSwmtYoMZmVjwDhu6f3yzKvRT9dXlm9C1R2+ZJp1LGzIf1W7oX/EM+nDZ92vFW2yIbYvhH/WDyUpSf3dzQtNZFXPZXhrYrkbbdRGL6pFLDNJfEfJ60eMFRdy2vAtMP6kOgMh1zUVWUaMm/PDsMSWQHR/QNHGuB96E0JvhnC11PNmLSTapN3JqEqp7zlwEWJh+H5EtOcr20ece0sNyBeNuXzHrkuyhS1x0fC3Aqua2ecVjN+TtOYuupAHBl44rPkGZXi48rrFt8XlkKHYUfpr49bLXTfYpz4CQwds0SlTAf3NdmevtWaYFzgd1iBGGY/Axkog61fPZ10WtvMkNaXHjPClFygLa6475hQp3h8iiukygOsEcCS0XXt1jvsQGUCddtGeJtQoR0eA0nsK+hCA+K8fSzCafUa6nuTtzhPcb81zDVtnf8jpC2OAZUwZWeMPPcNFhs0kbiyTGdJzjW7E0EBdxinztRKZ4avU1zHpZfLbHB4PeGLUvy9jnu3cjKljhZxaGPfxwxtOCBq99LcySDPk9Lfqf2PrSthTTAQbbgCAiJ337kb/wVkpDZotBdVkSxIU1EZF7ZXoHHX7GBuhpzMht9djgYVlHqk9t/vALmnSbWbTXpWVU2UDDl2nGHeIkUqQiWZnJY6m+5nBH5q04Bb9OfjemQpIw5yFK6CUNNpV7BZHkK7O5Hb+oplgRsB/KQVCygJWfDcWkTgJ/rGrqeB8KFvEf3UGwS6yFxK+xFMTEKZ7kN6TVWT76OGLB//V106zXH3E4PjfjNJhIQR5Fju2OJj182e3OlJCR68KsnPFIg5vbNxDIyh3+Dtk0+h5Wtsc4lqQfiBr+QnTX0LTQt+FJcTsk8dA+y1a7SohMn7wG8uivUjtB+XLdEIvPXHGlCGAlaqakjz4zg5im6cpz1Adr0gdLLqLqNxrDkEDOGm0l3PkNLgqWiGlAA2pxattZEGApWzOUn6BD1Zk2un0hGXce2SILQPshUG2jPUOdn2C+ZDNivpIuTbnGWeVharPtAoJY7VVD0+JWgnz+w1Ao7oxI9Z9wmyQ4BNjPr0Do5AZeaRif+E8UkCrg8hdpMR+oBEmecQ1AYvwDYRdHy2qY5KOcG3+Q1XqZNtzlcvrtzdr2KSlcIobACE11ZCWpOu4IHUF2InIjT3QapTKPsnllh/kPGsY8m6KaysG8zZRv0W/8hVhywVx57NtoLtcdhdGQfVpAiJHl9RGs+zEaf3q2J/r3p+w6DcfcugEeq0jLEcgW4+lSf2o55EJGEwWE/ds44dkn8cHEo++aNkTGEs1yCtHi6PKMn7FsZiRCnUiXwwQit2LZMMeFjw7Cd+PElVk1qB8VTSKWOkVhrI+JgOOmeEwSe6Yau4Ow1UOMBCcYuwwT3DQjq/0b+iO1tyJSYJN87hvJ1dQ047opuAcjUXRKzi0ZLpdQQgny89Wy3/LkJgzzck+lT+wFGJowi6EXEOzue7Cez3LzXVSNuKluNSWCp2wjww3jiWjmjWMNHWwS9jInBGaFgqH384aPA9DRMaNnOVNEwndWKmySfhln7dSaegnwhlDiuhJxeu9M8RwE3vdJgGOrahOtOtgzJQY2TQtSH5Zwb4xScsWeAu0W8xsttaFeuqAPXyuVfluG6mry1VViFgoxkRQXqpTsQVY69JfDqyKvq37t7ZaUJYLRzimhjh3+U+cLzXUcm4mnHoNmrIqJAwUjFP0bfDqlKQFI6rRg/2T+nnBxILb6IHW1mBJbBhSMUgAS4S2Pmn4LiuOm/GSfwDzfCt6CWLwVsLR1X/O8PvnPsBrVRQZee86HIUbmd9DsD69R8Zc2Xk5ooCs6r4p408VSwGcTSOIOnQzRTCmgZ7Vs4zhO2my0XiEyr0PUN8a/LbIECnHqbFeH9N1aatdSdV/2dL36OLFYkZP3d8iKUVFScN9PVnrL3kK+tkEPnM4YeVnxIj+do+Uxn+zs2KV5vJgpgOoR2yzrlXFFUDIRfsNCIMxrlK/dxxMBTJIVC8GDuGMCe/gzHfP8l0+Ra0lpg/EFeYtc4UoVk3pCE+EYL3ZGyafuY1H4HQlqBIXUygTAfbr8ClNFr0UpXOTjLvebX9EE3E/0WDBhub4JYbm+Z6Xhrxue4Y4bZMxoNW1EWEvhurEKvSpzlKJGxKQfzMm7BRiJL5LgAALFgQ+vG7RIpztAoRze0S+8eoi+J4wEi2qUM1rY648Z+kbcXWextrjI4bnIBGI2pcoIX3EBj5mcJolienFhYxJIQrgzCIADmH9ifsQHLl8rSLGRlA7tholNPBOJIFhK+FK3kVc97/Rn+/qJIDVmRq92a0WxLHsJTcaeMD3BeQYk/ChCHbafKFzHMYkoYJe2jodmSZ83cIYRvooU3GzepJ7QndAYUqVBp45CWDy8Wp5ed95wWuLB1HwervcRkKhtBfvTtipWnvcSKz0NW4cgw10LhOTenOirbq2g6GqgAdwNmXLCeMIT2Hdo0WsykabA1ZD/G9q9JX5GKkH2PmA1qyhoRkX2oaxJwZlNUkp7t+2sOF12AfYPNwYdF0qSaS/mi/MilRd3c8AI76byuDzmj0JUPf8Kc3pZYGysaRGQOrtHXPAkpIChsIT61FuDuGIfKGP9+TYjicwC7hGZY1svTx7Nh7A3GtgMF8IVu2Q0HCspp9a+U/QDHzZwM51T5o2rgiDXhmMgxaftuLmpouKSabopv30W0fzuWXS97rfrB+cp+5c+7H1YHosGMRCyUxSJc0SxijRi4blIdMhCMP897iTfVdxk/pnHSXfr/30J+1cKHePYRMdh0PCw55oJDCnOHWoAxyIU2cWrcPlqjKqnvRMlNvGSc2ipoTSW91/jNDuXxnQmLTnu9MUE2+b+S1jj3HiXZvwVzGG0r1bcwwhJrqVqGQWkOjpoIEpSZiDrp9eVm9TH1MK7R11aHlmeLExrIef3uNeHcULw0Kk8/o9sD4D41Lrifuu62GicTSgeGKDUTn6fVt4ruwz7S3wa11CWdetpcA75+vQ96OLDvKAEqGIliT8mq6cL1+VByVDKdac13jBjXbzPUIxCiIOlNtoYWWCGlyphsm9tO8ZgQcI52b6hBLyAQ+qwt7RoxCAYtaKD/9/T2jrfk5nXMa8msCvYkGMi0iaLPPk+5u8xzctGaN6ow+YGba+cO3oCob/z5Bho1WF84MPHqZiA9xqZRRgieGE+GAZJFtTrBevtFKzITO2ARwr3FsY8E/zyzlmUGrs3PzC+qQyf2tpP/atGWfsazt/8H88vQzdEjlg2rDKKWuGf0eYnMPeyk6+iR5zCEpjTGhP2vfHcZLr1qtGM7xnqu6Wk5NrhfO3dyUTA7FZc/tbtvaMEvsFx4ZhpTwaFkCdxnF+YddTWw4tJ96gPWhJotaMw0CWyCAMylanCJwa7qVTrzioWkvH0c9pAhhhqkdZIDxwZSVGi7m83Mk37Wh0By/22UDzrdjjIpb2DCNHCLYigSMSJKWiPP5L2XmLmaDk2YcWgHGo0hbvjMfPJhBVzpsVMTvM5ROOyi5ysf1Upzzv8JcaV0rfeKq/pxlc0dgNJ1Sl2ZKs0DlfwVp2gX1YsyS7QvpbRiDzFGX7ErdXpy1Q9tb6uuRhZf6eM0mUlIypuaWDze5VeLbhBXHDpPc7zTEedDz8FjaC6jbXoUtstiYauUG/Q80mzp3owtefHj9EsJOGS4mSDxrMBHyGHXlJd1VVZwt2rQOAwspAbHQ/qbnz+EutzGCvmGJhp8N6PPdLo+b0K1eDNHylkrwYliSeM4iZ9M74ZrFyiyzql12DPO2uSAYmhH/I9uH3G7/lABwMz/cpd9lVXkSsgtBZNq1Mj+d5/djf6/XgG77+NTvByUXrAyHBVBwiSOu3tlRnA456Tnv3V5o+OIiA/CplbYFBHfKAHUJb9rxn2TzZIMFeRqJB3NlP0lpx66i+oubSscJ/1V8lbtF0MyhXQ+zMYkz/En5qpojFM+ahYkULefp2a/Hlo96XUMhROPtPjVXhSaF6/Adu3x/gDAURqS1wKSibW7iL4uWr7BqgQpdh7oqM0884nm+4p32zznBCIY+syyuGKkpUsohGbTgLx89JTRzHvifDgSI4mNlcwVt1N8PP78PiAFUVYqLR6j2O1APHCoQy+CxUO99pyl14WuPt7sd/sHi07DmhvsYod8tebcPwAbHbpF26DN2H7JHHCSJcpX52ABMs30vJtTY2uVs0UDIsi1RAqEApHN7zzP1lGWC0uX4GJQ+7zeNNjJP1fBwKPFHrTUwRoDPcqDVosQKxZxMTbH+YdUsW3UDVYfHcXRG0tWJ5zT5YFQM+9p5GmP0Adx+geeeZzbU2F0Mup7VnyO5i82aSapTSzq+BdrE3b+4hu8xh3HRahYIZNonJcTTIcRAlptdiFbCoBM99H2E379zuyC5EVU3KO8L62xl6XIi2E4A0kbBBu3uZuV2J4w/fzdo5AiZ+KwL9caVj5WcPZXcqfxkXtvUuRjnudTXBLVJohsqxKfyXHa4pAZ+G0nyJc0POKCMApJo2bUyA8fN9I3mIxcNa/JAT9yr/Nzq4wBmo7xKRQnscX1du8Wx8FCx7YE/o8UbTG8RYtwr+aY378pSMly9dcDQvXNpOB4tL5aXRxJfGVtptoWg/S3VBn9JsZKAAhPbRf9AfHpL2COcAGg5rWaGxiujBV0yVCTCGLhVDi/An2q1LOya1Enk2jc/LIH0Uq3rrGDIepUOe739mbu7BCUC3RiI8BblM9+Wiuz7bj77EeSJ5tbDApCZxe1buJYGxjz+EwZjMNfczxoJNGTCA0RuAb9+seN6Y7+7I+Egy9zloFCxWJ8agXSOKAOwGsPzoKTOWpTCk2fDEkcqoQtLntJ02hhDCwTg9nw5YPUUot3xPbQkb3euGLysp/LsWxtfbpT9m3+wHwexCcHOIMlZEeqG264Quj+QBRAx0cEC6F6eWlFMXsWIAaKmP4zjHwDqF5KglSBVtIpysVx48GzAcc7BDm1M8Slafz6uFOZAVHzXUjnwuVP/yu2DGgg1E0Sn5CQ7EX7yPnH9hiVMi+FY62YysWbtv7uZUKxnXhar8W8eXP63VxIo+NVGHb2ayPMUu4O2Ayl6Lo4InLmeT1R3TOwhSoiF9oVOs0WZiNq2o3FDF392b6V/51kJ/zm93bR6mk2ZYgxbk7GPlHH1Oa3iMDJ4/qC29ndRGUuBcwd65IIpx6cKkpdBxjmMqnWmqe+MamicUhERRjxkchMokDWCIXeGooVl00I4jcEACA3/MXT//zdeXBkZJ63gPZ/v5UvKGhBUyICJtoDr87k77iJHA9n+AlxGR773QPvy2UiUw4zQk1zD4yx6/ZHmEA/3ugr4WS670+UGwAB8eWDDnAASE4ttdXT9XI/BybqcP0Nyvawy6XuO053s4Re6xzuq/04cBk8e4eIABrDC/ohWFx0O7pgBW8Smw0p8cWc3yzBH2NDBhw8ysCtEELR92svNt+7hYKhSdGu5tHhfmX6tqiwefQApFalGQR5GI1URO0Wn0VRG6wEDVzV+Ww/KVlH3+c1ANrKCS3nsFLjHuXM5b8utYyXRP+BYKeNmcB0XBBJ611UAA0XiABAa9a0J+3dQtlboyItclOP33NBoQ9APLvsHzWRCPPornSONSfrocfRRm31iDq4JjjcVpjQcIJcpzj3Hw1/d3DvFLvegivs7/hQr3NdTSIT3coYokxCJCfsEJXs4yYhG6oy+hSVNsdoSQFCFdyW3eXFBDZdZE5G8yi2nDPNAsCY06iaM7ChoBbTKJt3r8J6hDdUsLZ3IRfTK9uipxNCDYf1qixhKZAgxRYlVnrV2jqSq2f6jUO0JkmUGhgpQLr/UgfoewqjAIegnU42Yxo8TvEx2/h56ar9G/FNieBPGN/JVOG33rQ+7uRMo6HzIvUeCiX+Xu4150eujP6WWw8+s91S2w4cDhxGSrA/XIpVHeQeHSgCZCNDJ0wAH/OTCJMgqrBYVT9G/vht0/8k3kZf7k2Cahwpu6giHm84mF2ektqfffxdQA0K6r6kmgTLe7gx6JwXWO4CvlXysrzCCCRo5oJmZtHe2xIjXB/KD0dXNs3relZ6yNgencRk39Z/m4+cfTm3AVd3yJ3J6xsRqm3ir+5nRyh9MiRKfeGfg7xBYr6Yx6qG+uSvoYBTY22RfioLjw/iQ8lXv/tjURkjdsFLnnDPV+Ab02nMkXWq4Cnl/53HJYlncGmNWQlRaiP66GDlrFv4Cxm1DFBpSadVEaA34neIpLBrG05OLth1dkJlHujkbxBUCDujhOO9V6M6xAEpVbcIe62UCbvMOfIKM+VGFyOE/VrPhM5kP5P6Ys7NRVy2JZsMkgj+529ZtUbhJDCMMEbfLns0KIINy06QKmynyoWmjyt50GO1RFmN0mqlpPwOpj+mTOp+nV1WgM+uB0I2uRchZEWXFzBbL5hqjwQeJsrjCaTuawWdlXxW9RPPBL+RJ7Io1G0vp/77Tm6Xyx8ppwEa4zbr/GS90RGo3kJfQP301c94jZ/L6UeHKY0ciaKZlYtMWgU7DHCtSmhp3htL0pEWsV+OvPvDBDiPQ19lRi8BIfuKLnJMtF1mzyMwS/lJSduaYS6pLV3iDpf0+U8haecfsXcmitn+n45ciiMzO98BGfv4ltD8JwR0/e8WZQ77PxGuQOMgtvFyHrs2JdBUWhxReI9geQ4kigUNodwbd7mMHxzDTIXMyl/ptEBaMsCLoSCaj5L+0t49OiCufP2kJO5EG4XjnrEAHBzSlpPAWVOf/9Bv3UUKlV/8ErtBIoHOEnXtz37jaAl/2jJ6+EWFyJDfaRoEk9WCXGqnAUaP+6rHiRnKRZWa0DiAWl7pvZ11p+0GH8EgwYgZsQR8n2EKWfC5Pb5iCvUMf/I669/xJeWNPXG/vDxpslcZkEQoth4B8it2Pb5F9Lyxd+WdZFbmgmg63x/VPPtRlEHBj/RkgWftJ/q+CHtTLoBaUdZb5dQFBkDYbus8/kCHtdqcfJcwIkSuVtLhER/UjjMIHl9Tuy1FvW37x8l5Or4IRvioQSPkg0wk+DFOToMVWYunOCXXNLl4yRBdPmZ8QGWVYyk6uWcWqppMs1HpLtDnh1R8q9kB7A9wsbNtBrIoYQMsoysDAzZ+1ee8GrRq99pyHihndYQGtk7jVOvTWlabPAat46SdjMdAAjfx3+llHWHqHuSogNYXwSHGGHr9cP8bFmYDmOVdpJJZ4H1Phtj+21RUvQMOgg7YMeNeJ6QtycrOaVIWHKdTfOCaQJuTR1o7c8Aq5FLUTOLsyzHXPFKBXDCWKpCcD2VqpUJbgT1xgwVqkJbWaupsSc9e70Q8RUVASQGP69rD3T6Mzfkk1fpsi7cnbAc4DvuPUqGtjXPvieIQFDAnln4ta1WdBC/uRDhEVbaTNVMDkWMcEv6rle7/9TyjAbStgkMEkfBvDBU33AL/PcBhmrs2vxX6xxzBmmb9eRaelx5+z6Dyq8kNTq4J1mYfXtQcZimHcZBEPFC9tvXWshQfGrJzYSt8D9EbaJ9+VGTyVd2BvH9IhdjiVUN2ZA+G194ifiUJcD38VMMkWqoTQcmYlm/nnvT56cyld7OSbLLodHoKMEUhzhBtPTkYNAP9wfSf2BkSrm18YHgcrvjpIfkOh3hIYQxUPiAiYlQYqPLOOkZpe7TJbRgbW78aCU3s2fPYKtGySJw0UQhWjSPdtrQPB7UyMeYjh1YAhp7pB7WWPaLLuHPhakOql2OPZ2LNxc0CiPVZgE+Q9LSHaHRlfw0J9s7XjDQt60+KadTOFb2IxdOrxEArxzhGqs0L5AaBnLcOjlRnXc3uyO6Dbdks34sPUaOgK66KBLypkpaxJqrSruywpVHukkbPpqEbUndCI13lhnqhIi/CcGqEtZbW2C+2ftBFlJGj2LT5ySVMAHNMWlCbn2r6jb/rAN9EkIBVFjHtPXrIeu8jkpG+xGfbyRC8nBrD7CKzqGPjhGpxDLbba25zI9L1Fs/zFexp6nKeW5hy0X0ueALjQrvN/nxvP9xS9sXspXUftpr2eaWH8EBuHbFBNlemxjAvXGN5zEC5JCM4q0ReOWhmPxOVp2FAClhhAYyAyHCbyJc/hMgjpCkfk7+sZv8c8VsY2V6ryog2jyKOUy1wd68K6q5qbRMkdCPcLIWmBLdLll8LMratP0CO+lly2yMjD5aQMGSAGmPZ8wg9zQw+PgVabYXZD+EnyqzFW2jMVrFlsr8HxdOI0D/dd5CfPzMM1xPokagxDCrw093k3vLn4QW0TYIJ/eDQUHhoPkKPl1pQm2SBxVhUZr91eyHbTOk1Q1t3xn5U7j9U7MGSWgwIeKchVSrQvik5a/RzrD5vMWlqF/Q6qGnJWwVh+tvrRG6nIknWmfUyYAetnYrwYZu/c1Y0hSvTCyHm7G8n2x90obKSY1P1WtqidTaLBM/cYhh+qIhNVeETptUFDI6ee+IKYPhBISVoHi9I7tXMGDD7Ym49Jz5SkFUgYPXPjoRG7eWSvakODUqw6L3NuMyI36kgb4xYvN2c1eb/pJ/hYcFl0JRo+83loewWI16wHB6a64FOTcAIka8W7P7OLL6dpc2+Ok6Vv/o4XK6ov7egTpcbs5Ak+uIETAXfBv/3+/598bZpGyPLVqjmQFSZdRFBFjrvB5Tkmt+8Szt9tvbmGqbQZKGGRTNubffo7KpS9Wz9EdpgYTVdvivz/apLmv/v0dohi0oGeEksa63CATNN6f8A1ikFb5jrvLexK+MzJ17O1zoSuVgkvMz/w5NBaw7YD2RvashVi4ADVvKbEwn4/L9OxSnsL6VU1w7xYfd3VeWPLc+F02lm1WFU+VZ7CCqE6dPZl/Q3yDfMLH7HJt61VIP59U1m4Uqx45lq51pti0k4xBRu9cz0fi3qVTOjGhnsZK8twff/bUrA5hfpRMpEWespqXk17fF6UG9FNWBmlQHWfc/szIOLHv7RGQ71zH41Fuz2468KERiGeGktS7n6UBPWFGqk8QXHuitnUwvX5JCssrY7jwUdOsiz+OX3V9Nz8SN2TInBLUS49N75lbeuB0dMbC0yGzIkkwudsUMvuLkbMoeHB8OM9+DnUFr1EW/w1FlTzJFKWvtOI6Ees3YkR9ASVH9c+d881YKN5lRRUEc/P5gfsK+LZ0IlbvSYYYRIMBlxf3x2sD8lrqZG23xKC5A1bFBemy/rJy9YHx6lFwuUB2/kR+PRbZ9n2rDo4iccRdXKrHBmXJ+0mSIuamL0MV9Z8peCwG9ZMqm/dScfLUY73kAOYNb9meXOKB/TSasnLbL5GZW9Qd1FsmCz2KDynqaUzTRrF5X0A5uOSUe0et49SbJieU/Bse2eUT/n50VFm2cdeZMLS+H9ddXjICvKoo2qW+QxsgS/MMGLkMxcd4cnYF9z4ei/Trsqj9jl0mXc9/EKPmQYrbavzTuTF+BlVzCuffPZEsi0JcP99b4lrDA6JkiEqNL3xsFzmHZ6X2NCNa1JGvAhBpBv2swCO2VTUPLWYImm2UlP26fH7xip4eKqPNsLafNgyNpWm/fDcHrOItmhgdEicoUu0AS9I7uzmJrcdnPjXiLb264fMcozqGqR9iBldsS6XMTjZPSNIztPfhOTaNMCilTgDutYWN2yCjv6Gdc17w6u5GjnwJ3n/g2xyD6aSIhSCWJl2KildHM1dy3+UEpOJornk2ms154rS7/e+AfDSQagz47GLFo1wJQalH54qUBga5tTFYJ28pR01wSZWNCLNpnSmAYq5oEEScbf1a0pWyWixvM+CklqJcXEC0wNZiFQD/t+EU/NpvIk6goGbTS7lsMtTAPn3XU154P4bKnXyN5gQ3QXWAxwjL9kwWaC4CTh/76fODBKuMmXJiEojvK+90/3xf+ZambSCv3d/14vbXrADPJHQYXV0ufWVqqkdieI2CYfQmDOcpPZVYlFjcoUmys7B42/iyzvh/5RpLnkgDzxxNcyq5D7ZDLnu87Y+VNOoS0JgIdGsp/nxAM/bU42VoijG6yQspjMf9+1LDwqtXNBHLbXHNhWt2X9Oc8fTDN2NryibXzMU5hLiewY8IZCmkjbbtjhSQ2vdImioND8XeJjGAReGvLCXBMFPyXe0LJs7OIC06k8ap5RAQygZ0EPcVnYXo9AYuxpQn9+VJJvVFqCoM3eh0wBwquGC5s1STtzQGWw7sOL1g0/n9AfF8XZ3rDCmAsTitu9cMQ/CqRce7Ojb+tzA6HVIkpDs1qhOGJAj6hvPoNC+L/JW44y0m0Rgh4RS0/cf8L8s15xLPBHgmo2PQubkW3kEwUO5NQM01JWNHsGNaH9OrOT8L4e5DvNTNaDKl65rbwrlvfGTXLClPaRJbfC+dha9lMrcI3sd5JdsuSPkMtdH7PmX+leckJ6Hvc1vAWHi5+HHH6X4ABdCDR+5wRWSyurUmAvHPJ2d2RR9m0zVbWBm3lKIPGnqxgC20JHvTFrJzrRX8IL/ToRXTylEsScz3l4jkIF+KAD/bwsDy5BpoT5ak9VDcy4qoVfYYnnlFxymdyY4NfFV7TaXfb8WozsdXYcongW2H/RSbxtft7Fztyh4xOv+jxCNKxSTfLxMeC3zUX4AE5o97JpKjQQjK+r0R5WOuRHw3sfhe1K7plsJeFrPoccwRMOFQHbDUrAdpUtTw61lT0B+0dQ6YS4zgFGhWplfkhFIQ5XyL8ij+5CmSnirjUiP1e0VePM2fmlReDlDTdyIzp8aR4E6f6V1OY4OmAmRbZKrBZKMb1IDQQOPFoF9ulubsD6fjfQN/HebqUOMvU9c8yDDmwELSYhsyJrPGpxiuaraI72IpU90EuigMcah81vXtFmqa5j8UnE7+n3VHnMuYp0vZPrllXhBODwviAK6fzXhVE5VIMEGNoOADIRCXQqCh1HrOE6LTl5xmJyFS22t95B/rUcUrh8eHA5vsnmFfe7EjpLMzAz6Xy4IlAzTh600Zn8KYdCxOAXeaiO0/uooh9bLCQNW4ADZAsUWjtH9pMgxpeAXnqgdW/uQxnY1KqBbyz4iJW+E0KwioRK2+fdzvigM9tHDLf7eAUv3/Z+G78+DgxFTx9M3rvAQdXvn8h3Z0UBk/S1kuD+Yo3m5yTUCJ7OSY1KyeXvGWbeXyiGlFkwwcNHlLE4xUFwGRDXSlIcIhjgnDDLb/gTUS2/KC9kct7L0sLFMz738VSpsliMdR+mtiJswAEI+B7O2drCdAfGvBn98HSmsjMmEzIWN0rVyMEw10dMnjbDXvv2FdKzS9yGlbsBtMsXv+Ed0l+xeY2R48Yc1vTZrf2FwonP4Bz/MFmfXSa80xQdgXZq+y5hjqax1bcpGDMQJXJAGZo/6xALeIEj4ZL4PxdBWgrXkfRe2OZoYr3OHG/E802DjPtBNq6d2pG0o2svR3K/qrIdeZTJ8vL4bHgjGhGmahR2cCWE8SQ/rvQaFctD2Ab87a0K52RzrpAQav9S6AM53L0BA8N97s5/dVW3WZKA6+9lvWoP4NgUw1X4f+9WczhonZx/xq1SmbMhaQLC+MNksibwPDnGiOx63WH0LDZ5myxB/OyFkPJUEoZWkEAVCPIKAsC0lG6hf/na2iHgBmk54N66pziemFhp7d3ULiU1DYiLyEhJwTxB3UsZIj97xb10olWmy5tFhAuDhnuXbTLgYFzQX1lOuNLV0je3ScSxgnq9UE45b0xHkmb9kyCyoGl/Kr25Ft1HvGpgC8tIPm2jNF0MTggVv8U7+lQL699dBShakONIOG+olO4NBURBtrZHdWurgTLoBCr9mmhIjD6hh+ucz34L/39SAahw12Oe9MQg4j1stvKYHAyovMvf5OiDaLm/qeH9R80N2uLYjTkXnsCtp3dC6la0na/puIaFLWjPJZgl1xbheqkMaaNZ4tgzifLkBPsMFb0HTQlR0BWA+fLjE6e+JueFCWgkILEiVjdkMBvfYh7WAUmv3VLjVsQETxnVlze4OkMf+0USmtAblrNZL0knvOjnrmeKU58CKoXT3f5c0tOQfgMptP/3NTVMpeKIuD9UgDJUXIfYiEWn5CAgktXwYxr6uWhxeZi08ET9s/1RYzBIcsqcuj/+wohgOLosKi9AkKhOdTfEvlFMd4nieQCyNZMJqGl7PILYjCDJxjX/d3UvvcbjivtjyeJBYN8Zk5zBrc8IpefEe+BUegJQI3vbzgV2GVd3Lb7qwonbbYOrwXBsdCsXHfxAHCTukj4u0+CeBPpOhf8RRYvb4RdYEEyPU5DtTeYd2f+TCkZhq5YIw6piiUGZPFCERwo7vY2pz4FtPyYsxXCSYImUU2E1RXwcWRlO09kSRmvnbaCeMCxVmkSZSMtXLjMuL/xPnWs8/VqO8ftoiplVf/9dnPtu1moxXaMoGsKAbtIaePFiumw3JvxZ/D01VNPMB/ctt+7LprGt6K63+NxbTpCEC4lOy3GsCF8uLpXEpLUVXpNU1QuHTxDJ7+Jx0Cn3kQMyLfYTrvU91g864w+knuteaeOFjWFcw5nhXF6VSKgVT2fGNFjlKXm5uy81k94ju0jULm61jyNSEgBBK2jacVB8/PxbOdfjLg74T40b/0QydkZTINd/WqztmBBBnVd4EUEdhV0K8J0462rsVCHueJkjFZx5ndB7IuSsVyVeHz5AiWP5wWBBRP9sXBnmWerwKb5IRjeyto23FcqaMESKi2yqS+C+gHJe6QYaCIB/Cz+fxqP89gBBGTEB0CgVrmODCssIKHdDjPPCOf9ZjAYOZxKXFLqA2Gvjof9DNCjJT+CYAiu4tzoI5AaLGfZdpqbjrSDnLmCi06zmP/KlN4Tj/uSfkRJnaFRWGOTQh4Kw/ydHhEBOg1pduFRpFVmlfqgd/ZgRNiKo88L/7/qgD4FHUy3weAVr/Ci0NHpDBUm1tPk8tx7gpRDqMMkM6+1yFOObRJT7GQrrIQRGnx2J3GJZNDOYRfNwXS37kbqSwSS6pwqClEF/fKDbpaQ4jN5iJ9/onzGpQoOHKAz1oaJIArznLUSw2oCZHzwHhL2TmsnmtuhQ49qb0Eq7N4BML+0aJmu1YCCF6OHVGOGv3FJFrLZVvLBIT9Cu/92hei/O5/7e5imFIu3OvvGZM9sqNIlxZCqJQaL6JS0CJ7u7v+UCLGl3u9+AIGg2euYvHqWy/8+QmIxuThvYPsscYZyUi6gGVshGCcdnjAblkYlfiE26HZeHTIOtPcdk0ynfLY1VF+2WUwAkctFeXvrrmrmI1SNhu3Wjyz7yR2+e+VwDbz+u2mL67WxINlQ0NZExrEv7rNEYvAz+xYXXSRj36dYAaErUsVEU40IgL3cSpAZAJ9E2TEwjV1WbC0yc38qN/F3fxIFgjvwqmnKGahiBc07syNnR+vL/lrmH957QZWh5HA43rUZRDWoE3EhicO39sXinrQwbzIsKSBPc+kztJodhKOGaUR3mhz3hVsVOuDOrXKgFJgL1PH7ND19vrR9hY04/ShWmRFm+Cii2XBKCEY5zwEpiRy3aAX7NmGBBcqml93SdSPvcR+MOEYvGCNJCc3ZsEEpFP1DOivO5OYtnszbzpWmX8Au1HOW+YsePmS6UT1PeTlDGUlmAf8YzMn5XDl4Hl9YyuaRwcAsvojeQfUAD3udbMUcJ+U+HRrdIoSvskJuthk7oEwGMRb0e14L6mVKihgtxvL49i/iAez1Mtd/i7F/XI1jKaMfftn5nkZsmzwoRkQ2TxCcdUI3Z5ef8qukQnw/ikQ/Rb79LFSzG56NM3SwNCtZokN5DSFjM8U5W3XnPouQPI1oA0GrtcBUwIB5MttOl3h5pEZ9dBYJ5wwNM3TTcFTtbqVUxu6F33WtgEwfvAKW/SQbDhrj7G9Tvv3j0Rpl8zhr3DjXLNuXfsHSc/BerenwU1+YzQBKW0USZJKWxxWAyHEbaXuqQmkQ72O2U1df99nqKRKRILSBwxawnhwF6zQrCoeHg/a93a6+bnVO2g+/4l/l2DwFbon5ScXRbnNioAKDgFcFXyTwH/qVzJs5wiSyFQ3cRrftUv3CZm3Ou4G+ieKuXLWgQPPfmA3xN+W23x/WbCu4GOV+IQEFUT7Bc42zt+7xyMKhqZx6TNPQrPi1bUYXHlHQihvPXnmIsvqftG+0Y19aLdUY6/A+2FCPdpokJk+tNAafmJCPmtiiN1K9LS/mhAPBli6g9eJuxl9fV2N1jfy90ViV/+nkL4d/RnA/uLkP5CDXyWMJTqp2YKxlbeILM5gmjuYMBu/tpM/F6hFExuUoR6p8K1OotIgQ6sglFkfDPwV5YxExQYp51aHmbd40ETGTKKtOBwWlx1UK78BBJs91eq8e1nKwt26o6ITdu/Z1xGxpEUyZTzROQNOqp8P8bKD1PYKWDT54CsLNNSIOY3l0tUby3uliUME8a0atXyf1OwBxQQnS8enLaQg23ZNF6bXycLpn1LFwiFvuiyRwjdOln+Fh7nvO0Uf2BCTgE2aYjCU1YYU+lfX8AjNk9JmS2N3Q1s9Br2JXPShn8xVITMAiCNm+/+AcffwEpRp3oajSNNK6mRNj4xlh5sMBoYFlyChanr+Cmv/BLDpUUaeXHT4ZTWnm52AiCMbJ/0Xf/ljqPlcZmNFFucODO3a0XjQHGVzqYmM3viaNshyinMYPJywVNBo/5QAHEfmKHUyi6XUhQNQV6tinVaM4V7Q5JP/fVYVOt17Hcr6e7Cc1xfPF8wPcQRA5HjsemO1MMtUeaRjfGbYx3TKNCxj8q3f0XYPCZYSqK/pDCpybmg8rYnnSI+C6nB0pX/KyEUWOWJoBNfTpJUDqLd8mZpwFJYPmQu5RYZbQZbdCmxVI1LUr2ID7bSf/8GQ1soTYdiJFWPLvryjpltU7OTCf5oMb4JNjIJYiFjARgHCi541hUL9cXWMwMPUhKJngfCXupRvBkMsT7vGAx9zBh+/vM4cuBJfW0KBKep4fUnIj/bjd40h3yxADLQlG3ZJxeceWG42Or0nMB1EvXeToXfAHiSzOMkOSuKrf2I5wYKzPqIDbyUlnPAVnujVtkoo3z94sLhYG6BS4XUy/TibW5QENkXMWdLBNq6PlYXNTyNkx6c2VWh0Zb3j+aluceJxrdIg8e7/ik2QvTxKadPNqAjDZZTUGSm9FmcUTYIkWyECY8RBKAS2WlfCQ0P8mjnzqelB3aMuWdgfGqeSDbbVklFd+i8C/As+dcIQW6SJzYqdSSrLJCYp6CDo2YefXScGcG8vVGFR01FnpJypuE0th5fr5hS7c0vzu/F228/03cVNmh/wdJda8OZX2sd1Bvj3maOhs8Q0SSetJ1/ZmyZKbeV8xd0eRnZGaQa+lNS2RG9MEqN5DMGbBVAiOmFwsyEMmAdPPhrjIRh9Rq/PVy32P20Tr+JFwia5P/T/WoSMdfEwtI52cVCZZSFURAkfYV+zcV7B2tmltJCcCPFpd+N8DdPuWhmUqT9VWa0pkysi7CisoybMHUwgsXW5TtSW8CozaHzJIGa7jT9hwlvKoSqy2tWOHgsRNmxG9eInjxGLgYHwTYgAbUFz4JdiPm4CDOR9ylwwXcjV8+GaWSZ6qMqNvmXf+fv2lAH/RmT2sp56uRc8CaUablD7LrL1DpA/jAfd45BjVod+kjz9eTYdaEmaV8Osf5MO0hPTBTa7W8eAh9F4bkX1HdIJ3P7b5BeHP81EAeDtKUl9ZFX0DouNLM+0iezgL7+sTnYNdGLtfesI+5lE94nxQ3W7j9mZOfhZ4BxcTWwf80ji2Rn3vOGY0jp5sv7XPJ8g+xseYt53juafhnMEZSwXfvb7O95CAbvvzE32QOddUa2YCiJIV7PqxSIhFsNsmKg+CDwMF6uRIFx3KKkhwGzvnXyTLBwST7klfFQ0d1yfoKBO1mJP9pwUGcQGb2MAh8fVAwhNJlK9612REHbsXDyqOaj9ecPVXVaSohh43+nI2qucUzNaFkpePpqPJxG7osEarKqaXtH0pCtYjbqipwiInJJtNMQ96kuOY3qjTvQNuBvcn2HfIcYBBKB2wZ04LfTP1QZSTVrWEs2uE1rPeP73Re1Cwu7khftUAkk8rXEHyphNl8MyJg4aR5uN0ErkvH6++jRGTPkHzwDUKfgH2jd9lAV8MWgHmjB5prZPGCaldCPj8VhaXcmouSPkMzrUlqmkpERTr2uZV7q/z8xr4IQ8VpSZMqSZ4QTLXmbv7qnAtVknyx3KHtrT+nUajv0+YZQyMR413UmHHxooXQ/VXsK8dq7+Wr4aSSg8ykSW5OTy/DjMY+irKzv88fvKK30lp+XKOfAQB/PwcXH1lUUyM8skJsUzT21l883SFtXOh1MBu/b4QFTc/SOAe33aW2WNw8hvXviTxNhXeg/yqdOueoK95ibV+xHNSdV/kFza3srcAes14qVJglt/tdZZFQMzMGqbAMbpvxz+x1lwb0Oa5kefPKNCprY9BqGHOQp/f1L1yHbhs2oYvw460Yz+CK3mbfIdLlY6KU391vGCC33ijtULqoNXTg9gZ8l98+p59Pufwom3rBC5zoCQ6C+/iXwDJxeVijAS+I7a50E5VZjsAfwzPytjRhGyw5yUs6fabgpStCkWzL4EzxTaiOSK2QTcLIHbX2GR7kgeHDn6IAzYs56yYQAFCziy1GZ1Af68AhgA+N1gYXvev9a1FUvHW31yfWrkByQINRFO99apC3ZsDJv5Ln8Y58ngNmqTjpQNwXtNgzIZNgc9RccIByxDjHY+nnu49oDW045X/FD3/8IXGI+ATtrg+jsF2G3TUxmNqkrrsg1gF9pbZmd9tTIGU6KzsG1dUwgMbMQJ7DtBfluD0F/kM+t8kBqllK5RzZiAWD7bZk0ipaRL7Fxuh7JJ7lr/mcy3RDXWWeeFgXaOM6aRRbX4sVjKmcLR6vJC9Tcxe1pCEJUTkzfUfP3LEQzhP/CtqW1PXv9CyJCXHlp0YpEOU5AqkRo1MwzH0qltwD1V6pkaRkJIJBJ/Nb9svUIFjv0j6xCpl1d1LnsnLYvpbULsVQTjjotGnfyz/ldmh1/OI/foshuCtGUSr3nfnGiKuXSAcs99dSbot0cydEt80PHpGhHPvhEvLdxLmJdrhN4fTRWVkWfpoPEk9Rqbr0GPc6VZcu5VhvKdTOfN3sITZ+eR15ZZ7GNMpcvA+kcMKxZQ3rPu2L7CRUAd22j4POIWMl9Hs+QSWWJak5Qc34HU1bezc8fsNpYRiKrymNp9Ur/NHCfV7wpkQLOL4mCh19LB8sUPePzhiDxL3L25tUk7cT3fdYoBCWAl1qBk33953R6kkUy7H5TmOuRCdsmB8/6h70qqzVZmNnJ0D8/8DnsTy8SkoNSE5HW8ThxyRZHXFjaWCs34QRQ4TA5Pq7xNySyOtu3VvKyqrBK1x2Nev7Jql7V49YxHoSBgfsuZdEI6EblsH3Z+z4QjsaZGkuybkaFw+uUysk+Km8/mtWbAKyZeYCauQAGEw/vR+Y7IKBwpNqlAM1nBZKdcUvSTiPFSu/c48xxlC/ajynhqJMyhAGIz52IUgY82mzhOVQn7mgZGos1cNDIxpKGgUWKbFYrt70wxtLiq1qAcyDFfNXZBUc+VrvTPTLI268Jv2KkyWpph2fpZswoXnqpRvpkctXKgCBxRXdb7ymS23sQDW8MTZZPlGuHS/7jy7zCn2sETDQsTccg7YusA/PNweyff1W/eJ6ZGJcIFWacP49CNAM25tkD9PvsgF0VynCKu+o+gyrmmDpUhqm+bExptEaRRTEVBDGZ5dImRpGNdvxJO41qzrtmvFv8Vrppgh+MzjApS+JIb7aNvSaUNApHJkmL7SYHv8kiBD02oEoAgPKWfokFsVfFYag3n55/6LsXsGauGxjFOvZnzVbFv/lJ9o1m3F78FVle3OIjQpa/KwXUJ1TPUp05rp5wKi0e/bDrR8Nl24e1Zhu+mOOcnd0lQ0KVL6WWrlmxAMGvRvWtYx0BZ35vstAlmc9eOjgL4ahsxUi1+dvUbZ4cBtBc2OrQN9B9LCePJmMId+sgQ0pSkwqDcMW/DkYlIZXaXGI0qo9JUFtVk8PspDO4N8sFhcqdF2Al+hrdc8YGr1VAZkxetFBnlp3GghPdTwtPmO8A3W0ftSorn4eEANhkbFOY64pGtQH6jW4Pn18pG8woPTB8LXuBbvB5Ys1m4ckZLnTIysUntpHpYAy6c55Hs81TCgqoeWwmTbGa6T1aKc8S4IwNgTHEsJKzO/lfr+onAQwkrEtmaofzwRG5aUKZUIS+81vZfughQ1SbaEX0zrYZsCs+fGV76g5sekcjWlVFaQYh+ik6uW+41G928EKnEhmGog0clJ2CpUYc38ubhz4iIvwqkg8F+5VKymAE4DBD5i0YJ4JavADvj8g5QmqruV1I2dam7RR1kTdiDqsL/ZLNnj6P0owYCXVqarlBDvN8bI+A+NW0EjbpHtoak2r6Lf2oPbnamFIPvKSDk4p/lRkFy07upTUtSHmYG7QeJFcgccvsnDu6yipL6flqbhJ01obKu496mbW11LKyQpM9jqj66ORycncWuIn+I/g37Be6+6AsAni8ZA3VPUBVH73GbgcUkN4+Ncus92VP8ui12BLxVkroYDxoXwS4UCbniNsepAbg6nSmM6h+xYoOPo+ADFu9Kzj9hur+dqPWIslHFODFu6ZdHidT2wGeIfzlMitkOpRyjyKsnqtDTiiFvZGDZkMMMBeZM8wWQjJr2/WVioeq8ETqPqwtdisSb55qLvPQDhIgyttcBZc9kxT3P/l3OGPWwycdvhfUrsux2zruWPJSxfajz4i673wDn6Zq0TOAhNA00UC2IFdIQ57DhkOcakoSZidjSGowoSGjeGpnia5xzAr9JAfni7KYkkIxB5uCWW1gsCgO6Nr21ipKK4pbYMOwQBY+RVcdOfdwzwx5S2TcCQ46YNAX8kczA/WWS3GkV4qOguKK7yyCZxaDcet2facUuVdxCxlMIsITsiivooffG6ugapaNpf1wuezUSxVIaHk2/T3+ByTIrfB+SGf+5xLZP3/T3cgpZ2st5quWgYPJlm7668ziLt+ZcBZYkDXmDTk0g7yrfJYWwU2bTYRRq12xiD1pLZmIoysiSaZ7vKby5ab6gRvqlSzu4Fl0GPzIWzWz6BeNZE28gVjZeSKz3WguclKhei11D9s+R0d6z4NFSogZybj0VmLBxyCSNb2rConIOqR2fdhfGL1aPgugFFe/n/ppd58P6Q6yaYY7oK3Y5lrhe+uTXXIzuFuHvu/D6fiNbfh4EYDgMX4v9APo6KcnvSo+yyU/XBwphzLebBL1DQm+Jr6absXNx5JIkqDeH0Ic+IbP9GcpTzmNHHse4aCknFK9rDm6lQo65xMdR0J2zMbV1+ziK0f/iGVnOhN2oJQyEyUeHfNreIMGnkLSzA4ONaG3n5l+7MCtdNmpDt6wwS4UUhjqw2oWUQy7UizTVtboTJ7NWT/Gdd/Sc4iPaa4SatzukukaLGC9NRcGmlNdZrgfB1SwSL3lwJuBVv5AXckFObP0g+dbyE+aiL5ilQoiBMutLaaN6mdUZnOV08IpvqLpeDUu1HOl3vkVWeyagamtb8Y7BxHR+RkskJe9Ap0Xak9IGOnF5mggBLbZKf4NZaQUayYKLa4PI8zrw8aE+QomR1FRCdXQOzcD3SMPWTaHg2o8mQWCkPcAuaqXO69dPmz/HmT3f80dFF1qu8NIFsmRI9yJ9Dg1uI5nt6lqzKL7+SjNLUmQb7AI8TRXLhk+1R8kSwjBFE12g6YWJ3aQ7m7Y0tJ37WaAYEg1t4CFa/ijQiBqfKSTRA36wqdQBi7jmx+zpC3UGp/Br16rsbfxCLgK4yorvdLKoHyVGMwjG9TLAzpy7Crterw2VCzMS50IbtziaIOSTpqMLoUX85hRY3zxhgehrSXuOX2Owh0zmgGbk3Tnaze7/d9V+ZBRDCteDQLnm8aLscCjoAVmyLU1aJzUSuMFYrlpXZC14jXT1gCjwIOeCNZF9OLXl+c3IIzvT5yWwU3jyUZTfwskP/aMPz+UeAi8T9PP9uTaKZor5oz26yrKtdfPlGZSLUNS4yTIhO0nxEyc4rzMnagvpATenkQr67gW84Do4g8KJTHBb5sDstF50XkkCLL0GrpKoi4VL3OzB2uArleuWIdQ2bM0GvWWqQ2efHgbg7PtJ6Ws64IbShYAkT+xXriFRUs4A8ASBCuo8TY2LXMsEAX/YuptkeB0pnTtAUs1mLNcKLR0b/ICEi2pvKi9oIh5Hh/aOxHPLhvg1GgowD0xo/+cxnROg9rHILDfDD3DgU2p6pwu1HeKmrmEHDq4g0PFWjIy8jiJxx57wf3xgew/GCY8B2B5hW0M8OtI2PGdKKmofSwnshIpNPXQ5heyQKRbyuu2LCZA/ebrn/sAOHJkDHs9lqM7xx/uvwtuFb9t5/zpzmDSLe8hlYkDv+9Q9qAjqwz7/kZuDQev3LXQYDyl92lu1zAgjTWQ+T4RfhuWXjwkyI2Q1SXzCbLGusbnf1WXbYUkDQb/yEsuLH+NFiSj13nb/7t6a5RHbIh6hzBY8x+gMYONrYhwJ9cQhjG5RGiMlqeH816Ukax+K5AgC+fJ405ViRuYNpz2ZXVnfDEyndXjktx7vaur3Z05mBYu+0FPNyZhCB49feuCQV7eQYD76lupGxqk4S0bpbsqs6OawIqclmFw8+PSVljEsargkIWauuLNzO8TPOEC9vtG4lI+gG+M3MBmOz+yHPefT4H6rktVRFSzVzHnzGYKUw2iJyYQ6ebYLNB2kcdJvhRJ5lD1fnwZ7zkf8kof7NuuLHEOZKRArb0yObGqCTnD2yx6Hxrs/EuAnbz7+n1jyLX75EkPXilMgevhmIDanLaTzgunP92YhrawCe1zYmwgQ7lphNTK3XVcnA+VxE3I2FL7xq6KfXx6R1H0IRcmwN3uhxIKyH0LPSLnPo21YVt7L6SPxDm1vLez7fqYiP9PCsYSiayp2j0ngodrpm5R9jbiVSuEVAN0WrzBbMAvcm0ZPGIcQv4Mylo864McOkXuZMrdwgZN7epZl3sgFLA+hp/Y3dQ7jT3KB1enEfgX4/1W057dRwK5HgxIJS7ssj43lFiftFLHZUd2P4HbIerQ0EIYQaN/NBbLVd+wTpHr+qJSqPDKd6YoYY3n9VtgEdAYini3dGVtv4cUG1c/Webeam4+TB7TWrdg5QQkbjMrlyikxJ4O81B2GalIVvJsaSvzS418t9amLjI06KYxGLXIld8WuUG5Fj4uXeCAW5zbJJ/aDN5sfGQeQ5FdXE40VZ/cwaIOMsRXuyVXfpuIioKAS5z2cy/sfw0sUBIbMoGukn9LEZPix+LTfqA4CAWKMi2loMgPREiIYg0a55ESxJo/Y6pbjAmVIYmqagqolAo0nfCBW8YJpAKrEG4va7t4aJjZpeCDcYZvUZmgHUkuNBGetrSm6rZr1mWyA16M3JTqgHaDuRwxajAjtaRPFAZX604zIuKzkYtpnxGv99vZZKjHwMb6FhTUTuhgXRFW0fM5p82643CvNYGpB2P1oL7/4WBZQyPXBE37nJgdZc+i045Sr7V2ziAypLsKJzvZpA+mNOYbd2OmPbA4cNWkS/TGHjOtrGiTwP4sr9WzXDHO/ZRF7PZm0suiCNj5zmEP5VD8jgNKHruLhFD/inNGMmSEe1PzrJBAOh9Cj+SYSBvOV8IWVQRkNab9a9S4md8ivEyc91up1nhoTnTJtu4adbpfu/zLIqEttYzkhAoe/632aDMsQNI87iBSiJUnTh228KY5Y/c+TsyexuGZHV1KV+9bfrSEqOHRAZ1q3WKODdQPk1+0qpi8ghlFaR30L8y9MLhhMsMnR/hVvPG+8wny836oukXAiPq67u6tqhZj99lX+3QevvylDD4bqgE5jqdgex3uBJM3fDTNhDpb9duFAasDnN0yJ4A14/7mAH75VySEdtsoDOdU5G29eO3Arc3uv4KFFTj/HbLp9NFX+fT4k58h7x9/uY60q01QfXmZcklIOYlqkCOQaVXv84mM0n4EhMFjY53OppsEQ63DIHfAJLA7mzdpHB7gxtKwcXk2TQqQQqAeILss3z/N8MEDDfoFYZaCib0P1EIza+Xsqtp2lmsQbByI+eBcpJp0SZqDXz1td4ouyjGkzcFfHxYLeAjZGDm3Dg1BI9z34otoKRE0mpREhRkPm6Nhb9Y3B69yLUYa9xIv4Hvl8ZcTmcgeS5xRZJDgiIZw3z0ZplusMg18shAOg/rXyrjOspQm2lmr9Yk1wfxOc7TjUqq5Tykv6W6mmt219OiceaE76WSkWmnOnw9GsO1UWVPr8L3We3EfJGDju3Z/0FriSMY0i91Zv7ua8imHsFmMICwOHF5e2ia/oKtL/SD9skXQcE0Wz2Id8b6aAfqC2tndFG4pxR0MMcll5DSUOs8WWpdQqbJPNevPOj3DpV6/kq+F7W7tiPM74FhAZWnOVzylqtChPa/+EIhak5exvRXDYWNQMjxV/rjqzDXKdDsl6Pbk7rZljTSM3ttq/P3oFAJ4KSf/Se8PciVkzXkmFhSEhaMTFVktMMP7E/S0a/ESBuXSYMCCDsbhdxVNBJwo7dwediR9Ocybcq17mcL/V1IQaolFgy/1U0kUqqQYdwv9RU0dPIjJJkj5vEzfw/ySqDfk2HpiYwkjEc7Z50AtmiP+yi4ZmEzu/WL5x4HuGnMAHzSD4l73FwIXdxUmHjFmnXe5gypKnSwX1W8UhxAMsZdBIKkHTMIXcygbQoGqBAeiPUOQYIDVdAVzOFJkjDNrCmgcUFY9sNZuhyQ+F+gGkgIt7Zfg4nINK2ERQPcnR+7B4zwG05CuIP9VS+b3c6Ss4FAtXcNRt185Um6ytfRjjOq3BbJUzDQWVwyr1eznxy65qq5EHv1Kug4NR2qX4FzMF6lPCv8UIwc7tL9bBF7mluOuI0XS+QSrlYwTQwXtJObnOwnNphNIqgLTO1+WkxK+AWtR9QZ9mn65kijsu8gumYKnvdrqxyRD/8AHznDEGmw5gZhb0yn8kF8TUFkpy7PBwSyNVL+F4WdBflhPwRCvFuhO4cN15gPcZm4A1tpdR97fKIY+who4izrlT1Wubs17OJJg9A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47294" y="1673860"/>
            <a:ext cx="8232140" cy="487934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47294" y="6374295"/>
            <a:ext cx="297900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Source: Eurostat</a:t>
            </a:r>
          </a:p>
        </p:txBody>
      </p:sp>
    </p:spTree>
    <p:extLst>
      <p:ext uri="{BB962C8B-B14F-4D97-AF65-F5344CB8AC3E}">
        <p14:creationId xmlns:p14="http://schemas.microsoft.com/office/powerpoint/2010/main" val="30481798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MW Sales Growth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Europe represents nearly half of BMW unit sales, but they are low growth markets.</a:t>
            </a:r>
          </a:p>
          <a:p>
            <a:endParaRPr lang="en-US" dirty="0"/>
          </a:p>
        </p:txBody>
      </p:sp>
      <p:sp>
        <p:nvSpPr>
          <p:cNvPr id="3" name="Rectangle 2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64v8K+Vk+elgjx/NXvx9ZdSkoyrEzHmwx3KjGGLSwAvHwzrXMKOqoqRKKdn0Y30k/pc6Oqymx61nISC5HjXiwnGqaQtr7Yz38SogfFXgj+Y3cY6l5pwfDdJoiMzDi5F2vqoMDDM8YQwzevMCKbNlPKNY2dJuQbYrFY67+6awQpj7EfLU6CwCKAl3ifuKriTlcKJo9KN70Q2raZdIg13Rrz+EDE32mZqrj7TtDahu1nMx+zIQxbGj1/d/HX9RgJy4z3f4O/Hl0I+9PBL4wo6rEst+PVyWShgKf8lyp+0hk/E3eFW6G0/qljqEwuPmuIWtYligB3WvwtdlVRo2/1JCS3pnAlw3qrdCYS4GfBxdgX0pwn9Qlngr+49L7IFdlZQ23U/bOfZzsx3OW9Ufh/gfsAfvjl0HKeRVOCmZd1XtPFYZ/7p3ECIy8Hqg/2PTz+a0hw11tq+mlgDcNoxFj90LToL8qTKkkPfws2TtPZd8sJbDkkK6bVrHXS4jDIATuyHbxMOldyPuvw1BzgnNFd6LIE2NnVCV8Plg7GNbBpW1Hu/yxUKBcyX2NdsoCuBI+eBK7ck0oHdBEh321sA2cYTMDPhKk5pMs/y7qWtvgO1H+ieBoQPSHg+fKXlFKA50qgp3UkNVGJ4TPkxb0xbNbp5GLuyQEFpbtToVLjGN8GBnRg08cKy5XEmqaA7z+m01DA66ieqpe1tB+OB9I8IZgEH4aLLFY00Hqp5xVIocc9UcWelfT0shMWsOZ3/m5UZvw07Q6KpocTj2ojHiOJ7URFB0FVe+stbTzpWsPquFk9wy5vLcCvvjpGmh2HbvnawgNxltctCJWtvVxoJRFzFlZrPejEepIWRoATKcgkF4pxnhpYfWV051g3Gjd2E4vmeBq0YrO585ymhEBhymi3zw2+BFloI2cyKe2obSYVHs+lYxiusaNyYgScNFHra7OKUFH98Lia3isCw4B1tYqXFTfNAOw+YN8st/+EaTCEN3HO5ghpMIY7mIkCU09VADb4uJsRp78TOnWQ2xw0KE8mi86rYjSLWx/NGdtqDWVA2CD3DhQPST3lEbjrXkLbEIFRG5mgzItJkQPRKkMwTD+FcWFHmM/KY1JDZlT0iKd44N8L3uACTCKnJQunSIUSWFYITrLRc4+0NoJuWqMF47Ah0rz5qv0vDKAEA0keD9ePgeKSwc2prD/ELmyMGohswBE/DoDD7ylUAHV0D0GxNuIuHlDxEm6E/yaj3lID0mBVMVphJ3FwxzClqntrs6n9/Fw1sAPvqmXTrzoPTmdnQoBczv9lP2MkOMw6ON64kn1E8CjdCB6RKgTPbDM/OZsm4nviQC1PzImilzOQzvTICOaQVfG+ojiinNI27HGfGXApEt9GQayVmrJ5fg46tVi3R8KaJGRj7HV5HwKY/2sE8gou5fSjtEx00gwKdSCSq9vsxb9/nwndLSMZmfwOzuFf9A8NukKuC0D1npb3SKMPCO/7t/CauCNrzL6mkH2exuawFhOfQOm/pUa16/sHRBIhk/hUcwnsv5QY22Y0nyN+sTTbeAD8xT/PQumtyDD5QwBRSH5xyZWJRIlWcvyGQqpHWueBtqV6b7kwYsn3BdfM55wICn3GVp1P9jzBYHICye9k0oopPuuEn059FEbDSvlvXHMi4tYiC6eC9ouXy1Gc6GqD0kxpkdodi0M9WuuUA3A11PNQPDkhRYIkYovNru0inKPuY1qiNPy+OFGEPO0fYYydbWdYBNuWpkLRfQbWbXUORuZlDHv+kYm8erVWK51ZAZ0NQT/vrE/p0KDY0YJlL23GjgJhLdcOGMb/HZk8OZ5s8XjMWxLoQkiJQPOSIWI2O0NJS8MWbODAyNkiVDCl5/qOdmJfURuj8AcVnZxB3YCujlwyQYKd6Y9qN1gNlwRYqK4wC/B8jxr1agbU2ibPGjxe/ae3N1U9jDftJtGZawoIgPRIxRD1MLIehqr33DHQmrbGch+pG0BPlB/rojlu0KMV/mz+xPw8Oz1t+gdbvx0wxyOdOUIAKKseSU3SpfhC6uSa7x3KXNxCHoyfkuHIXXCi8DdaHfESbGt6M92ua3/KwhuuLn3xUfAdeJULXHjV7eqkYw5N7yUKM3KkPkBE9kppvTMaQZkVJzC7wRNdd5niRDAgoRyV73JjkVRK+KPrJHRvIOAoGPQlf+/382JpiwboKWPF6Qp+9rNQzt/vAiPjKgI8HfUDQNlyw3GWFn1zmgR9N0b7wEDCJejC8BEj1f3J9G3zSCxa2wJW110MndOuRfObfcw9uHUvIEOIXuZHHflL4L+OrFpzA336uj08PcR84TZsF6eVXAKezYR2FrS3PxMN8VO4f7s0MumP12KIXAj11b8FByeyu/E0Q9x8agqA+6AmeHmB6XlGafcnPBZFfBjSHs4skW4BYP9DmCaFoTOq9dYbmKagkzm2hFuZmpgBHbVrjMV50TazwgHwQCPl9U8irjgYLkk/fb6vkjxv8eZo6HtzMk58yPY5UO8q3EeUxZGsnI6tcxRB27j883swnaHg4+4/h+HQqVK+B9WQ4f5XPgyg7RTdgjdxphV1If4MqJaKC+YKBBbj6bJTiyb2k+1EJz0NJEk+XHxhihMekf6YmPOodZYZUJqUSTipkmB5a5mw5x/J9hh5CJcJD62owGllgDgBVriDwU0SQznChDEAoDgwJZN55kU5t7W72vn/XylvjvDBIvFDKDcIpgR46cS4d5S3/WAdOug7GycUV/A7xpA7z8blgGDzvc+sDCs2TQTsEEiyw2A2OuJ6fvIz57kj83TWazpXVclb3s1g87Wy8Y4HRim/6+ktF4EiNcGqXbqJRgzbXJuKfkHO+X9PwI6lV3vX7P08KaKDolhfO1BVnfYUqgIM+urdRon31RNMtfA47oEEf3S/HOq7Rv6i6mUhbQc+dJo69q5Z5ZCjeXQGycNWvULP+n5A1fOl3uXQMd+hflLK7ZZ/RNwYfzamlNQOlX3n6Lgvxh10VxkQboVKW6/qvdYzdh/D2Qrj2nSBKnx0Ki7/kH9AqSm9/leBruVZBeA0WGqjcL9ITVzwRBUH4O2sKjIN7uAB2W3yqGAXKUT4VfzhgK2vkK0yqFQKHn1BRupDswp5gUZuy+BWvTP3MC9+eLaGXAkLSedUnKC4uPNHy2DhId911ae/qxO+OO7Kcah0GfTJNgNT9kK0HlkBJjnjky1wan4mEKmCZRwA+gmI12mN5t41hWRAHObja3rQ9qOYolt1+Z1CX3czVnFJjzEW8GnK46kgQpOM5iRd8lFApSMjLkmO1bWXgAQVL1mCoLX22RA+Os/8Yagnq8wWc2+dnR17V5LRJJo/R5v2LwBv/BCNAxbfF1aMZJR7wgaqzknhzSN5XPWadyvOpUVgZ4CrhCod1xPAJ32UKKusPpAcnkdGI68V20snij4QaAoRXYyRzRmDMRpAwdAVRT7+rl+iZLkrxNhFwfNqHxVvWDBaBjwJVpHLHODfVQ16VHYLRZiD+5JKsjVb+/9DQtQ9TnInaER6IWA9h8MWdS1UoU9I4Nxcn/6jjS4TcztWcUVWNhTdJbtLNieAY1lJ9Z7tqV7CtVihchxl7/NdYtWo7BMMmzOp5Wgzn3ChAnPJ4YQaU4KpcMlkrZRWU7EnGx/ye49C0Ff8/uZdqDpi8PsEtChC3XzkrEgXAd1yEX+uKNn4dwqwdj1rDWACeq6iasrLJiPbcH9zTmWQrWowJHm/xv8YniOsc5e4Y6TeQRJtFEI07pDu2exvWCHWXTea+mQkYEZtISky6nV84f47byGP3Xkc7ycbyu2bqW5dpo7rXpcqNOXSmOwJSZR2QFpKlF6yFA6cMq654URwL+xs+6cwUSpO7mFuH9kbul8p+2m832wmI1nOW0yhQQNvv6SbAFx27Q8UGHUxvguzvSJdX28zDf66AAlz0/+ZA885gx5pjmtsv6DjmL4v6fuRsPE8QQj2rwk61GebzqLb9YkxKPrS4X0FQgSoMn6sp4LiftjBAXGlifA7p0OhsbYpVV0nPXcgK9p/bD5FsnU+xm/MSIBJRPzNj8yJrm88YY5arG+NI35f7umGan+mMjslv6LFfWPERTzlmxJG1lflzEzSazQQ1lSJf7jjlYLE8C7BVcNEaNXL2gBwaSFMJy+SCFPu3VY1S9GGp/r+BoPE+Je8yhumyQfjzVG02Wd3cjaKSbIWVckLl+RtW14b7BNMK2agFB4z/16Ho/9pevsJXlsMN5tqATdsayVSWWeujWvHjKq7FzncrUZNUNq07AcCkKNS/tlg3/9HQ0jYG3YQVxpEmny76q9USK9eAdmy+bjmxiIr/eosUiqSvuAPHk7ZvGug1zCov6CH1ib+f4Ixt33HV5/5HsFhHs0ItEM90zZDMdtIjo5JckVO/r31VTv3qCAN2I7tCBwenrn3aFihsW3tkiOI+LMQLjR44N/4n12VYJwEocPTC2Ll1Hyw8W9rjmZnu1bYuVSucPyjTiQ+FK+jIAJcnqba5FdQdDjL6WeUJDI6j44F4oEgRzIYnPP99j6HcgLXPtklh9btLR5fJo6DtDt5ZQ5fzXwiuoRDMNxV+hDeMKf39Qwa/BGEe/Pe4N9tMwHyQkzOlivaycnhnibAdfXeOyDzjFUhN6YMFblBOg3LmjPG+Vb9Gne0ytPUET7dAFOLxwl2byiEnSbBSDIcvVbQlEJyV+6mNsAbVWCoUrmFvIlGLXj0n4oq/2DsCasOGE1PqhlE2ozYLsyk4c10D9Nb68/E0Xgf2dggDNpJOr5iDD8oguauZSD4h/OVbs64akq8sbtiQkLZcuzLZ2HjlxR1cqpvBsJYVk6tjSoGCZxogo7hGEx9f6nIizRJpLkm5CfE/RQm06oBe7tEXDLN9tWLX85WRHr66CPWvH9upyZW3/LxSKFciIna9xGRHY+KUqOe7mavOo1r9EutwZ2uFCXJsZPnH1lS1N3RpIixgM+ePop5ovWHF2i9K2eO/UOqBB4cbSf+jleBtgBNex+j//C22J9kvtY7mrXEHNT6flB3ojOHGuucdwuHBpNmFkN6+AvqTtrbCf3gAcZKlgtbvszOKCy4h+oYHPnAMM452TPRQhxAPEwpAIMVCnh008lqW1yED+fn8pkdDSRKzcytszIlLJbH5tF6Y8zy9fCPoCrM7q9U73KddYQPLFsGqMquxZw2B7ATzlTrvURRRsRKVl82+1v/zj3sW6y1O78ckRaqVFi58qSr22Qi5TSgJ/ui1mXP0flo5q3VkiVVhoiDYgQq4AIkviDT3HOfu0XnlJKqu5P7vPCnvRhwPYFoIipSuu5ICrhrlr2smnT9Ly6IXY4wBF0wb31YWudJH147HMPtUTi0I2gQ0bGfyM88jBpjc01yqSeA3qr8C3aUpqcfXpvNvv0hr6Mgm27O5bZaG4G9bfg9cjIpjVBHBjyUxqp9eIEHoZ4pDwhs0+8Iu1au/C7PgKJTsayLg+i7FzWnHuS9lx49Ap5iCuNISloRZC48E4YKJF2CFz2O/Ln/9PrbYqVmPxGhX5iIJeQrrApepaX0XcyJnNxrbUfaXZgXLh0Onm7dZAuW9MDjwTcyNLZw5RIKAHp9rNlA2dcOnZw3zeKHBBW0J8qOjR5WG1hLEoVL73v1/Njd0l4pTpSNiPg37k/NyGHNX+tdwE/EAJJ8zUEkBtm9XN5U5ULJr3WUz1aoL6XuE0t8TjJIeodrpzhDpFmNNHUyuI6zG1NV9Riurokoer0vzrfligTmur73gHzLP6wbwO0gEMmYmduCWl/YwjpW4DWsYjg7dGpeEFnf0pzYksu0i9Fq1NzXGUo9v+dThEOnlBpGIu/6YpV17Kp7nwEKpyv93LFTY7p2/7wnaBUfH+ECfrPwOZaRNe6tnAB5Th/jfTb0tOBNUwRpu2yGHr54wjzoMhgG6yjpTXoZglpMJ+dkiWnHKg2Pd/QCTjQvreHeCpovpLbkqr5f3GqBNK8LPA1ek9NLUBRnpKIK29lwLl7T1SXEwY8NfUGyVTxyNQPUjW60DgRvFAqKPVBgXpbMPMpO+1IXkejXhVd1xiudqJMr9OWvwW4tdPFlwdZN6e4lbWZVgEeLtzn+3MC5v8XIGbNdN1NGd5+X/fJlPkQdhAHnUjTUCwPFB1F44mzY4Hlpg30rG5+IX3qjLWMyBwqgQY0XsHS4cmlj8p02ZAK4DzeX0yS3hv2dxIXmFb209PgZxE2apJCa4iUt8DnR9arZOuw+F5CtqPqSi2X1Z1aOJYiyxUAgAvxnhvcPJrKLBfOlnWYZDOpqvbn4iOWR7WLRZvhSj5TpzeHSak4OT966rZ45ujwXw5qVEiP1uFp8ZzHx7ofLH8wj1FjfKKKnGrIxmfGL9r9LpQ4Tx5f+kXHWcAnNZ/wTJKQzrI+a89ZWZf7f0c/F3kMycrNd17ygBIRu0iGMQPx8abXJuGu2guqI9j2QDzu6KnnTPMUGUii1sL/DvnyB7aJWw1IT7LMCfnI/oxTrueQBp6tAMmxsK+28trpwWQO/a/fdQhyEDpxb9JRHn83OV1bm5vff4LXXMrgj6ZqUx1vESgy6Np/B5DMbgmnV4ehISVBudfECxmLX1BSXJ35c1BB56dCJ+D8415cXB1fv7LqTtzWomCp9VEzVYmYmGSvsCPVo2R//vEp5S44/QoVAw/AoUNrpEsA4b1vn7zHYiAJCVwlKCawJPvoaax/czrQIUemWUQEkDWnzWclUDXNW/fZxh656huCtpt7UWxQnGNnQV69z0TkhNmoRDhyFjsIrhz38riOEP2LwZhtsNfGevQ9T0I+7tEiqoI3CF2anbxvGV77eKQbRvVV0U/2sC0ADPSz0SH7jNvn/EBuXloUlWz+9DOghKUsFPXUrcOQsCLSz4o3xdUj14z4qT7uXB5v98LreqnIlBZDsW4nJH4umzyxCcGcfeu+WrcWvwwkushGUykh1kAo6Hi2y8RKx4hoQQH0/oaeyYRjJipQdmTrmjcFgvsViUcD5jBpQAVtTBVPGQErG6xDph2UwwIYQsIO6FT6ePRs9Gi1bxamnEFl7v+jXAqtWoKDVw3SD25Yl3mh10+tu8a9eXEQT+lQshjD7j6lxPhZmRA0zxMUACoiNIrSMZQ2WXBrK2lJCJDz5uLLeYzcU0pxk5dr8tGwvwXweMGkImo7XsEpSjQC4dp631g0M80PHcgl74gje3AwS0AXpIZzkREZXg8mzc9E4WW0OLhDGOBOQlztBVs0tMRV7ItmxoStBEZ239qd3BuzHG8WWmdhj0FYuMTQ+SZG71xyMFC0pjaED1ZljUS6l4Odqj7y4wFxtatX+1A4O2BDbfq4WJR/BAUuH2xaCayUEzzBguCJYQGVSCMgkb9i9HqHxBxNPyA+D1lq1tXBl2X0N3hdORYtzniqZX8FdRs59qaVUJ9LZY9V/qI+/F1E/gMISPo+DWkMi6dWJ3SeKHYI8a6AxoBWzWxANx+INVnsnmIGkNsMJOEYa/+5ROugcqk2Iv3admRdPBUVIRiC0Z6gdbrXNMc/ejAPTL/eDBhmZpJEVDipXNkXZVILjkIAmrSLu4xaqnnKbo0/cawYSFq/Lb+uTD9GIpSoEYDx4SH89d3Io0lcu3jlH7cez+z4wS3mVjGIuy7V3dNeV983N1K2u05ScPUze4HdiM9Qef9iK1TK8M1vHP2tlExdVi7jWqmlL8KUs20svCg8yN95cxE7p/NsTaZXrTXCAnZ7ueFP1TMWi8z61fXC407ICDo2dFsxG6R4D9/5X2sGfo5bOfsSIoMZsknSkv0C0QYZGsppG1369f+p75tuV4olAHVhdXXGhS8e76hsmb6/4jW4+vyNnMCDuUxS886i55KK9fw+ugj1+fswcHO5IM3lXLL/18/yHgT1lAck5WE3fxAnUJTJ0uLq5yZWNDKt2XBje+yygDJ/6MmArnQXeF/J4Lotx7VT+l2NDRLOsNFMbnOa7QS+Uf/9oZXRzFPZ0++X3l+xLh432wLO7RklJ6+gPU4M5ZLaKp3XDru7CNcpxCEt1ZAzpddYl4K/AY2Db52rA05FPP+WXh2gsZO6fKW4sK1oKoy6R0ncE3b4ax5QTir9SGPYR0nYpyU6B3O/An7HKpDfn53CAiOv4G/3CYtZ+2LGofVzC1gzx/Mx828f7WfKkj/DycUu2XCTKoaP4EMNHCOwbacFkBpHmphD4cQrYvnjP98BQvw0OtHmiUixosx+xBJ+lQ1DP1ZTdMBa0zhvB4fCdm1272/61rAIsvTGDPJmZlRZ9pG7k8dSJD4gBktT2c7FzSv1JWDwp4BQQcCDE2RK8MEIzJ3pk7HNWR7KX/S30LBr6lKqfVTpetGYKkAKtXdZ+tz7cWRMobbsUsqLolqcrCtQNjDUQw6hiLlpMPD21gpXVY4jXBVM2jUceHiUPgi7ZrmOt5dbU1trmdOwIZhl7dFeni5Q6yFbhHTma3jvPYFH07IDsJypX8bj+4zuFSc+BffS1zdh23JfmbTv2iVyfbqfthl+6iMbHB+drurq+JWFyhXdAeD2fs391FRNk6efFk8olBVhXl7lEQqPIa4zDP1obWORPo6KWmkxnYQ8zSMVmT8U51t31m9UOeYCwlra7g0d4F+1vd1I4Gfqmwd+0XwkEgB/+ewg/bauigMhpE+CDlHa4LTjo6HemijCcGvaoPBoPNliMFTi13GYYqvjlJaHyl7LX2Died6HLXZKa1zqGHWqVst+hxM18ePr/bXu7EF5Zv0aH5zfno+YH2qUyFqFKroChraUAC7cb770l/eZAvlzMpLz+BCCE+/SYYgQj0T/oF/YpON8TGJlsuv5IenasZ/A9rKBgME74SpV2ikI25Bguu1U+iGp8H7/fvBVqXSmEiEuQ2dSGuYTYzLBNpZaciTmOH7fqToupb/5Ju1z8c3hpAO5a8S229e+q2fiC6VbiupVn17CCzUJFJ02ZWvHXp6TFPGUWn0qLrHWh25YY4DPzUnGUP5XYtcVcWi6NejkJddG5csSu0JaIkIX1KWs8qrCkxESwnn5uJcjgvpT5WeQXPF0/GfyDLSJPXq+4RYh06s+0bkeL3FLas2IWeVTPw/FurIwV9SU2/r4B60DI0xG2CIY+MWjj6Mfdqi18f+NXUIPuPIQnKBSgMPjP5FD9KR+4Fdzo/IOT47BYRiSbZHWQBLQwSNLrkcQNIFYQPGXJlRUlF7KR7Tim/3K8j5OeNtStWR9DT1zI9R6oWBXtAcrsYWeXSwd7EobRHi01TcwjxiZUeIMP1MilaGU8SQfQyozCwYRXUDbz86m0nmVn1HjlREdVjZWlrWED86Yauca1Bvv6iucrDlE/SWR3o3sPAYKUtgLHmUy7UhZpC6GYpc2fANw5n2c+Ps2Mk3sHih8J3BQBUhD9EZE81zcV2KR20MVV+lbuU9AT8/awFKBOJtGWg7VIAqmaAO0djpACw5z/LayhxQ7fqaqwVYPgWZxoFMSE7qc7/TKqyvtI+UUZP+b7Q8KXwoFzGEcztwuUn35ZlFFJpoUbZ4C4qhRsIxjZQHx+IVEUwwe+fvKF+y+2rNyDXGkMuDgkgJxAtl8+cD0phRqHWYEM1l7QN2S2yIjUm7m1b2QFXRPjPBTL9HxbYO5s7cGW+lLpL5bc9WM+QuTSETLafvvE2A2YeJkSpl5fd7bqBXmC0N4RSmVsYk/FRhZ6fcoSR1rtAbTZRWoM85/f8eY7bWk7lgB1or/xIT3tvTMoAsGZX7RynhRA9oAgauur4apcDRlm6Z1QKws8+yhgc+oH3WptumqzGBauzAckp84Mr61i3NUuTEPLNd2ggtGVNQ+io9V8lfU85Kh0DuiHdkvTwUzh2jBUP6tas1AwcKhSjwPJsYPLrFsQLbgBb5XaU/6n4rZBMmpU8bEcrKz/cEID7+gZyIb6CFST1c0XtGJnPOXZb1+FBiQ9kOKDeTbnbvE895rPrcmZfmOvnm+oRma0aiMQgfNBr2GBIy1d3AZoZGeu9Cftsd6SusLdq4Ae7xx94SRZpti6h+xDOzpEPZQd0v+9ZJ2a0TlVaP0rrffs3KqqAJRHO7jy+TDQ/rAQcgc7u0C5AtgU3R0Mx/AQtFoZvd7dSLt0m1UBJHZt+fzz+l+ZbjAwUFjWYn53cuHMPFmoRwv7zvnUKIlw7B7F6sRxEf7QgMn3NjEIs6lsBpzSq42i6/BQls1v5Fva6nesY1ZtRlljC0PyBjWwo/xZBiU+elH5Nv8jwJx1Or5KiveKL3nXyxJ01SdoIS00lpaTv4tZXfO+WvrckuS5JFdCAYALqvnOqaxHXelrg5G0w1YmcOTn/4z0F7prL+pvPLGwI3W4tk+81bkl87F+V/TT4R9v62EhumnG731uQhvE+TdVQQinBS02lVv/kfrzZvpZq234qAmBnWPBHt3QeT4tP8BgR1UYYhJp3+TxFzE8fAvOiB7paMUAP1nTpMhleYQSzShonjj4U4p1PkA94AyUo+SYbDe1/aiwqpkuOhKmb3HtAZfWXJ306eSaD/salEdAM+yIDZVm9OkWsL39690tPIctJIARtZ9nnDJiropweDZjrJT8klkQMLIRWUcLUaOrGYwImuasDdJUaG2xifvbjoW+i7fSUuN/BM6wQ9tukshC/loRY6cK6ml6D+XupkOUecSlcfVfdqth0ZRYGI9vdOZKZeOI8RR3ZeJmzdBWIBq+eJprWWWbZqrCA8q6WS5nj+A1wROmdrLToWlDNchXT7js7ZXyBTkj5FS4v/GiG69j/CdW1radZg4NSmtYxjUlMT/JUPHNW97poVTZ2MT07HHkx06Ke9MQpg4omfvW4N0L1NRMe6qqsMr1MMMcRDcRaUIF5DiriejB+3U9+9a4e5qsil1D5BNF1sfA26xhCCXaotZ4cWBzQg0ssR7oH81vtIhksUzgEFDWtn4pH27wFbQkYu0i+l6m/1ebBPhXCJJpB47R3WM3rW9AaIRe46iGinTfJC2X3l8uvvsEsO/ojkLIpsD98O/b+zEln5q4Xi5S1CQ8Muzc9nqfaCVEkPuuZeYTRLw9XSEaPBdDBvy8zMJv0r4avJ3WWVaRD6msS5qdVEGaBB3hGjM15FJ34j59RgEoZ0YUd9IIhG8bdzdWb1afbGVCaMb9+a3HMI0b+RDXrwklXY9eok54DH7tG21y0CAG43fnf6lWVNPxXv7Hsm3fI/B5XZtZFTxpQJjzh77kgUGHZn1YWfuaPysq6d1JQjqjtuttvgB8wn03iNRdiEzpeS8cxHzw8+KGc0JUyvh1m9LUqciTqKKgZcfT7inwQvz/V3DTnwbxKGAp+1MvrYvSXXUsL505MNBOtziJPj+azoT3+AZcEyUsFwVoXgfSQZZRs4XW8WLTQ1U/s6qAGXcpBpZhUiv357SyFU2x56MgYa8jBspELUdXWULRu9TI9xozxOBo+qWjP7IpdlxNpID7jiHsBV+Eaxsh0kLr+xr0WEqu261NrjeSNrpwIhgI8nSjpoNDsicOxozG1UcpCq2SoH2uWQfdksQy1cjoRUexMU0fmZXhk+zRRWVQABAeLHtFVx0Tcx/rjXvtogr2yIaPvT1ZZyuwFj3I3FoaM/5pTrXxkgPZO+78zwBWT+j7Ykdhxkq3EG4IzcW5XltYTGkXtFdydK3bIj1+Nhk6sc/fHUouIhbP9H+2o9+WHQXpf/0tAt4S0CpkfCaNAKMM2xgVstsdMlJIlIU4ygSqouYpRBID6pLRA+9mw9BJGvxQTEp9XFsN0SJDtFV/RAfWu5AIL1E/dNrwH5C1I3K/unUie61UphFrF2d18UVErdaKQCPYNHwj/voJMxxN2fD5j7cj4QPBqYLKjWIMestowpHcE1fyyIcdrBY5sbwt+WiaIoKlohX3Tio/fGR8R2aCBfYXRAclwY01W+SzCaOvu1XTY2V/55Cjme/0j0P6GI7NRSA5aEECthD2ghS1CcVT/LSBtdbJzKwN/V/rnm716bY8Kb9/AW0Eg/6XU64SbITpjfGA8+MBGCedYbZzsubQb1EInjyLHHEgm0p2KFuOEfa3wYafriFahJ2dG7PuKScYTGqryo+h/mkHOtwiU259bk4pL574HXrvCC58Guyr2IJxXADpMd1BB7BLPVDrzApdnW5ViJ2OQ/FbT0zNXxX5cGUUZi8mfLWOk24M3d/k4H1R1qn9hoqXQHDo05lDLJ8ZzZIgzIoTGSx7aL93M9d9m2XLw+UQ5z77/MWDZ2R8wsZ812C702BkUlo8sN52LqRjf1BrKBjdD6h6orRxv6BhP5xsfGVg0LPIwzg4G67tpZ4hLzwiovQP1XFmx7T+EaOvpCdNq0SQ/D2G5xKv7XgyKFWdHvomZabk2NVW6C/zyX+cNJ0W8rX+P6ityuLISQpevesaxKyWBMTbAU4Wo4Q5YIGChqh9udxO+jbC7L1jNLDaMEVXzgp/JoRadGERbTbM9W7t2oRhTb5e1dz/ni1VTSMuT3j9lG87QG8Fya5B1iEsG3FaxhR9eTU0ONXLhy/QH9rvGea+zngRd5frqeBBO00mm906qaUmvjXA0fwrvZIsx2xahJFY3lmK0wZELmFWo9/ORe+H10ZNXV6/nCF5KjSylMYQnuEBU6B4J+MuC0yCihd7mmIaJMYQ+kzUfaiVAS+jOLzCvgChLRd/UK3uemWqb0kpvuqeynwEqqpZNmqZFA43BaRAsBOgn8b6YQ4OJizLqesf75OrarRtQtDq0Ji6w30cY6eBJPVXX10jGS55HWFU6xKth0wzTDaHeII2suCaGfBOmgh3EBlWb4dy2/zBbl+0Q0u3aHEjik4FW+QQpjF1zIhaU9Cm1uO7CN661LKuidya0o/GNms896Lk50pYzwJefl+CQdmwqGPhvVUijc/K4t/0sgSxV3tYTAAu3rH2oxx7fFwCLW2MUSc2+1zmq/U6wjBUHLgh3+gnQE4kKG+ziBFzktTX97NGM9Q+rmMgWSiYLT/tnhC0heKC10eMJ84ajTTmGRHbOND0qUffW3R1VybSULNya4XmOiQJGCdruMeu/D1+9IH89OlC+zElfUbD713hC1c2ao41NFxH6ry6/UXgWhj9pVooqj6vFL3N8+rpPcaETlO2/5CdQ6jT5Zm3z3MC958vczbJVRnrDw7lIv2Ea+NWTdc/tpwBiHU2HKpbvdvOIiqXh5sWg3lE/sefbK14B8ytUIHVLPPD2XLmJZw7OueQdjxmWgIesblopqUZirEk8fjYN0aFN+fKtUzSHuX/cNpPzImmUHQrhjFdfKIZP55oaIb0u4iZyU/LR+GCj8qWVKnjJ9NtqOj2ikxbHoR0kh1AfK/824PAkHYRJCAitqF6HMyJE9G5xypO3iVg1eifqKw5s75vP5ddeWc5zIKMd8cuxQhr8lZm5miwD/mtxaeFRRjHTG0uoPythgYjnpDiDjeL1NopVchN0XdBkNU3byrBtVZV9OHtYAaY8+mAXvWmVNqlp7jHKSZBK8crgP+GQSlEw9NKn31Q7wPdZ8HStmYSlCOGFSWHLtXJPJAJzoXH64DSYnR5D0EGxA1rsFJ9uEOEWEK2Lmp9eC+IyZHwh9wHJZVnR5M+UbhwID3TYSG/y2Er/KdLG1Q4d1V/xuVAZVCr/cPGSmpd6GzSKuS064Kuz8oURVEQ0tO2+0d93uz9lTSPJBmUeclkOj57lA517EZcYtqwb40LyrbhyK7dQ9dnuYIJLCHPO93i0XmNaG+vhK10cU/pd9jgWwQjAXkvDi1vxDhREVVFlJbshf0mLn9igOsgUbxLE8VkGd8CBNnP5IqP0apfjSjNd8k59dX57zBDO0pajguVp3EDlvl108AvAfKWb9wbdQUt6JsC9eqOhwyeQElpWPRpWx7FGQrt9Zz6gxsvHbPIGVf+wouoZAImCfylXSSCQ9u691UzhZN9fPKoJEnDrWJRsUsfyOtx1mhVil8u1JhrKMAEM/ts+4pkm1krp8egse8V56BRdmdgkIrHo/DkpCm5lHTUiYgyswC4UQ3hoR5eaTFHED+GCNqPVkMZSH/OySmYhtuGOaswwivA+zKWUZFhB5AMakdL52vKRsKnK410B/Ix2qqYXnTl8JxiUXkno5AQsyAxmeaRNyhbb4is6Df9HTT7U2HgagF4rWx/ddju2dqWIQl/3uZ3mBKQsyjElTEGmNSxc/ib9pWtNdqlivfAMQmkWmbcnuS/FJYWlqriT64LoOdCRygZy+RwZ/GTPNrne1BVnu65WRZNIYl1xnD8gyTwOf1L1lgp3h5PYUqMDPrW3LW+eU+7bOZkGv+sJ8Com/xParsQgM9/xShH7DU5/BxbqVtw8DO2e4RmKK0T43bxZuU06gurHIg/pelHdTj5tSSlVdzldUHC7Ocw/TU0V0V02xJECRBS9ZoAsiOJV49WEq/hLNIjJDaFhVxxBbO8i+4CMcmMrTjYv6TkgEV9no+Tfux85olIVjMu+6EGrNtq2/3KlVhLd3qmrcK+sPfwVMQvN5PXS1UbYDUOVatm56X9N5841Z+XLRfoeF2ZACCsfp+fyN2CWhtORk0o/N5k8L0tLZCaY+1F/L78PFJaP5ZqwG7cUTR2guRUqMdfslgPxN4hT1EgdduAl1AQ5td9CFWTizmM6t0CvBk6JnNV9eV6fBhU1jbeIYAetTOUgeVqyY/mIUyQcRrR6H90z37lffbu/qXvuRc1DoM4AKDg9dj2WMKaIzI5ajzL3PU3Wm59+p1IbaRxIZnGxURLiTiCwCOkz0DDQ980g/VvzS6g6Acibl6dYZGc6cWs9IrvpWABf7OjCynKnsWSv7TAdyABqz9S7vAJbTVVogPa081nbCYSTh5lAiQZ9lNV7ncKmm5U29S3jIAiw2ThuXzD2Kz5PKxCexIQWO5bNlfym9gpBH0HQq75lmVGpqke/E0JKjd4xTTNgAf2tQP9PM/dKGFMXs33OeviRmL1SLzSMBTABLs47n8NLYwct5XCvS2/bvH4+XeqQWR0ykm4hcXXpq9/wK1RdnqH0aM6AHShgzpvBHr1t/H82XbsbGaaK5FRq7f1kBUZpSXdWMvI1YP3WywsQFmpTmYgGOeB5BgsbA5s6P5UW/uuH01Uw84YdZn7K3g27C9Uylwp66wqufr+Q09znlzJfKnNrvflTnBx9z5+etE5pmpDOt5bLqCbF/IYVFGHItynFDwLLCFLKoPsEb3uG2/xQ2aF1uLPQJXL7thrX/ucZbedav1e2HcvALMYJ8cT4EX2bLYNH57TsRLhzEjRvuFSEEtxw/VtgE8ekGUZPaCbuOiveQsr1b7RrNdOwDNs6/7F1tdWQ6i1gik4sDHAKrqWrKWV+rhSOU/FxhzYN5uubmONMPjDQrrgF8ph1nQC37YvfRjcdtao6bpudgdARqFuAMPuZx1SlJbD/kDxPbT/Y3xGc0Mhb1eA+tTESRXO+O0CH48MNPzCgJjcIioDYNB0AxUbPzbpxnjoflBRnCqIFG870I8ZoSqHEJKZtltKMHjrdTlPpx8dOBFa5yGpFG9rSWrsu31Ffbq6dPvJaWoKnUpo9Qww4sGiWc4rH/9CR/YSQfwUUEXNu09ATYTQkbBDhoxUB+uG8/yq7thYURLZ8W8kT5dpfzAbTbaYqYCugdCUclLSmOUbR6WbdzsHnP/Aa9SiO7YC7Ac/2uuPQS9JyEyuuf07Al6YkaNdWt+0rOINMbZ8+AoJxnTl7KG+lR9nX7HdlR5t+seVglJ04W5U1pwi+8q4T9+xiZk2H+iNsHUd4W5CEbRovIzuSBDz+iS/59eSms9HpdFPtNVCaOyKnnA+MlPrd/1A3gJAMBCp4N3PwBKeR6Gvqq3roYct4SE9XCcmz+XqZcOnSdsA2vAT5kHUKEVT3yz3xX4PCo6TYEqMbKcBKvT6z7b2xbd/aAhQDfQt6vk6EDPBId9wsXInI45Byb43KAdm1qQeI9+70JdMqofadbBMQXLIIxr0QZznkj7op8hzA+R6Q0VHP+SHtwzSu6YoiJTJi6zSen+WiArGqP6MAummeaSooc0t/iLKGA+FaUjxODN4SqPLbCAAQC2P6demxMfezJMZzONRor5dGky7oZ3lnJSw7rSj4A5XcXY8DMvgLJAIS8XPb1SHsqHVliIG6iJ6zNpqFf4ppEH+H1l1+yS0+BYq8B/gtj6caqCnalcu3hNDC/pA6b5TuIaGsWfNih2ToNO6x8rn730dN+F56q6lGdYK95BZdJ3b7eTY0xFuNd2koQuJNM6d2mDWoPtoG6xoku9i+BGHvE5djq5qfn7vSHAGIFUFhKWX3hisvhE9ttJTiWKMRgMwFM0Y8bu/1s8+utE5sp6zg3Yt9jY4STRMbWwLPxEPC1MDxcZ3h6Rk8tJetPPWhS2bv077kLqxvpINC9MxMm22993bw7mo/ni4Re2YIWI7acdvvfPoIM4PbRU76BMuBi/vtvBtr8UpuOKtePRzyfwiihaWDTNJdpNyw0NAR5f1nkSDgpFcf3hMX1C9vAvY/TK5Ziw9jzF0JHRmV/N9cz0pkISAEaOCFfjlRnWyml5xKhcIrSDbt/ZEDfAbnOcr5FBufnjH+cqWBFshkQ2g+aIs2ptDceB/inlSiq3yVB4Ab7WpLqvB8Y4VoaZI0oUHnirQQahm3ZwB0yECry4S1Rvo3CmofcGzPxZs6Aa4vs6Cvni+KSHAx6fwIDJXA5qMqqeIm55mD6as/WapifAkLPxyRgouW4f0AAqq4ZVqSJLxT9gUqF+vbMCDVYjrQd19K27VUBu/VEw9QctSA2YxuIBJJH67N01PDj9zE0OaVaupmRBvUj4XegaLKusQEo9gHp/5Rs6ktsoA4Ls4pCY7MWM3NIEkEOzZds3He7KtO1sStBGn5WXfvrIdrvNNLLx9+EsKQ7/BVFRDswPrN2T7EP+knUTSKiK77WvcIrWHXSMlkpHKYlFr2rhfH7ZOODoz4Yze8zDrbwJinmftTPN08tJfJy8lY4oYuSuffs70WerwbTMN+1+5L0qhTu/jgWCCJ62E006uTcmp6UsmjQNjCBL61OhHcPpG5icMPLu/kz8vAcy/YFhLnUJqVDMBIpxidkANBdxiFNiKdciRQVLQ1tCT/rx95bitozGjCoxdKZn+SByBPKviuWYjCfiUZ8pTWU6tzRepa5Mb1kJiN5KDRbggGUDkZ03f7QUQecW8lGanJBgz1wfRzrMTFbxS3dfcM0VZxuZuo7kt0kvayjDB4IVKgwZJVUDGK/Rp634b14yTopXEaNYPVx99RGrAS1IqLab5JQgiPX6B8GtyrphYNZlSPxJ/PlAc4iVjvnhuVoFeIXPU7m2TXk+e8jKYsgAqDvGYC1iGA1acylzrhzh/KWVa1ot3DJtrmt6AbWoNoYauz9kMmqqcRqcTwnHXLFWITHeIGtsi2x9PWEXlUx3C7LAdztlA2fpFHLK8Pr4r1qFjfqbrZc02nqECyOib3Rw7LW1M+Oo9aMWqycZSQIA0/GsV9rGb58qsa6nVxJNw3/iC0eTfXX0OEKQMZ44GnYLJMddKqow4y0QES/wDBVbD5VdAlrK+gWmZmQ07rbKUCYFwhzm0sZ4tNpXGdIC3aoynxMaBOlsyvHKwhiFkzweyETgenpFXOQ4SG9vExZbKtb8k36HLaiSXHBGVCtjHVXBYuWCAKB5KeTH7u+Jfr9Nnk9ZlYrXN+IptbkTnHrxiFgIb6Hf4NmO5Zd3yC82vmCd42jvGtCOqwtjvtjTCLU98aiMpjCZjASW9Fr3mX7HVTdP5H24SUeLEuvHmnJL+tWA0nqNpZuEJW/yisYI2aHIPGHtQW9KF9rbWaZYUt+vMK5Qit7vz9vHZFowtaP0M3IyhUwqEYMJab0mQNAkdk3vTHB2MDk+77VRiaLSgPDZoauaqqY1pp7EJ528ClIK3RdupTVNCoQpji+ZaxSwF095uh971jcHl9kz9QA4mnfYPc2JVvxdYZLlGxLdFZxF/utcauic6NrFGERpf1v66dpQz2cf394UEaWBT64Emm8mpj82rDqAE1DhEODuc3YicZi+b4grqalB9vFLdfJn10LR1gYdddLzi4W+AMFp17khwlmJxwHfoq13KS/4SEtNWK0Pt+1Tm6UEr2o0+NGUFP2WzGBBeAnoMjC6PtEcuZK1+WPU1pJTtIA2I6lGQo3CcegsbOrQXtZfzxB26MJMwZVlsSvAA0IdyXwjrRrR7PdjfYYwWEFXRaLztnlM+5JRAerbWLrg8lYY5jnQe27VPmdPW3OzEE2BkJj2tOFyMWDFbWvco5KP/qkd1BK6NsTGwPD5Q2axlMcd9GdjErEcyZspiVG8tNYi088VS0BERgu9JB2/VW07TOPFs8cKFYA64DzjPwJwOSXJzsXg5pm5cEneE0G3lG0AVNpel3EPnaVN5o+mwhK+Y/ImT2SxvYrTEOfxCcnYgCTg2K9QsFQdbA7QxSac8GFCh8ZVWHgbgF/S0gr5SmeXSvpohbeUDLjmQlK1TUeXxIMv2n/wymrJDbEDGsWI4GMfMMXEQ/eFk6+kuTI1yb9dXJbeik/E355RKSQTqzJnmQaK6VIu5nKzIz6BQNsS6b/01H3B63cNnPDEfVVg/keQbe02M/QnQnUfaQ9A+m0SRYaQF+jubJPyfeNl4+5OEIYmp3fVC1WZJq28QymUlsp3hIqqHpWcjv7lb4mzOeuyffYgD9VB9NSkoH4XcpZg+IA4AjsIjdL5k4v+f7LCJYUEsQLXEe5Pp/1JDsJw2rS6NVMkvisZykRoalN274oUW04fXLpuueRpcM/IsoiM1DzexL7jLC64k/aKRLgxUGlLGoHpU8whJc1Leb+KDCPXw5rI/EyqXWuidTuzO2r7VHlkhdXkQ1RuCF59Wb2Grb2Mk7JJf7Z6qITwwsq6286VwGI6FlzVsO/dqO0WGVyoo95OBALEsVKPkwJv9kN8GQ8ru0e781h0ueRl0yW52NzNqTUHIrUEjggX/xigBt20SCQTyt1R8drFmeAdiS2QMak95oCGhMNXFm59KGgOhHOFDWgxuREgO5jgqvc2dQVO7Dh1N1J4NinpBMySjP/1Ea54aiuK+G9p+5fK24PqSj/3yp1HUCUAgaY5UyUQKhAbITXaafBQAzTlwrhSg0ZoZ1oDSQTC3VogDlz2EEwaazm9jljAftEUOLAD5F1+TcNGSwpTephuU9fmSpqnY7/+z80DiA07X7fHmYfUttoVtEKqMmgPhNTKEGP/ktEZNpMOsnxBOpCC9iX3776CwV63aRko4ejfTSkjRGAPB5OeiDs6oAYr6NqhIQUhJRhigZ6egILmyRck3lgv0CglJNpW6CRjZutn6SCPGI+I+ZwcPiqoMxFxZVqI9B/nPX6LND3Ca6xv3rOn01ITKjbr2pZ1QRteaG6TBUgPq45w48FKZ74jtLJ2DwYcAtObqttZhAu6d77BfjC4uLtGfN2H9bZuL2UMR6jHt8dlmoXu7+6dcWAyDRLU3mWNzg0zEFzmBe3UtxtoRJq8OOnizjfx0qJbNnR5U5CEsdmhPSVByX1H/mFVp/Sc8XP70Qe7KWKK0nqHjsiSSDVRH2Ooj6Xwmil1K8JRdKXHRGMl6gfj9ylPS7B9bRfWxWpSPVL11aburW6l8njcEMF29rn3N7KrUtJQVaHL3mF5/CLS29UpuaHCoVXLklN7Ih3lr7wddj9aHDSoopHZMZc2tU1I/4RbdHnMsnqlheCHWvhDLzBZQoqT/T3WStCuk8d3POEXUQsMF7vXI1rMGOBPRC1aNoGxNMrrzTPUN1kpBJnOhg4OV6cndNS94uIReyXwRmnQsEqRcVMJECFqYksW/fuZo5gWrbQtnfanI0vY+bT0VxCYwRB0tjLSduYMpI1STN8idczfFRDhBO3ZmxuljrQEtzSW9Ulgtb+ov9eRvD3EiK9N35pVbb2mY2DHB9TYhPZf2qH8gorC1aDSrIc0ApSoztbp3V01XVE5ssNuNo8M+jzxpWlruW+2A9NocKZEIbGhMY3Ru3ZAnu8N1Sg1iTm29jNZb3KAF0h+5UY7/XApdDFrPDNfFpf6c82ycLOO/O/BtRRWVTFVwvlA8eNEuKrqxP6yq2Ew188wFRdtl8Wk95HpnV/dsMg/th5bwZR+fdHLK0H2b3IcgWJWuHxTL2o+n0SnsR43vJGbUhpLGmh7d5Pjif6NiBzOxqcqGYH4UrOOVRe4rCyr3i3VVAROh2RX/n2BJC1/XYID2wAVIbhI3r2/f9WXuMKyGmBUVcCY3QuVWiqzqYci1eDiLEzBJDUaLoGC59rv2iwi9eMiF1+qUuGiK3bIgtJpIlU6U/pOxYRHgzPeUYq3x08Z4aJMtxlE9tcy+lb/Ag4E8wxjXPg41Eia3zs0MTixPMMoX8Nk4MT8BK7sRKyc1ks2aNBMadxGf0LZaaR5sNYB1189FZ48zXAZ7X5CXk9UJOi/Etie16inYCiXXoSRTqbPQmbYbnlzYEBMWdNkeXs7Bu5+M9OaKrNA16MBisjlVv/mQgPN+Ve4Kq1B2taJmfwcxPdlxOrmFuT8jqCD9PJI0i7KWn2QHV1IW0bd2JQeXA7OgUeenhMC/vv4rSctP29lPTp6XI7pf4hz/ewsIYtHJFUsqbne+DvJHqULuH6lj5Agby48050sC/eAs1QSUCxb5/w0cRJA6YBOa44/SsT5+Aqe3E7Dv7LzM/4TexKqaMyKQldqj/6S8lVYCzoF5GAjDh9diFRpOgQ1wAkxNInKkbWwYsJh7pOE9JpvMGKFssmFprohakiPsJ37zGib0IRAWrhEMdxtjTrwDHUHMmYe5jGAHeaKL83fWP1jpwRFuwom0OoWmmJKydU7+3hKnfctnhhGLRKG4KyV/mXsjYZB2YatOiRFLcDlFiIdwoyfb7NseOo0s6Ow/+Fh86eTuk7XExur9wf8oBzX9E9iXiZndGpm0zvGhdtfus+4RBvTtls3JlcEtl4uIESX2L5eR7x4gPuIADHApEDS5yaJqvrzsi+3g003FfhnfeN1ey4/Xm05McTJaByHgwyzI5LL0tqmOwpx4QDPs2fMofXjQv9RXFfrJ3tkMOsRYFL7Slz8GENGmH4SVI+rkbC8CHF+4tcmaSkSm8vXoWPs/Yiaq+5SbdhnXw3EB6W80u3Ryv5vUty7tSoEpTAVeg2iOM/CLgentIUx9fknRKAi7zdJbuVYY/BAcPZfJNWiBQgpd2w2bpw98w+UW4qdPR93m0ZDKqoN7Cch2Czo6sYPFlfBxeRZQLQOVSuYPEp/Z6hevJNrHYrxp8FzDa4Iv7n0jH8yYQz0MF9oRkk8ejNttbnyyw1DYdOf1yZjaBHLFXnMYbQrq693mFgBaJx6DvDPBOeZdWkzK2Tl7IBj6KdNCR3SBk/LTxNO4g3C6RCVhs8jLmqFP4sBqvGPHmzb1YUBJeNrln5T8h4/DnkOKpa2LYhZQoEWHJEFldAwjT/T237URZjTB9RhNi0OqUpD5ey9MAgtYBv0t6OBDoTwzu43fNuwt9aDEv3kJW7asybPa00roS4gmStOL39Qvqd8SntaPs+mZOvpCFd/E58Az5zI7dSGnRJAaJNHelGVsvc1330I3OGK5tTN8ASEmXZd3DFa5/bNGd+i5JjbFFwasaPpJ1v8yhSiHRH+dSlJZt9Sc/wpn2YWdLR4g+YmRtrIWCKlzOQ1caYpjfPBBpHFrXAkq0o8h7FSLKNtxOWx1it8DUl0Hs4PD93Ft9GUqHcZbp/gWOGpViXsYnyzPs34HjwMmwY8x0T8fYAw4jYkmyHpUO7FdmdyX6m7kgbAnGX00M5BtvesYzj51h5MQi8gnKpkaBR1EM6NxIbmphm43QbVzTsH+XPGT8o3g3+2e38K7lCSDUG4Igm3MrLM3EcF5IvTEA2ZbOWXE6M3tgfKndrbJcmBl/oELtiFRvkgifx6mW+X/VFDB2VCd09B5X3/EQc7kZ4RRJCDO2UNmwzEDY+IifnonRL2kjR+aQST3Pzj00VaicGCOCaa76Jt5t/Z/IGy3w8c3CnwnLgILRuyUFBbaber2RLOxn6cFxM2NywrfKmXGJoLoTdyFgLHUwYQUTXnWcAeJ/+5ETqNFVwmBEybIy4nU+zUDWyHrJhSNDuiNtPNb7y4eAN4sRQAYrhSPxCNdRTT8Wj9FHFrMrT0eL01PSomKZjGpP2VHq14k3Db97MW50iZhJYcFfq4HfzmirWUv5p08ZYnKSeutmbDCDr1vSknCTp77ohENbMEnIp8nXB3pTr4pJDPK+PXVPSph7F54JCDI2MhJpo5BM4XlWHLKZ8AfbpwnmLTuClcNULD7k1+Vtn8RYZvdJHktKHSH/kHfdQcI39XS8gXHmvR2vYZtJ1mFxfB9AbgrF1yhPZwNjDUruEn53iTVjG8TOAjUVELiJMWJMUjV3m4BMjd+HjltwSyhE7pyTbHBuq7uAzYMv6cqxXhcVpe2/EvuX6qR5sQd0BgRTX8c+uhRXPZh1i9gX5cNqJamX2c2TP5uVYm1xpZDhOLvjPHkgL0K1N44XI9lUENzilJ1oNWvguLNGW6m46OKLU55bqdgN+DUrR1WzcQU9EIboBV2Xuq2KW4fNMPGNjDMT0xGVbUAgEwCa/X9BQAJQ9PiexpsZ2FFZxgXhNitJLUT7vcfdjicuzeiq9tyG95CUxw3rl9K9SgmfrGTsbo+TRp6hfODS8Hf2oaNVqeZIGfSerOyDRCo7WujqzKR9zNowTx3mellKEJ2tscm9NBjJEIkyclRAV2jJo5InZqfXUjH4+xXnCjeLuiTWlL1ecO6oHxrntnoxFqVHxSqmBpIUZpkAtlH6n7n46y/mfL+CV5AwkaLgj2zLRC0nl7B1JVATeKLypuxpuAoP/MftLcIla3nS9pLbFnFRLa0ioHVRcaG3tjZ+FTM1A4s7VjYBQfrXjahj+Kddd7vZxJEoRRntEsYMu3uBZULjb0jryMk/Gc5YJzoI668vdKb8/ftW0Nz7VfORG50Fe/bOZ4Z0/ah+aLazHy7BUqR6HYX/wgnD8qCqdKHjKIKXvPYbp/zPQkVKsSTSAlHGJCN3u84yGqGb59PBXHNzplq70cc3MNxXMgkhSByqSYJiXpL7jez07jPen5ktoCN5A0avixGzicFiZs6HvoHRVkYJA9xmwQKZmK7bXATXubMfXXxhtIwL9unzCSfIl3mQWsCULGEto0JA8fLOlG8OImBlme2ge81gcb0LfsZOnNaiEKs7Fu8XXFKQKUnDHd4ORno5VCeqEERQbXR2TIRTyu81JnphLKPYLnHxmtW2Q2cXURAKSseGjjngUySb/mJhdx2JkyZwgTXpEDMRz1Hs+gLHxLT/3qyRYK7OkPOnvKzh6aV6Ewc47CY0I3W1nfWbc8g7SKBlLpiG3j/MFlezlVZ7aYvEWGa6zuMulyDvcz1jdPAAgWciPMWvq30WnJ+3Lilv7RIMX2/oHDj91XA34MBX6Kfftfeofo4vunSO1dTdmT8tW6XfjtuOThVBn6EDM4M1FfYcjFEXWsZ61Rkcm1TtV7qUa4EW09NpySTYpYolclyelAgbCfUUHdmF2x1Y+hKv4r9joSs4OEpEmFnSa1kamuWW/ZUXkoI9Fjf14hXo21q5SBbog/tvabQCSm7xs1llFEsiD85kRXF/vBAxScYeAYXrKLsoLf0vQhAhtavMhcW0NIAwGzCLrTpfck6Xq5LyHrGSX6cB3CFbMVV2cQOa7BApf0rWOM8Xxe1AuinCISHYd7Ybon8Aw21BLHsk1swjCOI6Dzk9wPbjwDa8WhU8UUj8FwMEWzjZlkuznj1hewtapZUEiquqLQ0LNpWdOy+oQ0Qd5YTekR65pP9SbhwQdn0qkblPbQHJWbkBGPw4Duf7r8B7l3DJv4xmJ6OrSiTrNnhVv1phKT8N4J0PTHk8anmMKzbmWb7puOLL1ODO/6ITgA0cSBHYwA4DNgTJ4fCla8i7ENZTkw0YuAsCX068jLhRFIPJkNAX8bDUCi/FA7lj5bCM4WPfE21/3QsmxWV1TNGKaVC9ejBy7ATqzYrcQQ9lRTN18w+VWWTiB0KhbymKxy6j0Twi8ncN4yBNAra7/cnId4QwH5R2TX+XDlSSy5fcOtIuqzjX1lVsfp/DdbiNQqE1Ak3M8l7j4vgkNgj5TGnZRp7C44uMAYvPHO+hVA4Scm+NQJIiNxS8dDxy2uj3z0j6tOymrNMogcvdtRvFhddR0jn2gXw1CuwAYU8q81sNfbhKOhpT2vDaEO9P0TkxhkPAOuh5XNtBJ40UomTw6urX8pmW88GcGcJ1ANsSOxwLBFnthEUoHOlA3C72AlmF09GbHFkImFlSCKKkoQUA4GLlOf5WRbB/4XU2ayLcicG7WvaHL3QReB75AKyc0zY2Ligon2nin4pZdHpX9E67jQhwo+O91Qw/Mz3sZVr5L2b5xnaoVONQN5FQZzGOdEemDkCL5wpzJI27nZUVv91d5VwOrfYpyE7ooDixVeAlXAWskNOuSuUiT0AtwiKjlyrp5MALONIYMRDdWSTKZRhJDyUWeE8W/jXSxgZp9I66Jque5kCqVHcZbpgTGiu0eGv7+tryRsohWcIHJeAsytHmqVtl9SHR7oGOO3ma9BNmzEk88Tlh5N7SuNp5PRUUytIbH+v6QasdU4BLEXwKX25LqT6xI6iWd233GKjEhXXOcPqs2iCZ34/vUn2aIt7E7rrWdoS3KQo/t2Y1f9AMnyVZk1mFsv/9GhRdli8fm3z7Vpt/hSkpB3qkssG+Eegr1k/FL3+YivZ6hWJc+GSiCG6vna6UDDnMExwbDulODl7zW+A4KvKb5FPwTBdieeKuaY8cFd8SDnJWAVJ9zynd87C3Z/bDCPnv3c9iA+6KPMnES1zyFOWxY+5h3brFD+x+bgoiLiasshZ4g7Hxs4kdvObA5CilLzdiqeWS+/66lQiZAwFXag4ia7stmCZT88vVymCDvq+HTjNlBct9KkHQqrvIEId+VmHBrmAt00wJJTX5hWfqxdIKBRNp0/KHjA7hLCM467+INMeFWqQ3DCADOILrfqVKCytoWnllqbeX3y0Gz/35hnd220NqXUqmv/+JWjToN5y03WVFQNKoohrAZJiLhI/UcUsnxPfQYoocVtyj9EY5j29I6Uqfp0Up9s5JGjHosifl+Av7oB+t5f+61w+raXmk/TXPb7y/ODzz1pAVP/eDllZJjQZi64ryQGcDn3GHGLl7+IIPK+5ekTDQWIVCMGzU6O6U1uDQBzAkk1wHpYWIagaiOet1CY4dCqmgE4bojRV9uac7V54qAWLblIqPxNMOtK9n9KU8dslLmdtgyPtTcOXLXQb985QlUCUUw8q7aEMFqfXDvVVbQzlaPmWQz9uEW+cI9Mr5jkT7wnJmvjX+dRwMtewygn5a9F9FOJVDmnCNTXISP2iVTkV1ia1jcFVjOSBfAWvbBjIP/RUNSku3L4+HJZEJEu2XEucl2Jl175kOIWFFUnwY0ExXa3m1ZWv3YHzrXL9FOfvbv8YnAmrZRQbQMl4SBs8ab+gEYF5Twb3fZV2sy6pYxZKU3z3E/2FT29Xq8/vt5j/SSLj8qYakJhqfTDhLRTH0uJ50VF5wJKVOhk/AJZxYm+mGXSOkfzkZhd0OS47xP/AUm067R3jQwH1rFlZ1V13eNUJG5L0nBRFk0iacvRSGVSd9JHqGBsFDrtWKQ+XFNixmRcbPZn54H4rL1NvXhvWpgQ1Ymz81rTzhrnwoBZZun7TrqkZvYAGa9rQOWdrilWMepLV3vZlLnz+XQpu6UunyyhP3xPDb+J7K6fNt8/bsfqS8r9Bwt5Ef3Aass3jYHMSsjoisW46dEtlkfx3yehobqQEbqUDYW30B76k5Z22kbDShRWcUD6vC0HPOSt7rdwrlgV9UOnoAtwlT1OqUIt1h5AvhRi5q3otDtmhuESEmJbU91YHqbjVvca1d7bunGMfsUbwYGaXFvT+AQgUbAVQJAJ2ekYSZEz2fcIWxMWcwhIE2I+hlrfMjX6mwD4L2n9uqJx1FN18l9+/052sb5XMOMAosKGCK9H7nQypPErzKON2CZOWYq3m2B/kxAV2FzfUJYLWBrXwmo/VtPENxrg9diVUTgd8j3lUm5arXDJRMaV7XD0hU+NpFG9DmFuF1Wwz98tb2mAu6Hm2OOfbhWotpkdU7sPFwWz42t2msKhuapOLJxeCc4eA0H1bTSX84u1VUdpYTKlWv7N3Pw7rAv7rE+BwrXYsBV9+Eg3rNAncL28wsoTJaqhpyWVpx0eJCyUBywIo7e/f4c1A8ddZ/sHsr5kDceBlkl2+T0LpTWuZ2I2FaMD4OPgq/vp1Po97psQHRNKzXPbVpH6jV23JCl6HzDV26eHBdsweUSL09BZfjGVmTFLnfDnPTWrKloGSKFDm6j0mZ9hWxg+uYU0YlIgD9xIBivHt/+oJRaDY/Z+Bp32mmKeyIwgApf98vAdehLvJLaLj+zOBbcpOm6ffHuuyJOqmRr8rVmcPRtLIJzftgD8Wowkwf6JvUJ/GXOINavoMWmy8zAgZ2ul9os0zT7b/iBA+FYSwKmo775+z2vEc5Q8EBQJLrzCN9KSPQTJy1faVQD4aPz6gtS0WCv748ZwIQpRt+dTBjitr1l7T+NVKTlGYpvdB+Zx37quL1UTuKEBFPIzM+IWIUc+2ZwE3s7uQpX9ta3RXiVaq+pdOgL7sDVC7lYIownRu67YAb+SLUhQThDrdq/FEq8OA6C/VxBTZgTCHdQlcZ2KF/KrkuAmybSW+fosRyrE51L5TcdX/2KagtrNeyBROcXn1R3HTwiGUoMxWGR5oqBTKiU6uAWXe0S9qUcnVmC72G2NIZ2wIC7J+G5m+4v8sjmgts+toZDg8YZ+ogwC3j1K2/c/SzuWKgpL6bK3YPp9JfaTQj2K2ZDnD1dxyAmxTT7YUOAl96LUd5/qeKka3whhxpNA+CKrrzaU9AB5Hq2c64pX4AblXK5r3n9pTMcpjt5m2LAUo6H9eAB9vumMqh+Oh1w0PShFV9+5/Takkir/tAyv8w/FCv23gcPJhbfxaamPoS/i8oT+q7Geau8SxyhOAM9iARvJXYjY/PVkgUxAcNJ13U7x2uFLd4W7Pp0U/zd8y0lLIRjnmUBuA6MF3tcWDgHGxyGTz/T5izZgl+HIzKwpXx4QLGybtv3p/GvU2GI/tqyubWz/dWRs3VkCPWD9hNTF1+1ZQxuCvUAMln7RpBH/4E2mU4WsXryxRg0cESJ/lKC09B+gZvFa6foeosMGvJLYbIH3jHAXrVwU+TohxhQifKUGSjYsebR8HV+N/mMtkISYBvGSL0vPPEfxC7h2e95ym1HAc4twwDKBxFE53Q854uiGjaNkWA7rsWr8/F+pofANZOlEulzQvCi7a8eALEfbIEh1oVnjKl2jSRgdh4sN2pn8fhBUkKuvpq+JmFKCT+rAf3Ra4DkP2L58SIr3LcM3GA+0HQsPj6hr9dGfSSL8RHqk2POyit1XY4UNokEZVU+XQp8MOflAJSOIZERfPonElwvJGglOX5TZFsyhHpqFPOBjbN9ZfqKrY9QmAX9SQ5WC3xUWfX4u2wM3fEnKL8dk5qRgNbv6vHk4OFithl8xwMaBkh2cU3oyHPtp8AbP6eu6RdLNuIkeEpiqyTfXiX4bJcOeSYqMx2aJUfvZQb4iJnkgYr8RZ9hDjQHlC+Za+jqvqwG3UzRN7IJerZ3rs8WZF3hBXdTQYwt8XxOUegDGrYfpm5HOHnws/IyzL7OEIkRYwOVor/fM27K07He7MUa/oKL3h1M4SjSDJz4dOCV0IWm0mE3uNWnBybL6FcLG1+lRTsEa1OC8nnpu0gHdv40MCbIY5tX1uHtVKsQEHcLoRnvyQiUZX89PQExnfo6WQ1pve/AHBPLxZgLQ/XWfHz47lOePkvSy6/q8ME4IHUg1s+cjtUQG+rl8s0FKAVmeNbhW7vKFj+WIIJuXRORHQtD972ya3fDz3eefR8V4Oc+MwyIYo7QXtmH8byMb2n8MdXw49YlX+SmA+pGUzFzv3AF7A2HjgEjaqjtNQuUWL4WU4ICLHU9lRE8Ea2n4Ei6jxaPJ1Qp8HbJOjmNkreu89kbpji1pl8uTWuSevZSOvdMbae2zA5akbIegLyEIyXUA/DUfuDAzI3oCB+ANgi6lRneIOAcm2mWUhlV63bzdGdJW8616rgya5crI3KjjswYWx0CkHzfJiSZES+FFN/ofz7Qj/gUGhaMzgCCUa4xHY1QJ9CfDTTwTa0W6YeFiF/4ew0ajVXsIm3+3bL0pWwnDmVWtXU2uGaNguj3aLMfxV4Z5VGSOFj5f/hfliVogiiqt6HYfEiLrJYK2HsuKzmOXzGDrQ7dPEvJpk3xS+JR7vBZUztzP/2o5uWaIGEC47uBgyXys8puNaPqIJHsf1gJtDlEZNcXA2PcaPvd1zmqmQEJuo1/XfUCOUHZtnxLPrmg9/TVKz4rpbC3hR7t5jSjlWlv1G1thYK4fISC5CoLdKs7wxTn9xI/wvYVOf9mbLXLB0YRNMN7hEUlpK1ywJ6fipWPJkCKAeE2nGgnzE8pEX5b0P2V/NV9uyoZwfJv+mPrUgZnHGRpZ633QD9NuUskJcHNfU34fYdLIt68cM84yy2G6HDYjhlhZUaSrapV7lBPYuOygMmCfyrVufHnRzBCyUakshhNn+kE2tAbjcUgZV0LqO5AAf8m4hPK5SdP0QT9GuGMnnJDlGrmgmCGTFW1Yc6T4w991053CkEfgP2LgJ+71edmAD88xzk8lhmk54F17O8lkYqCmApdiSf88CFO0dr95cXs2T102DiRpTkXyqwsSXmLVQ4Y4fcpPvkKcn7J1aJgNuBrW6jlZqiSAZLuPqKzzNY/LtnnQMICOOR9/lTcQzWC2IKFbKjXukEszKzp9SCvy6H1gmhYV/ip5X7LmzLs1yBQTTJSAc5Ih3XGwh0xY/8IV15xSU9yQi/1EzGp09SSm18EcHYq7Y66xeQg91aITvGcpDEY5W6/LD03rA9ZDM4W+dWIsj1i4ap6EwA/ymL/TSbttaQCaRAXEcrqlTmZx98RF7t/vGTVT2D4VFZdAu2g/0Xx+B2XxopE0oK/gC/Fechl8gZD4rjaGTHWI5XYYnhiPnaKqOSsn1shNLFF/jOjyRKwGRa/ZQ6LzTK23dmoIG5xvWlVQc/5tOxQnxms7I/wh8e0aHbMJuwoiBJObeqg8pFaKb+igTt+ZzL9sOtaeKJSryr686qFMt0G2XDsdAJ/6XecwpJnnHO8OqulVSwRyF/7dRgwyNPP0TED8EghLS4u8hsyOaRYZsn0B9EMcQLevEqXieYSMiwpG+UZIy5uns2SBHYi1IVHa+000QIcUOdu5YA9ad4CW7QHlgS0CdR2EDhN7prDEW7r3K4t7W45Prz0CZoEsVqYcBhrCrqEwZYgnDOCW5jtR0DGgEJMSJjVi9+LzBUvMzjp+kogr17EWIOd9QIw19sY0NzcpotgoRD2ZndhPRW1t4aDi/kEX2If24rFRsaE5rr1ZPzWgmQRYCps8I/5QiWMY84a8dMqwn9SmrNMI3zL8enk+8tFk6ig5w5XFr/h44y8RodgK7ON6VwKIoTT1nFnpbZDLkKZwS8xYGfovq3nqjJHXdTyKW49PPzpZBeZyMXe5GIbNQwaYNU3+jLUQlU71IbZj27kDDSaAWM/HDLOSjtpUCoyswH/394E1b5lU9HqSYvId7sm1/Co5h4dI2N27Huyey9QEHyeYwUOiglksn4yFB0CE8qmOy8uAe4vy4fdQUIWCSmq7Y7ZkU+ga9ZF1A2yPhXC9c5t6yFI9NZxYlY2glgaKdiClQvUhGV6+6zKhSWSGhf3cw4jkltMM9UHy1ju5rQqLdkm+KhVgnj8aRb2fVZ4xFBXZMqbZKbcxixJaIqm2KJrAnLh6tEsqMl9GdOeTdpCwB/dX3F4wEtycYjeUO68INK6tn18pvrUl2XXljlZFsEHAPn9/12wF/2jp/TqkvbqmzkTvi/vzopKU01B2bSkZw43mxpYJs5HRCrjWhtYSUSKN3E0Ib0Ozt8CdSTmuGjDfQ3g/RnrqDeO5LGa6Nt59oFsM4oBDQuvtyuuWn4eXJbQf1KzGuNNUAQR6/Q7EG9BvmgWuruBGXVvh+6hhlmmbqNDsTvKz3BUYFx/abKKqvHh4kFhKc+0ENBbq3X1LIRTzKmBXK+CKLNsLGBzxvM9e2nKD+v9vVd6heyyGv+2GNb534f1AHhyzyEr/OVwzfg5JXi/eNq5XxJgbgoOUZJtf5ppXgrPBdUrvubEYxUYSMCp8/iHkKK+Rt8jZceARt4X5rAK0cPhmR07+JXTYXnQzBFDWUot2Gqf0WbMtEho/b/6PpTvaEmQEvb3HmNzcH9MrKQPUBmJIIiPrMWws8ZuNy188O2BF8HOtoCuPAY0Jk/d4Mpls9XfhuFIii8cJZd8dbHRPUDlvKeJZH2gDP9T162n0bJ41uzAfA0c77t/ReQkG9pzT/AB2PFVzUjfXf8V2K/MRhscFh0n0I8QXxQUTB9lLaofQRCexVpa3TlWXSXEOmTTKdYWAOqf0xcAW8TxpW6cLu2983gL9A1WfvREfi/V6T0xn47GZomnjYq3GOiHqCpek1py9/bZyvxAicJ21WjVt0X/wfb2ex6mutXNQ8vebfARWC0rt0QSHQ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32130" y="1733908"/>
            <a:ext cx="8002270" cy="4743092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1361320" y="6477000"/>
            <a:ext cx="16866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latin typeface="Century Gothic" panose="020B0502020202020204" pitchFamily="34" charset="0"/>
              </a:rPr>
              <a:t>Source: Company information</a:t>
            </a:r>
          </a:p>
        </p:txBody>
      </p:sp>
    </p:spTree>
    <p:extLst>
      <p:ext uri="{BB962C8B-B14F-4D97-AF65-F5344CB8AC3E}">
        <p14:creationId xmlns:p14="http://schemas.microsoft.com/office/powerpoint/2010/main" val="12706182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12"/>
          <p:cNvSpPr txBox="1">
            <a:spLocks/>
          </p:cNvSpPr>
          <p:nvPr/>
        </p:nvSpPr>
        <p:spPr>
          <a:xfrm>
            <a:off x="457200" y="1494660"/>
            <a:ext cx="8229600" cy="685800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spcBef>
                <a:spcPct val="20000"/>
              </a:spcBef>
              <a:buClr>
                <a:srgbClr val="2B303D"/>
              </a:buClr>
              <a:buSzPct val="85000"/>
              <a:buFont typeface="Arial" pitchFamily="34" charset="0"/>
              <a:buChar char="•"/>
              <a:defRPr sz="2400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spcBef>
                <a:spcPct val="20000"/>
              </a:spcBef>
              <a:buClr>
                <a:srgbClr val="87A634"/>
              </a:buClr>
              <a:buSzPct val="85000"/>
              <a:buFont typeface="Arial" pitchFamily="34" charset="0"/>
              <a:buChar char="•"/>
              <a:defRPr sz="2000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91540" indent="-342900" algn="l" defTabSz="914400" rtl="0" eaLnBrk="1" latinLnBrk="0" hangingPunct="1">
              <a:spcBef>
                <a:spcPct val="20000"/>
              </a:spcBef>
              <a:buClr>
                <a:srgbClr val="E88E4A"/>
              </a:buClr>
              <a:buSzPct val="90000"/>
              <a:buFont typeface="Arial" panose="020B0604020202020204" pitchFamily="34" charset="0"/>
              <a:buChar char="•"/>
              <a:defRPr sz="1800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188720" indent="-137160" algn="l" defTabSz="914400" rtl="0" eaLnBrk="1" latinLnBrk="0" hangingPunct="1">
              <a:spcBef>
                <a:spcPct val="20000"/>
              </a:spcBef>
              <a:buClr>
                <a:srgbClr val="00B0F0"/>
              </a:buClr>
              <a:buSzPct val="100000"/>
              <a:buFont typeface="Arial" pitchFamily="34" charset="0"/>
              <a:buChar char="•"/>
              <a:defRPr sz="1400" kern="1200" baseline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137160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5448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3736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2024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800" i="1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253178"/>
            <a:ext cx="8229600" cy="990600"/>
          </a:xfrm>
        </p:spPr>
        <p:txBody>
          <a:bodyPr>
            <a:noAutofit/>
          </a:bodyPr>
          <a:lstStyle/>
          <a:p>
            <a:r>
              <a:rPr lang="en-US" dirty="0"/>
              <a:t>Luxury Goods Market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473481" y="1141500"/>
            <a:ext cx="8229600" cy="839700"/>
          </a:xfrm>
        </p:spPr>
        <p:txBody>
          <a:bodyPr>
            <a:normAutofit/>
          </a:bodyPr>
          <a:lstStyle/>
          <a:p>
            <a:r>
              <a:rPr lang="en-US" dirty="0"/>
              <a:t>Three of the highest price-point segments are experiencing rapid growth, while the lower price-point segments are growing more slowly.   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56402" y="6550968"/>
            <a:ext cx="727319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ource: </a:t>
            </a:r>
            <a:r>
              <a:rPr lang="en-US" sz="800" dirty="0">
                <a:hlinkClick r:id="rId3"/>
              </a:rPr>
              <a:t>Luxury Goods Worldwide Market Study </a:t>
            </a:r>
            <a:endParaRPr lang="en-US" sz="800" dirty="0"/>
          </a:p>
        </p:txBody>
      </p:sp>
      <p:sp>
        <p:nvSpPr>
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/LSbJ4H5vXjkNGfwJVS8I64v8K+Vk+elgjx/NXvx9ZdSkoyrEzHmwx3KjGGLSwAvHwzrXMKOqoqRKKdn0Y30k/pc6Oqymx61nISC5HjXiwrwTgWQNNQvGPvNDy5600WSM+8EkbQv+TL6ymHOaWlFdjOTrC1uJZwJthx7oJIAPAEDd4rjBImRGjXcb9F5ro/702b/na1oZ2UU0LCd9a1Hb8SXCvzxyy5fJY2xZwLPKf+xMPLhSd3K6za3l7BBz9o3PsjqFQ1Wc41Ngdyg0eV8nmuEX7qQLBMNTeHYYX3HR0/C82ogsjae/A2EgNjIcuGqITDrHwHuYPqjEn0vDqqHZEpZDflGANC//YwMAKI//ZqDweFOk5potHnw/8wkriVnGlcmrbOg4cIlVHK7MYbig8zZmNlPzRw6ChNcC87U5KU7Nmi+h9U8laL33uPNmVnXJ0xjpJ+7/MEk4GImS4ChpxlrGKnZhj5pS5QKdqcV6/jweqL3IKgyY9Ud/CRpHrLKHrc7cQqpgMmX6Na1FYT0r/zcAuww+s5uEWrBbyZZC8anMuU289yKaxH0eQ6pU3KCsBx9tKingp8jTVk90OjyLT6VfyTNtMMojWoUE7ecBxJifpEB6rOGD8t+3ANaPwb+UbCApxW6aoei4CTi+5eKSffes25Lgg2nwT9vufgV104fZ5DqyqoxGkl0CcfGQ1MSYx0hSQFril4k+O5ZPNjjvcZoSRbh76clMp/G2MBj8OkUuIhZwSVIGEn6DWajH3WYvWiIGwx7wgbcjWqg76hQXux6ElXcNCVazud9GdLeZ2Gg0MNL82AsK7pS71scGy5rTXTJU/PG/zQUmLGFKfEJG3D4IsSBCB1+V5u2noWnl/OHXAQ/yoRDPHqDqvGI2psq9JuLWYYkN0T6HBcXeKuIkYsBZP1sgCxRqVl4iu9msmyb5YJbAM+R8jBcOfSoCOfWDeeQAWnZqjDy/KE9lKCvt+daGPZDHiCM8xRfc9SlGBru6QYhDveBND4CLT7kL/wx1ORCRH/2mVe+B7bP3LrbEbXpxwexYoSDGnIxWR0zVGHWGDtB9qQr9Rn82BCsZumTdbcAxeWOAjmNX/PbMdEliwst2trxrxTWVHtj00oV+4WntToswTTewPBvAf9lrkYOAkCxIkIPmCdji3OzLqMBDez3pmtuyt3H9lBrdVruomrTuZ1tqi8hdDb8RxPjjkQCwzrbKjWhmq+0ee2ENKI3g1+n10G+Lb8vEUry8poDU73IV419dH8+4U9M8zCdK0X+OrbYUVau/a8MPbtEa7vRu0GNCFqHSVNgKEHXfT/cH6cLb2leCwxxMSDwf3J3K2GuISggieVvE81imZ7uG+eOvycbXw4wAlKmqXmvKpe4LMR9UHxHXe3EwUHhLtyX4Oq2kjM/tuX3rqIDOwdiIndlq8UeG6DWdNYND7rZrWNuzIZLMnmOv0e83eoc78pB4DiIKYzvAJc/YmuPoGNbceIGdUR8Tw46xbbek/f7PMIriJ2aELcOFaDzyqzZ1dLnaFiJsbJyEbOjzaf/eqXeQhBYW9pEr50tTTyK/RbIrOHtR1SbP5jpO25V555hrNnVfYtAnihYaWkrot2aVyRyQ6eiTrACZTpEAhJrpvW6slvdyU4k0xhRUcOTT1rbOzteXjkUbKkgb9AfP1IIav7QNy8zgpvxNQFYmPlzrWxBXob+ZMXILkeFK/t7gz/1Lod/MTeG8uiqoU5DtIcEQYYyChxaZjEFeZuGVYXOsZrsqFHcu3LyB5e3U5esj1ErhJiQ1O0vkT/0IMU9KTg8p82Ik0GRm4Hb4x2f3s2PabqOil/6GLGZPIGxpII0Ev7TFG3W/KxXpYHXuXFgLSIfMu0npFjcWedZf4QfN/qMdEhbIgyxBjUTG8Nr085kGzDWt7Y30FmWbu9RVidq6GdxeE3axnrabuJA077KXMw+qy04Gt73+niMcF+rl+zrjTAVKmqqRdeloHoAxwLSUT+5MCny+lw+LQ8oiZek3WvD/cS1Udm41mzoWgMC9oKoiE2DqlsO9uZqlaKCMuI140NOL+fkuH+aXBk6es1byxRNfCQhqtXmM8eZevZ29GxQmD/XWx+Gf1NcGhrqTnxlfmPv8DYhESyr6wIVWzCUf2/pRyLYtlkEJDzoh9AHke13D82/1McNVYQ2KRR80OZa84TepqOVoQ9IvskdmU6oQlqDKOvU5/248U+942efWcUsaZ6GY8kYywZ9FcFZeIxRqgjjKaNHVQO4Zj1xac1qbq8TNo+n39/jykiiykj3dRvLGGNBYEIkkmMtX6gELHEGQ/xN4/tYarJu5eALuHA6Rh0Wie/ToE38N6zROjOSjsfQwscq5HfSS8J/RTg3YXh+KnYdo7F1CytILyUBzjLqWnpBFV+9Ob/tisJ9vsJfUvOz5eR3MZt3JJY+/pWWd9NiGk/jaTk347BrEWmIMahHpR+MNTt4b3getGlepxiJrJAr4Olvck+NRFZaibmd63Y7jiKRc2Dz326nkDzrhXD0Dn7jYo/dTqPM3j8zL1zn66iDD3FCGMwjQW5je2luLRxOfaBGtFR06yvRRcFnGy0wUgFolEtOltxcaVzRZIkeLmk8Ka7ejAI1qgaQSK6NuRCy9zz7lQObe39CgahN1CGZt4OU2B+p8SDUcXGcV/adDpc4Cce2AxvuuLkaNKdS6c/AOsqgyG0BbgyAe5ybcMVqk311N/NtXBqY/ULnRQMfZkrWP9Eccfgxy5g0X6pEjaNs9BIXit4dDPlUEPgg4PG/Ohr0IQmqmLM7XgJKAxhtSH0QVE1S4gTyl9cL15zZSlGGWImDEa/aSzpvrGEkeeIBgIa+AYP1uLWLMsEi7k+b456t18zlsVxPvbzt7zX2wU/1w08NexC5poj7cFovQKBY4sF1NK/FkdIi0UdrB92LS3tF+j/kKzeY0vLsyaqUCs5QXQN8T6HXWtoldYIv8UWMduhP+hLO0nCMflG9fJ/phG9UWwR9rao7M+kJBmvzRiX61Jnf8A6cr4lyKOv5ISeuNpHeO3LLyANS/U8YkNfJh7Tnbv4530RV0UtuXBFG0nGhwkVMmyaEeQd5g4I2/Xurx248TM+qabKN2I5Ai2MWZhvDB52j0mQYIlZ7iTfKYm7TH9nplM7EQLm8cH50pqs2XWFx2FIWPlxFOrzQfTNNns4zp04xxKOmY/es/6a2Cgt0230mUxIgxHoOThuZzdxcZX9E+LrOmGE8e8Juy/4jhDWlEe5l/Geim9POJrLO/h3dcCufCGXDA+Kf7PpK5lFsHfupkAOlc/XA7umIYLo0xjlRiml6xShsPwZxwjxqHTs4WxR++ho5csFDlDhxN591SvPUuMY4/CzqKV6Hc+pPh+KBYrZQ2YMPMERMKtdE80J4Jmrre1EUhtNNz5yhjgClzsoN/7ENP9xYh6RpZIz/usP+kU2EviHxMjDX8oHS1PEHNKsKgsvpxuHdT6Q8zKihmi0Yq+pEbNqZc3d0gJzNf6P9+sd58Q51C8gt/X6sLtJ78HHFjopV2gCUK9xNE9MnFKLMkdrxFEQdcyvQlkJL8rwD5bmUxOE3gZOl/xZoNWRlcGyZvjNwGfH4arh0px2CwQluhNLDz59TK0JceW6ANUNjdwnKICyK/U0O4im+ZvOiotSqVUTPF/7V9Zaf4tr6Jq3gSVxreW8ERwFu+3nUce/mJQA8MqLXVR6edDjseCm8sE+lZf88UtJIyBBtLcRAJ5o920elF1rrCm8mZtmRCg2Rhs0xLI31xel9zuB47ypxBhTqApP6sn9yGyXWxeCzNbZ4HWF9L+BoYYgIU8zaY50r+1nz7OllODML7RVkp8IIpg2v9hRKHq0eFjc2MbdoRur4eXP4cATpXbZXCi7ZnOIJSIKeR7EwMUsH6uI4c/2NlmH7+LD2H3O1Z50ao5zOTCgnl3XdXrAU590HUJjly/vnsrOczLD0+ZgqWc0RyR1FS3kGTOHAfMe4NYTCI8OtUdA31HNOi4d6ElrYVPRaWI0vuxSxs+eqs1zYOFdpZmLJAlY/ZH+CUuggTOu/6jlgd/yt+/XxkLq8AKCjTulGvZTayFDRF4bTtNsJD0Kitu/VGyoa6xy4sRXKWarUh+q9V0iOSZiXDH+PPU+JKv/kdQCAaPqsEIQ10cvngUzNj1nGwED6IXWYtQCA5C0QZoLe9alLhbOqvALlU+7kRb9CwMJOqGOa8g2s68/pHjJO783i45VitTRHmSoBZNPQsMO9NjFJ94H+8c2zgFEXOGxGb9HDU00ZlTJAATYL6zhUDEpes3tZ2R+Po6I7LJEcuGm00u7PV69zSJ6mvnekaKZ90eZGt760TJ7Gk/94pW4pLHOb3lIWb87AngCT1fWjQyN+w2mn4eqM2PJJThOmcTBKgWBvpbl5i7sGgbeYYbVkrhkj2rnExteVCK1Z0Yy8NcP1zLGGLdsmJM80BHPv2m16/qfFOGwH9XnjFnaUakakMi/x8dz+y2pRFWLQ9fXUzpLRZaPgMxBnIJAp4Ag6R2RikXCkokcnMRjErVF3Wy4GZGUjO8YhnRNoaR7qCyvtoUMcJSKbSczo+c6AzOASIeCg1KAy13gEVS9eo3jtlMPiyysgMYCNqNNiTshz+wkvTI7XQpyjT65UNA6PaB9w8yo8EntcD+9VvUNHRI3P33kKAUQg/yJOX9KSe5GiNmqsiRMXXVoq7mx93oIqw/vm/WItLx8cpdVXfp4iculJwvS0cn9DIbZI7ejQKbLGrj5jzymRJ3C2Q6gGo8U88o6GsLf8oYYV/bWIUTS6mfza1op5zal47Ke8ZAwwu4Yy7/TjSIEYB2zzrt7ikyPtMUv46WUJZ91NxUndaR6O1SQtoVLyiDHT0zA/7ERV9YyacJrEeQ1r2b/S1uD1L6xnq11C90AaClCTIHzJH+ZX/lGxpo1SpF5Vtr99Eu/AJP3kSDi2X6riXqIIK1IE+dEZRuolUe8uzmV+715x+LvBJ+sQUZer/A5mm7fhzICOROecilbqcxTCL0VOUx0a3oYvdvpOZUQpXPpuc5PxmGsBtQn7egdD0L5QQc4n/55NjKrhsLoMjgPUEI3keF5irvOxgISJczMgKY1OaVcvZsb2owLURnfNdiWxK7tiRY2vKU2DDgp5NiVYMqQ6Wvi8Q5/vBnVrZiyS2h679TD+edQmPAw8PC+dG2ni22w0FUNcnLWENZtuBj392/jCyPl0x0q7cIZsKW5/R8fBSxkkn8CwBD/0RS2r3jxcs59nAhLhbN7gqCynvirVi5RYdJ4bkbwoFmpSecpC2D78xhf9tRfG2Ybf1cpYLpxWpAnqVe81r5wsu7p2oiODh+JsPvlQSyXK281FtrfHzV8dgLR+EzgkL7oqvemmsRjoOqFnqDEMksezfyvsM2o5AtwmyGAou3XBfrPzuSdajAobfG3UugQyVbdUMim+MOJJbCow6xARb3iQ7/C2Cr+a5HNzep1Db4KDeFqJFZ/6L9PyG/vHHq7JGz+MGf0tZSPjTDGxZ4Hodm/Upiv8LFAwFfdikL2jAfCNDdtEnydnaW/cT5X2R+1YNx32LM1y+1A2exBz6BDVIbTd+VpbVweCw54zoDkVzbX/R1M/fGWugBx/uk5EqNrEa4IhuE3sa+eoX/K6UAVYv+kIXwOj6LHZQapfSI64CTO6xwmYmaquFUc8i9Wv9zJG1lyZpGeNmnuEc4t2muyx4pDluOInTw+o7veOtMDHbS5s+AqPZnXs2weuWsx51xAO1YJ3PvPoBW2IvmHM6htUcNGqNkpUVHjUdJKeyhIF39gBTZmn/oDvE37kyettNudIdQj2GvGZzFOjzfsp9R+ujSOfG1EHdygaLfHue2Akjhxf8Tj98P+lx+psFMfT2rNs7m62DWl8gwN85+FrVKKOxKNDzUCJENJ05EYFnwB4kSxpVfqTWEyHjo6pTRuytH0+LW3FtvgQvbNwB4jSDIxaZWkO9sipWA2VNH1+FfC1oOH2NqihvTxIrrtksgU0DO6vwl6DABNIIt5rTol/HOQHCQaChj0rTEuN+/6MTekhf8431XxsM1db7/uERb14Du7dbDPre4TJSYFvjbBOfkWwt4SLzvYydlu8Ka6p6uEYfpu8yY0qX4CSeF+Rbiju0fYbF9wV/m6lMFj2dga7EUd8U7xZCShXv6LtCqj+N/3ik5LgT7n5lfAQ0gYNDkkqEUJ9PAcbeRPgt1LBYnbO1nlTQ76Sb8ShILbEZ6Tu+egRtUnlpasixS24mGeSXzBa7YPirX3ErRWTcbw9b91Mzt0k8+PrYHUln9IMPlNHlABXhmZy5GG0LgWvTxiPPwDoI8f8MopvDWjZsBQd9+s6NEzquQjrLmDLn3oMwkA5WlCfowr0uvnNHRnjJRu7f8z5cu++ciqnMOwq3p0AN6+CMP+SstP6PXH8gUQ9aljmsUOsbaACOwdXAk63mHh4feNx8VnqY0nf5K6zqwpMATPCDnwycwbvdSpQuIfLzm3k2OEoFEUyqs4wFBO5q2kKypRdJUV1SSmiDkz5OHgcrGUXyrG+7WK4bDukhgeHnJOaEuxDXNM2RRPH6V4YM2IixH5A2Qb8iOcucmC3ukycwO3/mT0zUla9106SREFTXiNc8Bz+MWw0lsiCvfzivILc0ZLgIcM+6WZqYwFJjIDRN6cwFIwr+svV9iCmxMndUPhpbGXHt0UzTiNZmdgTWk24yLwIMjhcpXThoqWILaHafbXpZj+LwIMSGFJW+aAOGpnRKCEEEgHU/pc9qND+q/rVi8XySMwkXmReo7Y7ucsU1OlPEaXEEpPcRgJDVIKlgmtm0PQaNL7R+iXSNPRIT8h4RKh7bmr981QU5XOzKTzxcuQSTv6ApjNWQ/mdDjN6ZaJS4upWaGKx5v7oHqFyncA4lHQJQN8wNokI5dFehPB0kQ3qFs/hqHJmmAr47bVUx20yKMerSEranKx+nIIq8LOI0qPGWovo32uCm3DEaA/6Q+1Mc5t404BkIt9IkN8QeIUSMVm4qCw26FaHT759r6p2Mb818d88im04ax6vpeYVlDLodaIDaQ7FD9zEufmbHnnATMwYbzpduVH+/9fcO4SBYoUoA383/GvE3GJqxoSc6c8tQGmbnOW5SHKRccDg0EWbD1rsSJ30eeyrIyt/vNbhEwy4N2emIGCn3YfFK6grj8vdXTL8fBlHSFuGjKNy1bIP8i1ChIq0YMSfDnExZEP7T3QFLSmsQDKuSJjbRvj+f5HqBy1ZzJkeqOBEsIg4TeifzzKcEN7VSWXtXPRVpkFK4kXAiV33HwnHOuVloulWS+yE/c+AIH77OEoze98KqH33xr0M4KRf+HlVCH7isqfohNvoVDy0u8Pnv0yxU9cbEpyDXlVkcZKIXp70iTX6Wf9z8HKmwxsMqkuEICsKftDSsxXpkbxfKi7GNmV8SHjkPrP0hLS8GV9SuHbdczsdOjkiRpiDhZQ9rebXEzg4F8DkdeHmUWbKi1Cg4u8C63wv1T9HgGM79AM2qMtNwu9fNFk4CMipUbOV2NpQykgPUOWbutGOL64cNLiFrGNVxblQv7Sbog5OiDLT0lhXcskJW9rhOvuhbe7UZs+tKJGvbNky2yAoPOVUSvl/rUMX//6XSEFTZNYsdmOdqoIHJYEoYjEFK/BdgHdY0bmL3SnFCtXdK73VN4b2Vb/ke2NI9EJLefmd5lAcON+yCEWuKSCwyegjOfvWHOh9yNABbV0o9Tt+/f3HW3v/aQMKtrjn+xMXc8wjhT7d82wgZdRDbXFRNMj3wrsYwWNXy8dOqHHfWj7h+hfDVnjOKQJkN/SDn1rnfjks8cjXVJCuXljclKkah3Ol0MtVMz0grjlOR44+unlwWm3w5o4zgyO8DNy9q23DyjYIvpC5Czeegx1FXiOrbkxvs655N752ao4QaJeGzYZ+VpXDcRuqVYMGbtGRAU7RGjCFm/1gzzJx+XkEYPjkj8/sVSB94k2zhE4tFnJFB/hsv3KX8H22mVfPOF+bPjixtAkr9VHzUvDGY887FukMkNnQF2+VPerq9f1qRcxZfctO/sNura4Z+xOAGhx9xXoGtNM8FQSDAhIBZlCMno2dZvMRISU7sEMWvAFOjRbPL1BrjY9P5hbGZm+ZdbOTmKEVJ4h7U1gB7b1GTnCTxtyQPK9iUb6vHE3dkH2x8/NMH3Vggjrh8uJPNA6u089wHuBzi8Bngwoo6bL161LoBDbdfrlgALI5I4j69bOoQ3g0mfVoeOoh6YmofnIyg0HmQ7wkQYLCfr1bLLHQ8rOjGAbU7JsmOngx9NwRjORw/ZWzlgI77SnFR5X9wuNrmk5qu7miS3ekOXj0FFuE2OUJNEBJj5SMt6A0l7+tepRPO9kbnYo86siaR57EA0dJ3jK5Q/EUZ8uismUiAqaK4I6Gml6BRorRJOSwIoJPSsrPKBsYVXFRr8sx7SvD/vrfupqj6daXUYcVUpSfeQ0kvdkZSZ6wGoIojpMI/UfywWsjzRWo0g7OH6W0yP9taVeyvdODc3rc/mND+t4gqilMXFojJhvSgTQAW7HAsbVPkBPbCsUv1bzXhuFE+XeQ66rnBviZQJRMz68vL7JbVOwGijUyaNmOIYguWI1LzO6DneebXpSZahWhgJSxjmjA3ubU9rmWc5OD3hsfRdtQ3MrTmPBAPeVpsnlRiq1ohkfL1x4T4cjI4LCV4XasSjHsV4LQoPA6v5z6F12ccdJ3gFENhGrOK4242RnDsTkxpgi8zfNR/iYIiAanY2jdXAQYt8mCGdzwU9yudzg55EVim0c69lz4CH7ghOSxjHm7Y3+TM+teasL8CCSHn4CjoHMqfG7WAoeVc2HtVyMJ0cqBnc0EaU+4Bjbw6EpNMklRkV7B6sLVZ3OEQv51dln1M6HcbB0QUsUrBi23BNLYvZoXl0PCWbxDA3HUYfboMHhsdHKZjxZQtQLNfwCDhS1Ab1sOzM3yccWNs+0Fq0rpQI3s97HmJJWj24ebW4ZAbt0DNJi7l2LuEgXEn0C26foQesxzUJODt6SmQs+OgzcGkL0+42xK6xOCCsDCEmoqGWyN5tGk2Wu+aQV9tgc85DeHjvVV3OaVyC1u6Lnz+9dGDZjAvKrlGExPmHhTp2PVDinFIoh+V5gY/Gj6Z9APjn9ebc6u7gzPUTi7OgbJ86pQ9P+qXlehKiOtmBKK6Y8RmaM5Ej9rbYrn7Rls9YhQVxJLeW/zoYfAmlPKyaB0BurTmAB1reuZ2XMr/nkTFY+RCRFQBVgPey9CzPVzy0WKAoUvtgiHihascmlFuku5+FEseJtTyif9SyyH53qM6JluGNawdMgqhpuAmoV/QF+bNlCcfO+ZNhV9CMdtOeTC3/yZtPfZLgNivGJvDlkS7NysPSIaLgKwgdPtIU/r6PSOEPYVSFPavfgpGyXGSqLBmQRI9f+L7BIoqk7JIkhpi+WLYYsy3DyGgP09pgs49sMm79vgTzzHguin1mS7n6BsYpt0B0j7NBUSgt8r9ZvsFT02ri7JE5MLA3Lb2w0c7iKkUjFN+Q+Z03e/ndr8f9eFiwjK9D9rSc0hrPdR1HpnRoZ7lbd3v95+A31BaoSLvHfYjwU+oOmDhvjSIvGCJd/B5pHZlegculK8bUwKL/gPTDNa3CzKq2qBChCTukgk0H6O3kOIpzL8w/3+M5NBR8UhJo+76ecEmN+MoD+2uQekM8SNx8YEVQBfhcSGbxtQCJH6x49dK7smOtbKOIBIq3L5fayoVj7MXMN22haJQ0FKZvZo/m5jSSA+CrCFdz2x5U5SzOv2VgdckccAISFtC1b7Lsv1WifUhq5b3ik/ycIt/PuaxrL0ezWDlSz7HLaLSWByHNEqcQxq3KeDdmhkKi3eG6IgwJnZsRYSG7vMgz4euiIjzzheLY4tb6zN4Y8cmi59cHjAXmuCjqoqOEpnVBSjgHmJYNeRb5e2pVRAmHWA+tvIlWQoPoCoGuARBl/qXuTOzChbI44TaapSqEFQ+0ZMMSL2VtUcIlZMljKDyvhBy45pRsfvul/Or3R3QSib/hut+uco2W0DydkQZ+fGwaVVa4BQvaNlaAuvboHrHWkroI6t4IikzQnmBTsHADT1qVbpbXXY5kfsfCdLRJGFBYHiPceVyyP+G4VKg7PaNmeyxhDxvq6sxkamNQ++5baMwm7o/ku+FDuuxn3Al5BgpJXm7UiDVi0H3CeF3ZQ2Ljap8tTJ+3nD5KrX9B2O5yPTdkNKrOX1KGpM8pCy2ytP5uA/HPwmmpbqZDHQxBn90d9dlBSP5WKArTfUGXtZ0yV4NUtdoe4cDLFSr53+Me8LSqc8pwLvlTrQoQouRPqXzjX3TPjJnTNqjl0OJG0o96FfcbaWLopbSZecetaiIDX4qVqgmnRpND0FaWsom0FGrn9m4qEGPFyvEawR+Qtet/tYHTek/6liiCvvPI04zisjK+Hq+4o3drpv92fJC1yh8tTmqHtnCBHUGteCUdInRNMI+AY8OWHUOmfekTC6HBO1LEIjRjpH95T220KnBXrLufjqYl64FJLxmVx4aA8Y0GDcoqkLLWYnLcWAKyN6n8IqIMWtUjSU4wp4OdlrYT1mdJI5foVcoOPbiDtRPXxvB4ESgF3rFnSzFupH8Cau6x6MTaTFtY6DDXJ7NDv5owm9PjZIGlJlBocglxnb5Jc0I/auO1Sol0krJGicawmB93mj4e0u/ZlKFE+Y3Ofh3sGNvsyxfq/VVUYZXYDasxLuYQ7+BT87xaQdBSgRpK8pq6Q1oWonQc+SGP7yIAnEK+XEqmKUZYX8i88lm9exxeZN8x+6jFETX5gdwNIbWmVVaHqQw3QbQBw0zL4yfHCPpJ2VzMlLCfpr2iNYU8ulDtalaEur0GIrc2C9ggm1ADpWYQU+w+ad7QZo0SGyfX4BEMS/+fM0NeCUwX6TEUVgVpHVFS/yAHXOSOPPxcwwpOg5b7PWdBegmCMRUT7xDKCXUF2Gm/kcKiVyJm8Ksvv0YZs30GYfTnjgqSwiZ1Zftk1GarXpPFu5TntWLg3SSkDDKBVrW5tySTW/7NbOKhu0G7t5WvUz06M0b0RjV7UIuppt6SB+YyOXPfYo0SBJwLFmdD32zspT0t3w/F+aiUz3EQ00ELFtFhTrUj0jalR6CqnjF3Tvhmcddo79qjXrdZXi/QAke1/XeVW20oXYqZzCKwettUPjHmTta7rMlWLioVx6MDSusw4yp9Agg0hB9d5bqKhGuJxdDKe43Kxx2AuBifcWGNeH0Np7HrsXRFfOC/EGAR3/KhxuKE7rBzlZ80k5WsZe8WQrUZ++AV+HiNFV1lVrrwNhO0jGgUGASrihUiWpoDnr6wFE9+b1Y0DNrHRYpOUzFF+3sZKXr+doHjALXjt4d5aZT+LYKxisLbNThDV14PuagIXY9p67Pqbv4xz8AOazvG4VBcRDl96ifNxNmGj08hqhRKwEO0pxA3b4Mnaaodh7eWLxD2c4WdM+sBZv7rL5emF8C1VMrUDDHgqKF3Lwd7u+Oo8vz5ok3r3n6kh8f5OKAq55kuipT/7xTWB/6ypVdzZkG+IFRfdOHwCkxadZaGu0ozGe+fauO2bUKrQkFGNGSjnJRAy8oydafq/0Ml2d6PQTTSq6NcfhsgdFEv6dHzfUSd3SEhN00DhJAv7KwOFys1/Qu42O1+EPTrF4FXq6848iqvzc0juL+qQNplZBk//zSPxUaAAzAWb5ZFDbk1XcPD3AFFpoHz5OQrYmFMCmpW+5uRmvSg9dzy3tli+hHEMsn5ArzUf07FqjnndqocGIB4XS0ErYtR7i9eNxbcjejUgHxCr1SajpukRD/q5i5Bw+o+/cRwZmwVB86Ir8Wt+SADThKYyhWIsd+VjKDa7fDfaxP0G0vEt7sRhcXFqR7WgdNo+MJEJTiHgsoBEFQoK24RZwOlTSj5lskhyLhQuRDDWfyPbQEIBPqE7+cyAh22P8XWH9FwAqj+jIoQMyXg+89T4z1V0NjorAGTBJ9mTgiiKqG9Oh4aRASi0vwrEVVOxOupA5jPpXMYkXI5Pzgr/ikuuiTBr0ErJseuA53J3vuC+p2tE5wPeMwrKsdXPLZIbmy6ps+ZBmHkQputk1IaMb2NG1CVNfaEwAhd90O6dvCjyF1IX5TxKUglpT2ZwyCoWCthCs+Qkf8D0jXQ/CeXPwm3hRrJG/x8i9DYAgJesToGJ8tiLqQ86AEe+/dISDeLU7DeaMVsRSaufvq3FAUF9coi+W3X/QvnRVHssPzsHQnch7yEOTIOqmIEg3OItFFC2pGs3Df2IhHUuZUDtf6pyAXkWhBHwLNRFa7FEOXDPVRDcO1BJmkJdXrt/7QT5Jzeub6i5I/QjhJhUi7y+TNKgUCvlMLsVdXcrs75DlfUdo5rBbHDfswjDZBS2I4I2nk92W80Po1ZnOzrdde/2zktXb2TD1G7buRl7H8IRNhsrhGB9fsp8eebDIah6qMJ4G50+bpfXXlv1P73Lfo1BgnRqf2nusXfN31mNdsqbl/qw5IRbwv0t5TQr7Nv71qhPTUet3UCF1PUbYzrFetAEuymSES1QdTVV8z1037tE+Bt1PGZ+xSwGbiCodcL8KDwdPWSMxYQlUmtNqfMx6jT/ZDnWTUZoeR4geFWduPYrtk8eqmUlRbvBiInvPYbsF1IZAUBVVDdoDJSQySdpmzJ0vB7RDDPKja3P2lr38rALU6WV1GhXHDU7r0RDNMVKxbk/dvHbZW3t1ZErEbzriG4ycOllAgbGpVs03nzZABLUagx/jwMQvSQ9uMOCyabtWZsXVZzvDKi7cO4hfBnNpbjRJSiGPV6IWpTd5Wr9CK4w2v9Ccwv8yIanNPJ/w+5wBNp03GU9KMxsx0uggYKqIVHQEa7Mmd2c1HKGayHUaWrH8uWIeikqr6ccZ78IBAd33hNAF2ZRsB6HhBG2QsLu0P+41FoMshON1mVUFFqtyoHefH5WDTbjo7veHEZrNQcJerY0YqZZy/a6eFbvz4vhn4pEfQNzr4gf7OuA5j346BzCRXz23OiSU0EaGOV13q7msczFzT9r+VhxOrJL1jK6dTiEEMkd/fhu17Qw9NcHGcx9PSUUr7H3oh97MiFqu4zk586k2lKxCUuS74007Ir626ukUX5zxtUaM0GL0P1EM9yEGIF+vhKw0wsKxZ/dAuu7pHQtd7BdeHnPlc8ey7s2cvQHFwAzTRuksIbLjUcizxU2IV9YtuBWfDjIb0LZ9sx9I6681BXFQWNaMT24sM7qf8LHD2Y+PQBb69HWMHPn4YbR4n7FO5a29Z0SVqbfPYa+gFHhENNuF6EEuU5y+JFwvD/S2blMJ63mbKxybAO0xAHHPMfuqG3/zBbHKXlTLxq8VZLObU7QkiVpxnVnQmOULk4uAOiADop2vRqJBxh3A3RhTVIRk0vi8rcQfHpzQWTfvn1E3Wms4/x/zn+rx6Za2l02cfIZsj/PkyUjCa1JEmuPP+eT8+cMnFU6qznQvzqdwVGWPS7ESBrOx3dFVuWMs1va4i78Q01RODFCd3HIn4JttMwpO+/9hi6o1IR1r3zzVkm96gmjy6go7a/0ryR4jpszLDwDszmiUn7egWNqnUoUeeTIlbcQm+z1dxpz8U3h7Jr0c1Y7hADlSVRGMXSLMcIEKBJ4Vyka7GQaYXaVgx3+Y78nOhiWrF8U5CSy0hnmS63ljj3vtdUobqX4Bnh3e5aR7/U7LIkTP5VhzRkc7rQtRwjeiFOEKS12H1cxMLOe906TkrNzCoVA7YDA/VqIaj2HKRwG6xSF7g84SAopZEFHQ6VWcRPUAoN6JkeSaTWufPS6kdTiM2xGJRIO4rUIYTyUGFDeztvOzBQvMK1fY8uVjajDUNJh+0NH9JVcUHqLp0lL6CQyo0O6fz9lxeX8f9IKxnbtLkrfQbXMSivMM1+8jrE5MKDxh4LlitLtgp3QButJy3iutWlETSgl7OfgWkta+I8o9JvlrXezUssmK4eaTiClIyvxWsg+PwUFndSlzrRAbAI1eWiUlI8TPuvnn5T2GkEmjE7L17+Lvj9gKOr1hfzBJzKUVBHmLPqpW4KN8oekMlgZAiF2xRM1cKZoGCVQ45KMq91kqVD2CwBo/meU0QwWOmPzLCKhuI4Yw1En1+4fth/bsSsVFMS4z6UMjp5rZxpyCp+sLIoyhcNW96D++GrDC2b2MqPCG2NjR51RUwnxLR9j6jSXFpOJLSOYQpJgZCuYLmtABcaBTw8KCVM5+P2nrg+hctE2bHYzX42mgpVLsPLsPXUZ7Dh7V3IZUZhT1e6qGmLMOSSiMwcWb81LxbFj2fX94KXsvRTEetMdOm6HGFrr93l3J469r25VP0LY+6Ds0Jgp1o4nPLugGE/CKwuhI1BsovMywN6lwrH7uhMK2/PlD/W0w/S6HBTSY75PH7Qlvk//N43fIuhAKs3wDY7d+LF+5KiAgfgGY1+lJVJhhDVNuOucnNXAHiotCldo8OGRHWPHLarvEJXKmHcWJYHGACXAOKQFCzMFk+iRvAva2dtgW1/AVY/dXtz2h42xNbIK2W3WILTKRTB639eNvJcqAYRPtCbaSCnapXbGsJsa/2vDcNmyu1uewyBNTYzAGEMznOYiqPVt2YFhzaRjvkQIsnxXWbvnuCNmJKrMB97wnEtO/7XRd7AW3WIYDRMJ9YhrZ4xWu5J0Rg+5NhuNvsOlwQ3IuFH7vRNOOg1s8VeeDscJR/L+cljU0BPCKdBO9t4F6gymg3cPMjIn4QSyYRuF5yfROGbzPDFjmzJ6LUALVOSw1m7w0CbnsOwsVo6bWIOd+SHrhBuRvs+fQ3jOzsqgg/N0ZcN3puuuQy0+h93NsVpmyOohQZ6F0UpenwaVvJioKodDIfSFVKeaPDcqVncEzdvhAf5lFj4hUldZMXE7cfiuNo7GH2C/5+OgKU/CSbUaUqoSMDNx+VOXz37+XhDHhes7Hdm3znZ4cEUHuvk6pReroIZnPre5793SdCRgnuA3kDI+0MXnoF8TXI1WyPfns6ivFcSg3Snq8DJOJz+CU/+0/OyFexXxeGoAlR7dIQYmUR2PBIiufQ1Dqqvh1ichqzMxLFEoo5IQq+r9xeHXZ8CAa4jdYT/40i0qnlhtOXZv48DuEKgc5ozNMDAGa70wUTKUIYMjOj5A4EvU3gcN5JFnuHeyANnOoDrhRb7hyFTu/3SVrpx4vXUTxozbgg7mJnTeORZ0ueUu1dHpV89On+u7+UuuyoxlQioQHEv7NXetGJ0AuLLXDWJ0QHtFa4J8Xq9ZWhB7IEaFajKtL4N+Zt0nekaCOcfh402QZp+oe2M7tb1vU4F3CjsfgKgeDycvQLVB3V2ud5KkemF+ivdXHVA0TC4/hnty3eKCOD15kihfBQ0fk6XHrKQltQdH8j0XjsiNofiVC1xPF+CnTiE8AeZoRfwza0XCcrDOZ0EbNrSu8c9bfjgkNvzPqs29wzv+Wt9MsxoLf5POfRmJxad49THLfVGmnjBJFaNgwkxnwqnOpQFspHyY4rxs0mss7j699gpSnL+6ldjR+IcIqhl+1pw9LLqt3f4P7J9FiC9BCfIN96zIzwTkthudOKUEI1Jlf8IwJVP1KVw6Uv0HPxYAK/ZTYmZuH9rVghGnZeiUQymqXJqcZ9cGKl3L8S+wgjEegqOpH2/KcKSPD8aVEeZdJSYYzp+VMoqTgf7pzuREEIz4NdFu616YIyVlkJUzHw3zBHHbyTK+wEzorweXzNcXT42UDedGuCZ1kgs0bbGagt/q/adT/qS69Slwp3s/8vIPW5eyZMSyW+OQCTm6KqW6x/edRaCmQCikmDn6eHUWEV/bt3pXVmZ8lbRj3l3wGWZ93o7e6NNZzmkn5aH/d7yePj9pJ2ngxl4aRb2drQaRBpGHfMzE00H0DKIGhuht+jwqOI3PZSONXJl0xXWA4OgWwDRmYvzztK6uyXPU/vjjP4pYlxVbk7lFDrATo7ofPrMW1eqb61fe5VdbkCs0+9OQ9hmBA6oqYq/7c/GQN6BhIYsCro3NwLkEBLYQIcrq728ZH+ytCrpiISdHKB1FCBM1oPhUiXG4HBEJy8XCbqIzElZ+WJAAc/67pWlbjOynFknMeeuCUyOp5w294bZ4eAuxLltR4PDa0l+WNvWn08/07N6xqyXWmMv2S/doUlFEh4+SNkfEdSojGipZeRbDzJPArruRkCtYdn95Ro01xjWqK/QVV27SzPD8IXX/YUVXT1brK20JnByv16OC/SGQArcOgmf7nfC1va647lTyujHy5fimRd7zFDkU9KGNli/D1zl1LiVc0qyfJh9JWD3+tJrOt/mfGPshs6x6RAHOiSIpMx+s3rC6AY8oyj8AQCgZCNAKDs2ZAskVF4Az+vVeATQ3bc97Neb1h2Gu2pJnd1gVuFzHQ/3y7WzD8IIvs+mufRf/f+ns91nY7TpLD5IgzgzjhzWZLpaT8YX6dNJiIplF9SiFgYCZ/FzWNDZPaBut2C4Rv8bdH7egtn7dJCtfDryBihr4pxl/TCvxdmuyaH3+3B80GFqXrmXsirM8CTucAGc0CVK31V6OCECIt4hdtDFk9V41UtO/HGHDk5YJDJ4zSXLc2g3NadyUfKv2eWAwInag8pB6CaqxnFe3odz7S5LC32nNorI3JQJaBHx+Jp7PQ/Te1ccPJweuqjh2CcskGhU5pz76oJekDGmCAh2zEhk2kWcrqhb5JwAyzdvPEzcV/v8bLcri9+J87VgdvnaG0e6k5/i1zN1zFW4MMUXj3/aiqPV5SOtxUG6rjJHWtUGjA4T3fC0E2iXWGeI0nQAlad6eVhxe59bHPEYyRuj5hTNdz9bnDSAu+b5iYxkq5J/ev9N7ezxZhe/hKUd13QOVMoqQT2uZhOUAEADuwZfwW+pcKLMUPupFOkHYs5MewxwDaW9qxVaB1LgFvcUjzK4MxEuguhntGvl9qF7UBtHmIrf4TRuFPzwzK5q590cUDJTvaSHjHAq5ESUrviN5nzkkSQP37lGmoaNHRyxi0qA7vwvl107KIdUr1nGjI97j6qqJt8y9fs2pV3PrH/xyNchdECeyg3bY6gQeJ3TbEE5wZbymZ0S7G7y6Wv/VAl9/q9Gzl+wCSIvdt29A8nSwcrMcw5/HT5PeQBXUWvytVQhEsIggIB+/EiInPoPqDH3cj+TtzdvFAUDtE0aMhtdfKPG4gRIIUCYcvhLZoFUOzsCbsRgNwCNOEiUmYSl0wqT1yNTCXF0+9HnQa96mRoOwMc2o7V12X1M+bfVjA+4RdHGmxFWjPxXBC7/FWQba/CJMO23Uwfzz8eO3wFrE4GXlNdeUy9ZwW9XrdOacI6Nf/0tyyTiV1C8HvHFj9lKbujAyD/54fnBGj7QPI31CMJsraxoH+j6IqP+kwgkAhRMQOUvy2GmUpkRDLKBjtaB008eVPAOiMg7EqVA4at3txatmICvL3XcQnCFoeGlC7WFKftBVjqgtrTasbsyLzRtIC84fJ1+jzm3v8iv/LI0NienZ18veUv60aJrsaK/WJH95Vs2TH+n6DgScWK+4tg27ql9P3KEHEGh3XV6J+Xg0fuDvcLOaFFBiMykmy+J2cywBjldixj2LhgvpU8hACDSv8nvRJ8bolYq7tkjuR2x0CipRM74jmoYewtFIUQC8P7ljyiEZYj46/avm85KRjKrJayJHOM6O0WsLxN6hnPbfcBk32XeFwGbSlHxV85wu6CIjeHy/oOkLLF3fx3lPHCs+BEF5LaBDud7lkkN9HCpx4OuhutWTLkkDOZ8uKiGifla+1yZyV4fIABQIOKumNo4g4JqOot6SikNyzFQSrojM2JEfBAnqd6AZNvHx/JEScbpj1nRTBG89Tm3OIiPmLxA+DfroU+XgIkqha9NCHWSX7IselpkXzg8O2qaAFCJea1raYlABoA3N1I1Vs3BEDk6c3AlHy0QZNXsTGpNo3X5NxTiYIBun/8q2NJjo8QKHmjiFijoQUf1tcEafgyWVtJFwy5qNNw7scq8CT0NhMIy14CaHQ39gKIJuXRnG6DQu3vqUr5ExVkwHmdUn4fPMhVAgmOBpmVZ2hmJ3vpuu2ukEFZYMnOmAlKK3CZotPsJ3263PrgvsQvor+ICwQjUY6hkkXZwWBu5i11FCawawjaFWdy8NzdyNFk7TKcp86PITQhXlwo21qQETf8SYOOAgKjeuQniduJOapXZXwjLLYPcnbGbOz5DHg8/o1IEG28q6/H9qhSJ7MxPfdZNIK89opdxQDbWbP0iNDoJViXRXarC05vnsRCC5Us3EQwlku5uyq5UTT7kYi5xCckmWproIfqfZmQMVj/HUVSRvAN+05GD/liWf6VQiokxz72qgDebh/bXNEK/QrAD4DSt1x486dnOQL41OvhWhEMuiyNgn/jgaThoBMObe6YbsCPX/V7P/5ApeBAOl27NB0+lBjs67HPlk/BMjLkDV+E+ZiHVvotUSBlVMEGM34MIyAAoPbybbI1W8nDkSdnIU1v2LYZlraNBKAKwZRY+FYy1TmwoQ0+boC/ABQ6vdYIn1BkdY2h+3ewmlfpjSTUZOV/UbGO6sE9MuaD557gy44uUGql9FzmG5YyfA1TFX0AIUIRpe6BaJRSviUoKterMpWa7l5gKGJxTEAYTPJWoFFQd9t+dkEoN65N8DHOfDrYcrDkoCq1KVnrAbpag4U48T2jeJdWFqr4r/t2xUBJdKsGmRjXypAv4br+Nehmi1H3bWxhYDpIyNfCAIWixHM8YJ2TaGNOz+eWUSFipNFRbUjNAmPaSO9JSI4yJKyyez1ZuvR1G0j9wmQS6b0peNaDYhpHcqA4+jNRfCStN5VViSsbOi9w80MOnX9Nl5/VCREsWNzJuyNGVFdc/pwBfkoTD0THQJJ8KJZv3t3/pdqHto91HVTAhYqX3V4eyFdL2gEMWazU3hfKmhuUxHV3eq+b4oF3BlZY2nSs/r+dpIWuULw/+vWW4iEaF74t4aj2lkbwFKReW4xtDa9rGfoIwMR0GcdKw7//MBpMBGlPVTyZkkR6UboKs+yyGc0hvEzJcFXPmc7JHPfCCbpSmVXMicuL3Gzs+mC3OwnK0TXbcqGtnp1NApvBlf8dLU+CzjYijY2ORdHH+lSw3e14u0YblwQT0XvzBbKR2RbTu2JtTC+VHYKa9YvGMGjPMScKwrbJqvjJsgsnVTU9PUHD2kI42XXTTcJ32iyem3WjkTxkJFsInsuNevBQCrhqzlWldOO21Tnp5sgb5FnYservnDWYY06BCUcgVaCKzVWj8kaocxbo2BOUvZTc1i+28ty01OGii24sszo9JXrL68hMlUFFmkPNH8CrosuylFD9w1+JU8Wx2LfGDiRjDMLe2mNZGvQVihK/B+sQ+NxcdtxljLhseNN9/xV2ZUKOtds3sXCP1O7Iay3SaI2ph3htcLhQV2foROauIqw0/tnWJ+wh7nFpXco8wUVx2RV3IZ5inQsVdludWl/YNUhnQq24aGydEZr55yhgIMRIFuzAUusMROa2owzy963ZEHbwXACTSDQNXWIiMpCR4iuKjaqMmR7dojrnLn0m5pEAQapU0v/2SNnrLSRzg3ggavhGxSdo905VHIWFZpjCD5zROqand4WKN2+vYq07V2uUOE28bm7wyURfqCGCC9QSFzGwF8DVePZRocIr2v8zVDcM7pW6dTbZlvbLDKkNA+mXlMyOQj2+9ucPGGK2XJtWcAeQUQMydLdXn8QssTM19YRztiGCzU+BYOa0/bcIq30NLrDy2YaBr7TdgX1vsdDTEcuLjw/epLZ78Aw3JxG28ehotWazYo8Jk4n4xEsg3koqTCrQ4/s2HL8MMPPZBvTjygm3p5J6VTjWiqvicRDSv3cFKtquoXYEMuJO1SGtYxFAxLNkXjEG7vRaykRjXd5zVSE3+ZkE4binUe9EgPIStBEGyf90CDWiXP6btTDAvZ9lyxDdZ5u+gbzPhmzWsr0XB9+jSO+KOsu2ijkxrnj/UvDmkXz43igz/tN/PPbJrRpRBl/pzYIiz42PxTQwOrEzJtskp7bZVZktIJXS1vslEnWQYGSH12U9RnHmKMNioWMIU43ESA/5XsSwtuVLUCurhek4UyvHwL2Gf++c78HYYnCA5MjBUGSsBiB1h93eDqhhQ7oMv2vIH9e90u7fnZkGfuRy7EhuHsXwCO47FGH4PlV/WrcnAmWUP7t8Siegg3qlO4qvBIKRtb0HqN1AJo0JkdOLFagWRk+MtVNB6bRUMwwOdrCR5+CdydLAHbhLzjCqQE1hA7y8pcqcNa/M2SXm7oANdsilkLurfV0YK1ZUOkmfOYlwAv/zyTq6EKYS7G+kLBeifeRaAwGhctdELYBZSeKIeSnA5rrZQ/FV89V8a9NzBw3ouuvek0HgAFOYcEYprqu5oKm7bzBaorv4jeRrimBynRjCeNPy5oyZwLN7yNb77wU6hf9QKTysn+0dUqAE3TvZdb/J5kfFtjQiIQwmzio/hrmooehaSkZzIh21Qu5HYzgSVvWGXf4lCi8Mq8luT/hE+nuSOFCjg779Sm0ImFbs3F/QrbB3YPzGQxX8FjRms/3W3u/jSLAdQSC3fqC13gQyJD+1Oon41mr+aBuGQI5E51CMFf+P/wVj3Mg+nLQpfsnDzwOu0HdDaB467lrIv7MTxSrUE47RGlFAqei44MrDt6nJT6zDHd3KMbOpY1YRxMPzT+G3K0UCWAQPh7xvDf+L2lct3/61QnfL8Ch4K1mXS+7tcKBUK2V7rVIyYiBFZwx6H0lc97784n+29slRWk5LPEfbAUl9YMRUqbi/3GRJ2QzOCF0zlgBZ3aXrE0OnXHB60XUBTYRXy4vT09KvGBHI/JSO/PehgXruOdcwUEXJtUsMk17ZstcDPOGfYuoYG+FPsnB73T3ns81rfG60uBSdQoUkeVO6H0Q89pQuXPkdmG3HTMorbSvTDLAv9K9sgXy2wypDJreByz8b6Ypg4Kw5SZ0jxkYFGwLuM+MGX/0g4hB6s0ioyPGRbkYMBSTgJ2GNXDLP1UwgcikLjAs0wf53vQE4+BapUDYTOMsMfKBQdfqxKGlHYbotiA6V36fx866cwDAEuNE+RVJy+NEtSpr6UvwzjvQ1dJbtDMBA53soGxIRntnlNkG1xBhsafy8+pyDfjfs+G/DDk71zg5Qd3PQtTZCY1mq5J8qYOn+6OcecVNKBLIMHef55TKInX4HE20NN7DePDmadJ+F+L0qUNC2QF01wfqyHsHmHMGL5co2B6j83xWnHjCDPrQKMiHsYK4uBpiGkftyJnode5uKTopMqx3FUp+zaB7jWi9ou5tfRCxsNMJFWrezXfwAOT5gAJJDKRRxcifi3fk77ZoVvmzHGmuOHEsZx9Lp+sJxaS/mshPVZbeLrQS82/rWKNkFTodRZ5ZdBtg5pb3f3/DKeL6oz4lfCvXct+cwxZIXh+gvlzD9uGhXPFuvJ6Et0LAu0P5PipcGL0EO16ynXPZv1SP5rROWFygtuVh4dkiJwO/bnG8VZYyKD9phAcsEVuPCAnm8HWz35IE50mw57/s01bqGWFRlGiMFVgq5KWMw1kaw7P1R+R6lpVhc7/eMqa1Yy5LedTLSs04gcXLDwZgkxezEFZ2CIFYIolqDByXQF2PeZnGfMkuU22y2O7zcyrMmti5gS2UD8EO3HcDdTxBsIiP0n6yUf2Fhn6KT2ig5Euo76SG4PazV2lE7KoOEiDQe2U9ZMhDulSvI/NyoWpHk5VDV0SfTj+4xcIlGgA8V/uRrx85ds6VLfORJrqVaNrg2chQxTcuwQJoRmjSVz0HTB3WKJB8ylDmi94ULir/J7QAJWzmPlQnjZ3y+raiud3LQcrs8xXx8NOWG88afIn8LHsmJIY8v/FKu8Pino5oHAV7vxbcRci1osCSP2QhlY5uuLE6hc1ZT7WTrMatRPbj0FQiIYhSFaC7T50+zRq6vMzNI0FtOVNzigv+rJVv7YeGbAoK1xDz5KlHCreomx7wTCUFeUeUfOtbLz/xJjA70p6n/RBnaTkRlpFSq4HwNYpZAPJGdrh0OQNgwNYlMISwRDccKyiDv+tQMrOdkFc40foi5Y8MoHR8BQI1Fil+2ppCquVBBOMVYARTpU952X9MAPhG1+Bh7g0glboX44pqx5F6BvQ4Jv4yt9C0da+90YbMM5hJZITCRXsDbmrJQOC+QnOP6LNMJFwt+n/M12jc/m6qvEMXciEap4s4bIZQE2e83GZKltJ9LSmfDlMcsJyOByn9swVHfufD5cyoX74mX1+lrHIeEJvFWtHSbXblXvA1w9gNkqcCmE/HFL2OZ9rCFRFdamqFZqWNx/ff9HIS8ZDuebZ11OBjYTQ3yflZpD44D3Y60gOLD2NsQ6Qlsnzx4n9BQVG097T+vIpsbte/Rx0rSJ+5hPRowXHuNTRYBIEmWxAOmrG1emn6La20dDsiZYCsiP3jg5RtjXQGec5oIK/yS9DJRxkmyWBbQXiXhkcve6tHOGP6asOqUoS95u2ZaWdv9fTVrSo4CE+9tiL9NyIJNwX4Or++eVBJmybYbsHmCTTiEOA4WLtsckLy3aR+nBDiTUBAOATxnf5ZosdUy5HUhdnKxFUEF/ZKkN8++RWTbN+Qk2AuAABAHyuZ7QiZYHdjUiwUe1qhLK4/APS1gNH89wpa9XfHL5mEyibe1oLBrgrj7hFrMSSVsq/FZyeiRNA/zzpxU4q87JzLj060Qh47oICHX4kNFGSD3TPdr00HXXcj2g4q45Df+gbRfsMW+72fYoqQOICPJ5LKY7uWd1/ok1rXvRMICHPXnfSXdwIMhYZrzUpfVSUK/yEZQ0SvFCEHaANMB3z4U6sj8W63cNYBQ3HAF6iO51X2U/gS6GTgiiHp6vPTjEKyVmW7LYAFEv7QrhYt/5ts/U+H5pxTNaIHTgPXJ86a+J33xJStae8MnXKUmvRP9ONOxaePdtSSMjWnZ51AhX52Ms/T4F/LrskX9cHDRVlAE40Plq9hk9VQxSKHfKnx+nljATE5/ppjs2iDh0cRBpLnmb54AdCgabRAQXG8HnCiVoTEecS/sTkYVCL3WqIN3l0/30xnDN6KQ0bEvulb9bxovCgurqEdEVPROt1HxJV225ag5ZY2NdXJy9cW0cfYZAGfxp6XqPCASEgZBXO4TqsGXCa7tNkpCuaYFyMhBzFzhU4UAG2Aqq8NyAWxv1ha81SZdiD1PcjQGQ3FGlv11d7mddTE4TVccZ5HrwsF+XYVoxe1MANIRK/lYjw5cRWHqjJMY4gxBOzj5t7vQVx1aXhZeQiPEt3kG90m0bg9BvUkNsdRlfYyVVDIcWZz9a0iYJDzWnh483E58QWz4jia6SGzmQqFeWcSRwxgaC5DtbvTG0P3SoORdfKawrjYEBL2vXMo0auLQfVH2OUDrXx4s37tLvA10DrIwfjL22BVih+gox8HCG9WUYuOiweP4UnT6gRK7rxtM0UpMyYBdf94H5UVVr0MOssFnXrieWsNYeaYbzCWDYjVv2dznJ4fSlDh9BJJmKBR0xEiWixxDuxSiqyDG4c9E21hwj2Om8+4mEAgImEzUYcwV0fqMEMHuNAuLYKsnrxwFtzsPSF9xO99EbV68iK2gIeqE8n92H/BsdaTLjCl96JXOFsvMIWDFQwU7C/RhpgS3i23LzDYdWI5hmZV8RnuISS67Pnfm4pGq/dI/zujdNMz7/QmLNQzqeGydtfjT+UWDI8O7YlXQOO3bGcMBVa3stRPMmAc/bU8ouZMHXTQh6qD91QWQMJMdkvZmFk2SzGZ6jTufrxo7FubjWjg+ECzjhYTrU9+Rbshi+IdSemYkfvL6XNPvCowBC+c/7X5HGEMYyCRb/vXBPxw/s08gg6FdqhzSdZiTDbAT3UjFm/owwVURxzMV945wHJpWRTfZEvqRDjp/90UTPqgrikE4EdGbTvolx+nff+woJJQzyp8HEo7ZlFIRFCBrj+pgNwDRlwkhzKl8zNQOrgwY2ubjOszyNDazfKwPBtZ5GucSIhH0kxPgmqtCb/rDQ67n9wFUJj8PAddd9421+WBl8urSG2GouQvt0oNEsPuY2jMTdi0pFum88h80Y0u23TF0pKcXU3aORRj+BVoW0gCjxGBoOw2uRZq+1KXHcTcx2iWY31FF9yKW+EKORIcgQEkJ2k1SG2WqtedrnJVoNEg7N7VddmwrZGE+uhclYVfH6/gH9eit3oszEh1YV3hPPnFoky1wzhW2NFxHyWGzhm941yoTbrEAoV6DmTHTemFTQZR1aYUzT37eypIBFO946LsHYj34CpWNIrwzAcJrBxAUdwDQ6vxtR2qf2Hcjc/ch9Nuq1Zb/ElX0NgZbHnHPvbsfEckQn0Us0kSUJIyrp24LEMbRd0/eXxdggdPCZl3dTSOBoKnNWnQiFcLwAfasy8n+4opJWhknGi8S1PYdx2yA/fwxYKAXPzmZ8zm+osF4ETDqBn9zI7LR/W2xLBZixAqhi+0YumeuITcHPAJZ2P5oM8NQkJ49lEa5Bn3m9tE1R5nUJrJmAoq+i5mxX/urP8qctNjuKajVxyHEoQS+3xeDECbXDjw7ZM+ON4u6lGsjtTA/79CAXhGrOEp9zxY2iHzUxKs68dQoAva4mnjGrnz2A2RqsxhFMmTp8Nc0kWsrkRQb/BW1uBS+ZOT4ltoKEvIVO7aS7eBOMoKJTmaNoSYnglwD9hJFBue0ze6j54FL0ti+SkTMq3gpspu9/zs42MxZsc4SERopHHBWUogYKtgY9cVEpxmPeGge+zIFR62MJmUOak9D5pE7FTPKmpN120G41YthNU6zLL99ZZpLmdLRLb+pEqK/2OfRmqZOi1D0J7odK5ckS/xAujBNG2PquZ6G2xqhqAj0UFEwCkw4PEBX3P5Kgb41INiOUA3JAlL8rXwWsyJHVLz1XHlhunQtn2rNuuVjGZUqteqmgJOaEw1kE1u8eLXLH7+OBdlWLbPIdjbyl8t4CZWPLS6miB1WBKGzU6pVcJplZj50cgiEJtN6dea1+r+YpxvWhzV5GCkG2rprACqVmmGba9SHg6pPFNoZEOYTf0MGMBKHj1KSYKGw5/9QOPLxkS4ZE6S+jvoLFlUesaw+69+ZKZnoHL0VVvYTJUo6iM9h5dHuUvaOT8X/wE5Q/0+IPQTnlmKzYGIYDB1d84TPYgC+yX2CF3nM8SA4EcO7jhBjqbgOgunjeiNxghPAJVHjP3kB4OQpRgn3r1EkS2d9R+TOiTnjE9NpanBCfHuTzUK0AA5/tp0NwlOZDPjXh/pTDXl9S0BXgY6EB/Ji7TSg2NM1fbm4SLLBZbbIUOQc4Uw/D7w+TW7+TS39ed7HMtRO5QOoPLZF7IYdvcNjSQthsZjkdy9nfCTz/vyL7zFXDccqx2PLXuv4ev3Xh4UGV/LN5ZmG7o2qh4pJwPblc7YVM+NSItKGxW853YaREgakdmcLOBMsVTUMYxRoZrogVyRYzFEZZzVAuX3lNAjNKTI/x4g4vGRhHPRPV9eil9Vx7jfR8wzJIW+W9Tl1enUS19Fys00ZD8PDgZ3pLGSmWlb+cliFXXg+1VmlqeRm3w0gUHqJOu81jmejDeLExuD8DcQg7HM5orhNLX1WP2i86TI33FmYRexsXXW5gl4hkUokbcV5cYMPeqh8kPehxWh9f0wcVVyrUeZn0SXDHJXLB2N2p/dkZ4o4VH4gdxYGhCKVGbKb2xRsZH6cLVA+oiVLRP93Mo+ZoPRnsnRV1vhaKHz74RTgF9JwwFhnhpETM93XHd7KDwef6tIyz5Da+WXOtF/By983GWoAiTGP1udWwcm+Fk1P3a2zCQX+bnmeElU8z6lvs4+n4DERmI+jAq115nbdcyIgMicEAymi84O+/Psvk/goqqq9/es4gQRFKPKTGYZQB8aVTW+Ltw8/Izm/jhbEQH7G5yQ037lbjtCE3jJOg0S30XCLRySgTfrEKAvnYK56Y7J9E2F8BwokYlrh3H5Opx3JumvH122RLzKARLxohWRDEDBltubLYWfi5dAVW8qZ4qB0Ar0BxPXgMuUXCst8jrx9o2wKMIw2StHIFe78BniANAMli1NWpnWpqCXKZw1eFQfaRdsYxYzp29H716DrpQs3oPN3jHhAZSRvOxtHiZJ014z6jUyfV+YufeMXYhpfGtZ89GPhCm5Mmtdb4xhfQSY7Ma+vQ9M71tzOQsYBfqPgcfYyTMQnynn0Bo0SwNP3uTfFNS+RIBg2CaU5OzYLOqms1SiR0wZnXQWoU2N927YtitOSPGxQ1cRLdz2Yt2v9gQdC2mk23u31OVX5ecfr2BPR7JYR1bDEbh+ZfRfecGH9EbfJhjt+aLB0EERn9JlWQ3kuIjLPJ+BPZy8MglPt09Jy2Bt77sOZOdh2zEHl0pOmFg+aMmln91/Q6CWlD7UPBtbTrGz41AxjbwFMe2MRAHAh7MdUMT5Xe9hr0ZIN03SwzwBULOoZtuC8f7Vqpe//6Xzj0ihLhgB3NKoBgyLfgM+JzVBDuWxHXltusYADfuZ8/Idm2N9hJPvAiTgVFKxCxM+1CIRAYms5YWGZjXWKtW445Bt6V040vts3ZZTr+Xea4MpYkW2xqLX6EN9dIID4o/aA1HDrW86T7BncdFJaEOsXiXWfJeH9oIx30NjXM7XZoFeSmOveSMOIVRcBrHSV8m+zrTzQP2fKDB0gIJZmCqm3LEXpfDsSLULHad9mO84azanWwqUZ9Wecr59skLnOqwsDf5WNsXGcfMl5S2HfBXiVYAQW2pvMfDsPBgfgkhHiny1VUgN6mxq6Yhfi5ss3blyyOGU/mZ3p1w0yq1SXs8UhnL+UUE+MsVc8XLP45EmiqMQ7u5S/kFtlwLoYHlWbXzrf3IuV8LisLjv9C3Hc0WrBlU80x7+xsEUIN0Y6YqTEf9trOeSN6aeXBb+b8i2vRp8YADkhO3dPxxddblC/qdP2F18LPMcQ++nAre/d5Lii0mUjWFDYa1EGR1rBCoPZcl+jZoPXjDMwICqsrHNUZyb+P9yvN9W/bHHNXCYPFuHW2YXtIegywZDoW7vfRDuMLL7TeOvrDjt5uF8yBA1eAsLeNgjyZZoIYKZvku/O3XqCYkyya+Oi02IE2NWudmRo+gcnxDB6bbzI5L9RYvlDMIFUca2Joa0N+Fnmrv4favhMh8AYPgF5XmZY637258dqz7Vxbp1KoIblE8VkG9oBKU7jGndjEy4csUypcMqeNrd6EiNZv6wXrcjvDkHQZukDSy9CnDraBxg8GWFpAmTHrRVQTSyVDelQkbXhdHHlubb0CvWljILHO3CyRAisDjQbp7N5Fq30IFHTmLpnnSz0QyU3dtWms/2ZmUP9oVITQxmGDLghrbBMnISgMZWvkEovPy5SJuw8SHiMp9YOhtQXHItKH26yK3H3YOK/CeVwQ0YXzS+8BwbiHsgp0nzC+Jjt9RIoi4j7z37nN6oGxCPssh6knYGK3XS3XU3HGlRA2iX5LjYW5LSMu9ulOKdCTTwHnSjNoOGX9nFFdG62SmPDx6iuWainIwSNvo+/LkiwdfCfLS2R+OGRUVwAugYfv9htyvP1FLp3aXeje5Z/S6ajZCR8KAgNWQAL+AWWTaw39jOGJB0YoPiYsTxZ65Pecb4otWkakbQMlNd2r3evgh5TFPd0tvfP/8kfynMwUpuoI5gJ/LFPYC6Yuj6gOAft3Q22lIglFf6PjJRdp0LTUXvFEUSqURw9rbLhOh0eYfke6DhCzyKmIb4EnKP1wP8OZH3Kh7xR+7ygzpchMzT+JW2XZxjABODE4QhmNIPFQxL6i1tu6teuixlawsbUaqbB45WuFMH8tuavpWDEs/tFTWOQpBaTvdRhPEMRmjsvnFldi3XxMYXOeEgsBT+RCk8g/kpyGlynDQsKzEsGG601xp0lLoZ8pjNOfpSVwAFQxwUB0/BesrQOa5mnR1hFQvktIiWGwjP2tqXBUbLjbOUlXcRyfIxOXTQXoeaQDVbvi49kH1p0QVyDE7O/l1ZhgNMBSUU4CuTeAWd5U2Utnqjj176mYwvZFc+qfkiEmDoJG7xm0h+JaFXhkALyUZlf4puwpFD2hHu6Pa5+iGaHRQXYJYNGX3AI3tWsf0osToN0I1+oiUD5WSk8oGUr6Dl4d0hroFENGxRhnfJ8oAIJraRDxtmVT9R+eApy3wOY961JJpCowFWxsxSJejkTYpUUS/dFOL1/dpyvP/p4aa/onulqkl4ABBZL6XkVoujpR/0CBrhpzateNzzWMXvuBsuFvXRUkkGL9Zh5M/V90XrVf8efkn+aBFUPBjWZ1S5WfXTbdYKu1/bQqfx4+F0zbMu19D1P0Ck6qa1Gdej3URxLX6V+DNdHMRGq3opOu5uAh2d0WTF3xE5UBruY4TsuOW+bFNnss7w9XXZa6TX5yLUjcNvz0X+CO4QxbvQoNAL2gYjTJmfcAqJq++wxJQyza4/KPp4HCOHExWtDbXq2xjvLI32UE2XyWNuq/Rvk3jvngVnXj9QXsQcQCAEyOeMox5sBut/o4QOsAH/hB2h+SGxnJsLbahWt51IHCZTBMVHAKTRFh7Z7Y5VkqgW/p4lEtYclJlVVeTJyVQ5IeNylrIQgWECwgKVo0dG/5pzrI6rxJBg/nnQeP5zcyi0ub77jdqiDvQGbzG8PlcWpXMCwNfofXshL2ITVtfiTL1PzLJITkpz9OECGysCcoH4G95A5pmkq2c69E8zczsHc8SkauXC1cKsbWQe8ry+kCsUT2g4PXc1pj1Wfa3rzKw6GKacuv49hAmZgI+oxZmBXI8vjQOKmhQ+qAOTHQtFlqcLqGOCC1lAXV9+o4pocYKEUsHwYdPveyZb/AxSErDdd7zltFYK7UyVaksQNdPE/W1iNrrRfHVhGwv22WSelFyOxj4ZK9t42Hpo2dwkFmHpbXPdOO3KVvQvigW/X2BiaVtECPG7awx7Ja0rVrTCglSkzl9oPtSC7Ri62mkRzGl+TBK2fxr/XALyOUK8Zzzm8IFDDjRUXIweFZtmAKF4eflqu/6fyelDuVwZRUalMDdkj0hTCCwO8CaeBqFqZNz4bKxhSiC3W2V+EqAJUj08cnBsF/DSHca/GJ0OA4Hdt43/IqcQ90bKCICqkJIaxGE3iIFgAlr9iTJfg2n4C/e4cSLY2kjQr+sSvY1HcsFJid3CIbkdHM7RZ7oNaKyQfc9f/mAxModDTanK5BxVZP3xJKF5uy+VgX2xlzYsltBG+uNL8uAV6XO52wM+y3siTldwl7tQBz6JYuAkbz7BFoxKhQuYn8KTOqCT0pvVSg+OwCch/vsgSERCJGlqd9QGkmTXZciBioPlTrsCVInMs5K4rZ2v5qjJSmoY+998h2kBhsf0n2sWDryGQjjFn9gVcPM4NunepGbzy20AB5k42tLid9vdo5jzt8IXNW4o6n9wJ9Bbt7A2lWy9J+Wn4G+tbe4I4dK9Y3KK3KnDUtc6u/OnCN1GWDFcm8Jss9iXJtpiZsLA1oH5HIJywyDWDpdL0NdgBbLDPhoraWtaBeyXb2OsGOeWXMzvUCTvMG3+kuqG6F9K5uokde+NQ75XuX7tz+mGkT6ilKXwWGN9SM8EloopDtpXG83dTF0DAeeAKszzXJwpDOv/VQ334XdXYBVMmO0bzOkK30lLyfUU2cR13tSaWDmoRSZOOs1d/oErlmXUVc79HO9Fg5OsfLcP3DzkWnj2/ETS6QzglavUOVYdp0MtgFN0VZ5bDRApolHIinxyF4z7fVnOEqQxeDLBZ/As6YmRohEp1EovNyDvGKeivRh2jB8sDpcpcFiWEqtAJhYrLTqLoyWnsg5eKWofwvw2fURKDSLJDR223r4NXCa54N7bdzq3ZjTRR84EyhyaAr75oGxElxEJNNwApwUq8j0YkA67aKPc0V0+iPxpHHrn+C9QxHZi5AL/bjNcqLEZg/inbTpY4vwcmVpk9c5nGS+MXxqDq9pdpcWVjtAuK84VHT3qq3j5pCSGvjk+MiiBpPez/iKqPWkygtjIv24OLgfCrLCVqI0riS/Vnq1y0QsV07BLJ2LhxNFUc/h1Iy3Z9z3HBYCGngK/I5gbLBvWmb96QxF4SApQ3kIJfMv9koZi5Lfjiw5v3La887gUW4RCtaWtFpKgbP/ctC4NFXolJ3gpxPfPB6u5jC3uWmRFc5hfPTGeC+z1fgczDRHOFtDHCgg+mM6aaLBExtu8rTdQZJzZ6ljFGQhq+EDRswsbXd6VWQ2m+k0/XvCA9bM9cJfTqdJI57REjPy2jkvPUV6kWc00mEWQO1soxjzelQFpZW4RsC++ijEO0/vOFZTeHX1qYsi7Xv5CjhtYQesJu6detD8W5n3N5zB0NN+TB1NFiuTwi1kRahQkvS54S6mELhS2/O/20QIU4CFBK4PQnc5J4RjGX3gbGFPk4QSEf4BvBUdgx279A0F6Rw1WSGPjxKV3JsUuCrmDCNeOQWr0SVD2ANDoKeYtKNP2zSqEvPUvGaHJs1/+RjW2UPsXmPe57dhduTAvKOE3G0vVOfaT72PeiFbuNqgpfDToR8uc4P/tCzRKuWQrormyYBSmUXordaxz0B8ch6J7F06SYD4zJE/VGT1twBAnV1NuZ2FgAhwNIuWWlKFugEqyvONVuhpvqdEHQwXeJB77yCNKrDasM8XDIq3LcXDO3pQm+4dK5qW3OUsgCqpJh89YAFRTPmJiKfG84FQ6iYCzG9kYkXEyTXVrsRsa2caUw5Qd1WYbpgTonDcOX7UpAkzF5ifL1s2LmQWin7eOsPdwWeoX0jlHCSPFKMRMU6P0nMcGVSPCnNQb0g/AF/2VArk5CmeBNnzYRdCOmdtcGf+04rUuZPQpxSm/y5wWdyeUkXRDFFnVeVCvSYPywcDsK2VSN/Ch83b6xlXm8qoV/OHHVYFUOa7nQ4hVj07OZkAwu5w6TQt6TWLgwjZdOvGOGHmSDnZZHjqh+LY9Ap1xaf1VycVwHOIfmaL1rfA6/rs2YUaQ073NMTwlc/hOZtjW5is/rW2x5cVCy71cWfTnFIDThsqLOjNxYO/kdE1fcpwRFzGpcF35CfmbepIq+B7r00oW8akwnGV1YOeLUjLgLlxB56Og0QONc1hvnXPlBNf8Y/7l9jtCsPM7+fptUPwy/1iZRZ7JA9Aw06NTVkoSlxmoUsKkySsp5obyrIfkoEJjePvql8ixRCTZkK6fRDj6GehEMgSQi3ilnLOR+u2XD5ASxiUZXYvdudbFXO/zFlBO9JycyLCcjA6+TRo3Mh8pmZ0O5TGPN11X4N2qZ+3CA1e51gMm7wC+91ZCry2UxNnlCX+pA0qrgN3AuJxypCcMPDbbwPLk6AMCN4yLKX/OtifjFaJuH+8yD09lwC10T2f410NduYUvTPOlgb1tZKuEpFzygkdCzGqIaSV6sAT/JLYc+ClgawJTU7L4Uv5B4eh/tXFCs0nQk1jDEEiGTedvpLpbNgMGEGqRtd4gsNrTXWK1+0DHWQIlfSB/JNH34nTyaRcN0IDcwuUNbL7Y/OM1aBJiqOiZT662rwjH3bJxlBOPxg8dTGpBqRtgUZhqBkZcIlQoHkMOz+j4hc12uANIGsiMbxRdvuJhLmjIQeACYYUk4XtNY+znNbDBkSNMObY6ATcJJJCrKEj+2lxkiANQfToXd40CwcJspSOC1U7/CiYDRoj3d7HxKzPJDABDDr3gJBh03gXkiODro4Y+zB3zBIz/5S68y/53VstTfWgnrxK6hc5/UkhH+caPrydaZgmrLMl1gu3WDxBNmf+EZe+xNfFSNNPFq9eq6xKwwupuK+0W99rFER60a9zCs5IODkr7e/1hudsgJPWoi0KAuSCmjvNZ0OlyBQpCXTecoOTC5Tgxu4yzzMdFuTVki5T/AeVJVAZNy1LgVsw1se2557SZ9K6eduzlqxEceZTKh/jMHyunNr32NhtjAvcFArcuHe3edZn7ySxaj4hXYsjDMwbmM5sXKmYvNHTglTGQhFq/+1MwPBBJVXra6/0XFhLWqadTEQaIp3uYud4EjWlDellaQN/IBO0O3CGTgzC29zAGmFWAh2R41fHdJhxhn0shid1sw79EnnvaW8dbXFAyZKpPWb/lYzw7oEHp60445N5C07EGoVbU9PoBBUnbeU74KiHj5mWZBQEzUqF5eC6jt2nUGWuG8xoWRBsgQRyj5Oiw2WDBxr+qXn7GMRxSYgi17Qf1zgs1uNKAl69yOPwVXKn/wFAy7JT4K57vyjKdtb8vfBFPgTMw2+FOmGkkz0LHb4itbn1xoG6KvBfIQg+GqgacsAbrsDIB31NSywr5Ph0um1ouJ540LkrQRguIccRM/+fL1QSpBuTat3QslLjsAOUnrHMOiKrc4Y+qOLeySwjlsp5p5kWk786CqAAl2UAKdbZKkO+8e5tfgILxrf7gMlWkPjZBWK+yKToRiIvfqSg15rjXgbAzmral45P1jwO0mzhRYxq0ghyWlvMW4e+cZMxLF+N6F0w0/mWSL0SSYxJIAgAA47BwIOF31JcasPO8Xsvwpm4u9fkt//TsuaZqH/14CLuNk5C4g6EWehwmZHLXIQY97CldYC1E5mK4N5Y6foJ1HjzxjRvurwsDKGrbGd1oVTRl65hZiyfuYzRHi8wtTM/LtF9kV/F+Fr10NZoU2aobeYNTz613zaz9il+TDzR+7L5J6hdO11cjP0jb6BgwOXSz9/BXoMpHhkGmVsVkoF6a8aZG5hK1JzSzFQmYLS0LJATcHKWimc22YPZpL8CYfAF0DsRd/OSe1n1kJQEb9W6CNLt1YlM8iSxNGGLos6CEq7Q6wqEfNFF+vZsc8xaTwWUN0k7f3TQ2dGWJThp/KlSgiYoWeVWbzjKPqrsq9S81MwuZKQTND+tMY+xvvB52i1VzivPmwuQzqtGvFW16W5Simq5eBoWT7HSv/8FolBZw3Hdj/yGwsv/7SEnxqVGzbKXeLoag9G7hRhXwCVFLvwjxi7A1KbYtp7ChbZRHsxBUEoImXlBhApiWr3p2zTSMpaJUtibRo8aI0fbN0oHuCxsc8I0Iw+JvotBBqPv4FXQkGNiPZ/d7Zc9OGBTDEz16Qyz5khCKCE7Boa+8kq8IgaTi96U7KAFGPuqZNPrjFZ6hqT2Fi71pdM5a4K+EAIw2GFN7emWhQw6VzdYFDxATAtHFpLwiKhHHIqz2cLlraevf1CS8lP5gnhXSCp7+aGNerMbApk6aQbsTK2DWBVqN3kApWVg5ZdIr6bb9CGdPVCgVtKYgargx4AEA+tEM6FGPAR6Jmv0n75HXxKH3uKbcaV2oPqI4ixqxDHGJAavmmYF8L6fNr7mu0k6gmf2tNLi+USxxx4S3dj0PlpQHgUa4koXSNNRNrvoVoD6Ot6+Q3UlJMSJwlYHL0mD7GsDgTlmA6EOC1qvnOQ/uSw4Jso15LeFOyX7cgS0cM3OFP5UEq98O7Sg8+/7UC7XehqsKDn059Q++J3osFa5zNZrv4LxP61NlhUGE/zgAQW5/S1N24rk7Y2g18K8J+NASp3jzTYaIFhRelj7DkjgoLD15jJuP9fH3yh+N0Vub+EXbY92j/odd0OFjKRp2mDcIKDY+YhEXkIOw7rK18t4I2qdDLasha3MJXy0zN7XYIM+0WB4ceLBprs6lYQfYC5nw89jqDYgGPdSAaZIn84j3y4F2DblgMCIvZMCKQUe6fOIi8Y7Mi6vooVebeQH8PP8Pf1T+FOwndABy2qgLToV0RWwcRIIDFJpk7IRgGZEXML1dhUY/Ez5gj6zL3o6MQHixyfAVm0HUWXVn7xzi7flSJLrnsER/koNQQgfhXo3wLYfS4Css2oNfK9lXr5tbxkdUuWd4FGWGFvCaHxJpCIPFs9mBTNYo9CnimG6wdukDsfM+R/PvAcFHE07T8F4S7chPA9U816XxP9kJORO7btl0ypz7gRrspedMwbT6EaQIgAt/VTW5L5MIGelqKj5E6z/GYzJRyErOJgB6zJ2cE+hmW5iSD9JYLmbHyLxe3RNPPTxtUlPBAMK3H4uDXmsvWOfLOJUmqm4ae/IBrnFmnYhbHeTWjSv4COZY0OkcsiiF97U/a5uKGUVbLpKe96gwYp5lMljVIn1Bxlm0ILQ1eq5g54V+q4vgWxJ8dI+T9BOxlF2ZHUz4g4gDzrpqwovTCOpCCHuFKg9jP0zDwKKXpPSY7KSNoGR33Bcb/FXP18j4cxllUW83W6HNpOA9FEJIBS4P7ji8gGoy26Bx2CrPxN7kMKhUx6epuyhl6t4b6iZXXMha80yxql5dOFTTuhDeTOF+L1X9E3fVkIDZCAkyYi8MjHjes7ZcQrIkjxCPXePqbMKw+K+y+qP2sBoOTW7ILkpavuyyVOJjnQtVd8JuFUeCr43UWCqSzljz4a3Ree/VjBlVH9Is/dVvj407eul2Q2IUdhA0XJ0uzsDdyIGJWLg+u80pdclu9jSIFNM76RFpnwMmBDApXaAZUdkJjDICF748BRti9uQXlHzncRfo0S7hhwfMQvq/GgWk/EHWgW3m1zYXJW1RVwtzhrBOaf0/rCVbgCuCSFjKGeXmKooEW4wlsbGpDN3exB0sqyC/7Oc6XxZ+Z82vxqSSI0BxhupTopR4BXGhxaCe9re7CRefKGxPNdS/6hL3bpTM87OBFWyryMJyDndNkF10acxPpDc1kUSOCA6NbjdjDB1QGKQkWrMCbGfSWGLmJPdIZ9jmklNSgXvJI+a/eLKphl7uPXgNnXlvUvx/kHjcjufYshXndcEnWy/1mDUImjq6jSiTQHaa1XthRr1zKClvoRr9aLmciGZNf2Qjyti0zLalG3kuk4L1yA0SLeCZlJdbyfOrA/6/ZwlFSXvaKPRgqYJjEI0mrJxs9Jd+A44Xhes+7VVQ5EtbAd+UiQJGXL0Aug5zZZWQXYAkjefN4KNgG6X0zFtYre/uONyxxv5bquv2Srb7XRJPGbEYRDTt6AZwIGellJrpEoi2Q6LnJZ/iJywBvnVFsjoUFOXUmPa+DiIWZH5LkceTWWUhnbhBaN9HNqvD3n8gRGF0mLZnzV7i/kxKbJVtKMB300OjheWiuP7WHW7Qi/m+SNHa95p+3NbjeF+3/bD9AQ0qa77baFGVvCa41TJCRPHryTK6Q3BJ6cs0Yw9Z6EsY1aTYeIZWPZGtB/feav4IUKmQ5+dP7qyT1y63ntSnQOE8bmt6VpphTGxtM77CRnJEU9w/pdv5NeoJ9ltpulX8dDILKHOhSeLjtJyGGY9hNsXMNGh5DjON9QkgQTuaac0JEXZ+jIcEYpjOZNiFLNw6BA+lFVKAFpEUi1d4AXWWRHImNvhrb800sotmd5nMZg9Hyan1tLMfwbM6A2y6vpDhrdABbeO7tubNo6AJT33mRXgN+s5SvVKp8Wj14AxACiLVHYQ+t095M2fg6x7f+UbKrZDRELGHxDZIFHzNTtDkGoMJDyyBg2wC+mbZrEt3krPpltqpr98NKVOajN0PcVS5A6p99krqjX4PsSOmXr6rmmp0Tl8cm53WUDV1DMtYnRisI71lpmuFNPOwSuOBKRot0arxJAcWA6grHpTZpTcRMtdZv9jpYhgLYHHzgzpFrA7jnWMXBDw+av5PzCXTolyC9cRQaeYo/hJe14kTVe+gek7sM9WPGT8rH6ogXJAFjJIuAywVHxi4cCTa84N7LZhT9nTTvZDHICSwi9SHxFl75tD93CEC5fxe3hU/pFQ4PRbFSu2/YXWr6eja2fFGtpSgT48/2jizK7GovuELoVbdkxfvt60Km1JNL4B0y5p1Wm0CkuQnyf/LR4ryQ5BqALpy79kYGhzyUkVk6CgGwna5EHjrY/QOvASZrLLKuhOSPfEyiU6DMVIqtYxiGK2GO/hDvyfj74H8S9a5A8SCTEgBFniBgLJj1bVHHpHMKoegdsCMiF3HRd8T6R9QSeoqopB5KFZmlXXYhLx8SoHHMpTrwP/QO9RY+UWd8n1opHo4kDN/IDjELRFJJ3WmZ8UblU80gPblGFZ5mYhqflKxLYsGTA9pSUj39gUfMkiLmlWMq3bSSLvI7b+S3iu7ZR+4GoN+/J1YOk+nEVrziqy9sB8BpEKsGH3aUuhGU4m1Tc8EulKW0N9f1vfDiE2sAx4Z63jkcN+kTQ1PDw8OsHonej9TO+0SR8M4J8dlTm1JWU7QNDyvC4k3B5J7Dk2w9ifJx78b8vH915YdDSRHIesksyCb3jShIRkADj+FPYP6YqVSaV3w5D8HBVuSmtyLCcTx02FJrZKTCncTZA+xUEbe3UPw+1LHCa1SjhNlk4GlCk/ydXw50n7XrF4XGBE1rKLAI3bb3MhRgnbZNOugQPnU8/gfCBDUUxOreIu3bknIOTk3supnbQDj50XmpbL3x98tBZbXJ6eXALqHNopq/YNdlFtQ6PguQnI3IWnLpkkcfAsB0b9kMCvI3b1TryTmR0+3JEyrlmVm3Ob5viUs1rVTLbPi6T+6+bK87I9ijuojfg2EPrl4HUZMyOy3wP9pybBUe7UeD4/Y9E4Yyk1l+Vb9IZE8wj3YwaFzqN8uWu/naIt0td2uoG7z1eMVrpUF+XW0p8nNs9LdPXAJrqwytsgC0v8h9cNw9e99iIY2mrX0UmRFRPxOY6Jh9VyhCBuqbI0u4LX2Gyv88RLVZkPOkFSFfpcypq31oPPP6FQdGCQc67qB0WanXIcf7yhQFeb1xXGsnJRS7b6V3ktkW1TziqQ3jVDH2Bijo0T1D0kflpI0A0Jf3fBYuU83BBUrK08Ld/H9RncxaIMKZ9yys2GPX2k3S8OECNWxPMnyd1Md+CanOG71kjcrbK3yJD4IfzHnyl4NhxyTTP/ZzNMlHzdZUK/8d7rhD/KNG+WfT/vkVBl7Xz2qCK85ChiEywmE6G7jP2Fqx2HxreE9xGFGMk45reZklliF/DH2p3ge9fwztFrrQbcJEXNx96xwQIyLL3VSlsPTTNcQ4FQ0UGbRJP4jRdYY49HYyEAXK4ytHCsLHBEHzbQWDv69zZUeMcvWqwY3kwAWOaDFVlbMYfUO3K5yuInaO+WhNJsp4FOno3stJ2yBHB7fCn6BMTGqgT0z/l8vM1FFsvRLxh5EOSgpd95UkWjQcPQGEHwTJvNUDKHlUEsBMRTnEzh/8VuqviTOjwtHmWJEBMZvlK57B89QOW9HvH+fB7E0AIuTL0ejC0LS3h956bHxa00WCe5UFSX+lu7qRmSfqHIOQxoAMomgnuIK9VTxr6aZ2B2X67mrOCfj65JiLgrRCGcR4SDMS3qGonwoXIHHJz5f+QW0Eqju2D6/li0E1KMyUqooOkeMvJWJAx8a3SuSZ21SYWgZScykZ6emDeiT7Q7x29J5NHaz9p6bfP+qeNrYXLUwFrg/tQ2KEumE6Dsh0s2njslUBN0ALXomnN0hm8P+fiZR9vrvepQvQSp2ZEi+b8frRy1PYCPilc7D4ynkw2AwbdIwtC6+xB8cn+fXmiiNIQiSY7e0VWCUb110psXv97qzJe5drKNxa+eYi33wZ8I4DnVS8xe9VdXkboDhKi6IlwjxTX853k+XFU4j22dbqStSrkcETibxNcIwJPMXG6IQ4ao9f6oOI1ZKi/ZXOZInjeZ7eNj3R6sMzby/Bq83ouiEtDB5pOBh+4akS6N4cdSowTBU+z8uZfISZE2oBwUDfBslb/YlVo8ucLGn/nI/qJTd9wQgsNErVCp8wrefUsilp7vKxs+WH9uN8vcR3i7rUHZcPczlrCqA4Pc1WwCi5RMHs9BoOK8Ovm0RxqHDlB2pTzLXvWKMqGhRNqZA56ruHVEX4taivihJZ7Ci62pSkKTOBAXqed+bOxr5wwRlRkE5qMhTkBWwooqs21iBX8PzDOiuwdRS7bLIyg+y7DVk8YV6DYxlzoNMWs8EtekmH0UiAzs3Wy9M/HDM7mh98zzdFs59Pn18d65cqOnbuo9XWgIXd3/4k9N+do8CA4I/7mTIaIPmzM7kUhGoPzX7WFCjzzhcZjs4rst+9gBNjieHHHZZwf7uMs/FoJ1kd0o4YlV+ZCBCmA+Zxg+MS9pEDCY/ysrk/UV0DeFzZ2xTTHDt2Qx9o1Rp+/it0RKNV7saW41d7JkjKeVUiHIZ8GwiBMIGD2iO2Il8zfteK18qz5YY2ATPOW6DID4Gn75+gtk2P65G7IA3FA7wfCoV3YavFIjgRIXymbVbvd5OqrwUiHnmCjhc+IZvHAJKiFW+gTKSEwfPRHekprOn2h7C07+AtYgz4hZ12fsH+cegyj95PuOXH5ZFAj13IXpjfXAN346gcO95R81vuqDETBNyCHqBJgbEyG2YQ0eeKvewlhKRGRrtk3Avub5/1r4Vfmp6a+11QsiGceZ0niarsHD+SSDuGZ7dUVymEtwydlojP0SozwngJJR/PRdoTE/6YgzCS/CODVpXEGStlgTJ/qDw79QQUunz+rkkAFtLUujZP5ne1LUmEvRvNvuxcBpw4Ab281K3mrpdvPqBeDcjTWXCYlypMZTRX+RFiMp5pvs74Pl6iQYxUMqx+7F51Kg58lNxFBC0u4fdrk7TMoaCmg573YeALuU288hlgs1m8+WV/K/zKFyz/SgQ+3+jNcUM4BA5K7HRCIpt6L7YFu77zr4vkXqYqA2/PVTd2yOkoWDiBVRDWfRVo/bC9Rw4IxKkx7/an6VXxBrVCM+S7tIZzln3lDXDSIP0Pd1KkRBq7Iu/87m25eBEC9MGgK2KJe9Dvh43L0JdvzIPXn9UALkG6mte7uR92aCJPGKr+42R5lsz13K1kBv+PTKhqCMlR4b/yre9+iGSU4MmV3DFWMJMWBWCzUpTFWeD3dMpjmI39mRlQeFurQwGyy74TsXmE2UFSVbEcN+tKErhqA2hO+yW8zlLqssv8AnkucA2rIChCqn4i5gnOsYAxrVOp3OcxCRDn5BPi9C2MHgdP+NTLMTebsR7wGu7LA4fZGV9QvF9vH5cG/nEwi4lNFJmBhpa7Hxw/hroYU7KpVL4dreUHEWVt74Hx3bj7IplQwErCwEVVHO8vTBBv729oiFM3i0YTv3f20FAZKGVyFW0LOgrSWh6ztmIGg6CtuIpspahlecvzxXU+bP3GvqIE+3W8rCCS+c8HdYrmmtuDV4oYXmrEnA/C9TRXEi2iTOrKuTX7RX+P3fPylCG5ypaqk0imzV8EVFsLUJenrCGI60mppoIbHkDX24TDl+XbGyEIDt//Uv8IleT1yxkqOj8nply4OD8QQrxh+gd4Sd7jtLmnld5+2PlryirrLqZFSwnGXp2suwqlj1pMBqKexZwT11pSPY5KbDYzlcR4RzwimyWV4bHTXspc3HR1TEl+09unB3XErylvCpopr4hIiMb2FSHNOmNy1SJOJzTbPVj9gWPRMbFihRC/obaRNhJ+RZyv32ZAiZ4c6zdTseuquWhRRx/8ubcxcRTK/bZbVajJJw3TUmGUzzDjJ/9dcRRKluPK0ejARP0XOl3qzNTv1XIfIm8ZYBhISax0Iq8DzJOvMySgXrk8PWUdvsriS8MJhRST2H/O+1/VmIgEf9d0SVGNZmnHinChqGtNUHn2qeScBpp7lR8zWppVUcMZhCsdK6waWVXMTCX9eMsVVFg62EgUyRPXPKAT7jbUN7EPnP+EfkRaAJeDq1N3WjuHcs4ZmACYunXWQsz4Cu/a2IrsVBgt1Vni6V68qS0tbGdAyvcYTDNrkeOHNoqg5c552OecOwtuw9Ys5mDZUHkFNdLnxRFRF7enCyQJTrskZtYHK6m0wH7v/ejTbnXqxvX+2JZ+tF7EUH6IKMDpiu0t5VvnoSumiKfyqVJmTFVxxF95qmOaKpBCTT7ejTPnUCgvRwVPKXrmiAnowYm/j+d1Va5cDhshvJxwd7IV0Y0Uc9s1Ge3US9uQ+zN+0rrzIIVA8R59MaS7g5OLzU8Jkva0HcxlxP5hcDvhu6HNtGJWsU7Ne8F2lkwS8puZ6kDqVkheuaalvFtIeOeCOXwss05H8gQse94WTAqOkB+hX8DlODPTI/DqtqVT2pqHo2nB1oKFgvhahg2GbbmxLURPw66M61trfOjKEXpnInYeWpWSPwVLMaqCA/Y/rtjsVJGmBcTPA5Vhnpuc13MwKQYjxIzxlQ8dL6k8q7w9azacZNXHGDRDWO+PGbF5mjYofkfw5XmRNu2qZ3EYpsq3C/StF7mEXZnKBzG56BIOtiCyK0KEscT7uZtbXqcaMsQqE79HpGX5GnxczjIk/cDu35DE20kd/NIEDcIg8XU6OaTDx3to82kPHrr8wlVL2GthOHB/HWIMgylY9Nvg9BFjKkvQBWUFNj+eeArDGFljgfNrHgnj0V0UKi9tlLBhvLEUsOKZ6yd1xpobTvRaCsIXds57kThKc8yTWkhnm2vci8TOqaAN7SvzIs6FXdNzFYTCrHJfQig33QZ0Py+GbWE4HyK+dHSkS9VbwnMF2f4sf2u9THf0GfR4Pt85+gzXzfWJG9suXybSs2o7IYG711MIBUoRZViAMTOglLzoc38Z/2vZpIYyy6E73JEb4ZspGkW8BcdppjBwBu/w2wFEZ/CSnf4wkKMQrvCq31dupqH6s23q369bg1OyOk7RWwjXaRnOA/MT+kHH5EYuG9rwOA8CBwmdG2WI7AFnB7THeDkAJXlH9CbXofld0gHlLHykwZ5hOorAVfTzhtWvyYUYfwrlyZ/fTL4Z8fklaSc++v7nIGmH62Zm0RVjqBzp4nx+Iad6r7WK3LCgCMh5c/Y4Od7yxXKkCzE2+AKhVSzFoG+SDhyD0LNSXx4nDOxxDiKYxEdSgd1udYR27Vs6RkEEhrp0qCt25h6hYWJZgbyTKHKCosHuABWUc5J+z+IemnTVOjdKcV0KRrbjUNFY3eYaXxQZaDTnChCbNpWGIlSdBPIp0dpdPaa9yRdcwMRssnre5oDzv3cTBOTE5ep1Y8hcBfee/I+pv3eBiaxBl+5LlPrgdEyNXvPdKPtb2EGwA4Ds5oXoQTAH+1E+KnosP6PCXfKDZJRIP45gLabXSyrNfgfNLjeAkD2Ak4v4EhnIbCJ0uxCfNGHanM2Bb8dgzawNlg9QksTowBW726CXGjyaSCp5Xa/XPvbia76b6GM5OI/RayJBGpsEp6jf3SmvXWsFtSwYpGmka7Xl4Y/rA/j+DFyR91U0SwgrxqrFmZVlu8JGzoaJi24FmszzLVm2j/tQBq7z92VhNCOPNlWoKRr1JfY14zZ2Gr6nGU6KVcNBVs4a+ZaT4Ig9LRrKcrE9+hLjDUuJsIJ9rApqXUTw/oRdK2YoqGn7s3tLScmij0+kdIe+cixlT8mpqtEdp19GBIAsQNlGS+1QKXFQykJ83/AQ28QjP8PoX9jvJHYPA1/kxzAx3+dJbWKQrwmhVSO7zwiOEZ3KRPhG2J4tqXC/l+3t5oh66t23cwwhRqIb6UjkFIkvSbilnh9WZ9bhgkRVAViilKGnp86nB1bkfRxz563MkNCc8kkCf8VmyIvCpqO+Ikx7VOSeAg5/DEO0zJfX00ymA3JolxPJNp0HKrIPPJnyHBagP1xyugmEBb4HRG0zecvCZGs8InKsdyqQCzTbdejgsUuJDOBMvW6L/d5y9UKpv2++fbx/4S2dLlsj2csQT9sT8Kj890oP39EyD3pQfXETemB0BqKWfrqa3nJQEsKHDWKkFkXMu3Ds+Jbxrn0GIedhLEKoZJEldf1IIdDPNZBj9bgTwDEvzeyhuvtf6F6CrlkPYbmlOACRC1rClu8bISdjup1Qce6Hd/EVTC1Hr6o3PW2g7vy6qiV5iMpU1ZLrBg+VU30oq0GmPhZCYn9VKvgl2VtGz9PU6b1v8pyYz49FEQo/wWm5JYtaiKsiRJQDahLtN0kiVeVANjo39pnrMyMGzdW/XW8M9gh6Mv0fbVYD0pPNxXTXkvySKaMjyiqjal8Fp9wxoO7UjzsxxwC0NWum6JoD1SwwmzdG2MbeLUBFgtOE+H8diQUWeywfoBfAeK8kWXMRB5DKiGIwBrfULuo5AWXq3ZkKyUaTkh0G1GNeHL/S7GD1VQlBhRufuctJOrs7+MZycHIQzXmc9RX6htF5aSM8AcxGcUcqCtntOj0CuVPiVVjpa9wlY7s7rTTh+wNw1DekSrTyIOP9cbW6ipBgjQu41Orp2RORD4weC4qk+i9MoIqPDWMmU1jD9lCtmXzkQKsiWMvn9sHP8K4y5AW/gOeMwCE+tl+pdiZOF2Dngag4ig+AF51+5+990sxEZni3F6r2eQP3RIiUncsvVY2vOT2jxfgKi3iZ43FOaRo00fa++PoZs6LbEbcnz++uy5MutJeKDTw9bFheR/3ObfuO2zxC1fiTmrcZoYlkTs4+QLv/tsJW5yioc6CNu9Yl1z90X9349znX4D56shD3mKdSndOzm1Fyym5WUquu1d27WKftnDZFkDoizHCLWIZSQdyvVExA9aomjYkx7pVNSYWy63iHFLcQdP0C8Zk6ESlTs5tFP9jm5vPaJhtcRyvpBVaW0+7UX5KF8OacHTmqeMZ2D6BQ69jKAqEWV7O5Azp74EzG+aG8ui4aX6rYAhHBcktVq1f/oOsHIxUwqvlD3K6w0545InG7nUfh7FdOXt6ftw+WVz2uPkeYEe3802/nkLMZdtBoadaPciif5U/ElrenhnzTA4e2Tp6xEftkAbDtMziqt6nmFopufVO9UvJOVZjMTHx4OpKIbej8T/dGU9KVtSv8e57AjBS6A/cHNrNKUVKdtXhllhznzrLGUfX3qFsIRQHg1ibyFgx37sUsqwqDvCTQ8KzD8fIaPQKxeX/CIYBtELZJ4LQClintbIViwKREqIzI1rM+KsnFyIxRRBKJaMSEnelExVTYUP3lpm48xc/70oAS44HuSHEHkdz6ZaJAGsJyUX9XZOf5FKOWPJTdp0jL+YslzNvObZuk37qKjTG/ENKwR/81EzNyMvlsEDPeGy5RGyfeDz1gdn7RMJ4gNx/zzf+02eYqCoGIsCKQGrfD5TMgbYGt7g2UQ+0eTjxNC5xiqHOVBvJIyPocbZ7O/eflR2huLp2fx+ettKy0LzNaa+a4nY5VVW4QhkkMHeTbBBoXSy97kTuEaPUtNnOEFeb1OTUgf60IfOcBgb4cYYezVDVssuB4sgBVEjLM3x4DDc5OQ3ehQxZP3eHHoMF9AopYsv+iRNdeO9cF4nFVMKmOIhsJBJxjKTV+56S3XmKa617OHUFXtiIjpokO4qBonJF59I50nZmgyUkpkUtzBQx3YMxeYSTEay+/4OH1oj8fr4qPw6xzbjZpbEnp57LnfjZz7/hHm8muhTn3m2sBP9Y9sVojCHsZuIL4p48vsvu0iscSWj70N32YnRhn/BHjXbOL/7/fN5wsF2t8A6ctbPiDT9Wk60tMYMgcRJs2LUkQmknroBy3ZazWGhII4NR6d+YsWNjwDFn6bmcTWwxCNoc/U6zN9XNed4aIyWhIcLn911xsRXSYkV3Rk3BiK+HH+CWkSIUy26NE6lDA7fZ0Dwcr5hl8b1AlqgPZSoWZD6FYOhDsw1gOL9z2odw7XYs733ebahJ22ZqsbnFS0IV4wYTxmD6LCaru14z0jsy+ezXIy8+xt7eA6cn+kGIl6UB7u6f2E+TB3hcnTdwOdg2DKuT7HOWM8qn7nFw0RPuhpPjAKxFKgXRu7MKFLvloshFXuHZR+r1+SFWHp3tsrebbZypbjg9oksZz0XEwr1MBb4DwbeW1Im5LSqGNJyj7wJpbW4fXPyDdPJm2Jlp+Q6pvNyQMv9PjRRXTxWjx2D1ZFvEvzstua9K6+QeRkA58W1GTj9I+6nETx2TImaXOC5dSINPl/V2QxDppWH44aWHawT5CXMdMabyDVy8DVqd3QBhctm3AubzQhU+Gh+9oaGbwpROPVJh2Tzcucpg9SwyxROkHGlIVZ2WtTHe0JGc5b6IaywtPp7g/RjZWKVM9WBmQP8Ml5epfnjM1b3chag3pnyRefhkRw2toPiNbiUrliG++YgEOem1Qz1HyVYZcTCjlpSVt1JAny333P/dpeb0YP2/kZva+QSbf2e4ZvwMuxzioLOkc/70xXruHRvjKTKHTvz5XVmKTpWO04g6aovfBo6IGnijizAXyxmGSb7RiF0Kbx2ZEWBFtnvh0M2QFo6MQthfdumXnGJJIRI4q172CcXtmXqVOk5mcw5k8+7E2KYYGDMGfLI3HtL39/StcYIxXeTSirxflhq+lg9h+QIeBwlGJ9imWqtGRJlk270vDu0pvYnj1lj7Sb+qYEqnyh7GDbRwpRY7qqIRcUscywMx2/blGBJSC1znCjH02Xwl8MJJwGwv+6PXrGxDgtSheVdRNJQmAUb3BbwJjGOzzKJsgDKnFmVgGetGB4A5VmsZE1FeU0ZW0jb4jFDevdzU7zVVg0uFdk6pAj7xCKkFPGuMB4QJTP6H/p7HW5i9Yvva04JYBtBclbvuRm0DbE2fGjEpSCIKeP3OlFz8ujE+9RzThyAnQ9Um/VOLBuFtrIXH3lNDxLuhThe5m5FXypvETmEGrvcDQJS0PCGRpXFq+yBINACROjVU3vfDhAJr2D0J3HKm1g7XyhcDaCc2K6uSMMmVlwQzsj/7sNXIQCGGv9tYxpFlvSgErm/79eYddbHzRItug92L1M3YO0qq0zz6T54BrMvipE6PA2aP8tQcv0V7yH/jIOklRy29y2XHihAgS3sTnxSxYCrE5eNcC9Ox/d+zbhB/k5wdBQ+FSjHq+w15Bt6VabQn2i72SICWfqAkEYPjdOp5zXNAOzcpLV4pbZMEzTFIfyN0nzIFJs+Pkih8UXWnnTc5N1w43Srbp6BrXuUiwYAr3vqZh1M2TD3NZkjYKq11shasJVgKTRtImneaqIeyFPWc+VemxfD5fhD8L8nPkKGrBS4WfLIU+Qyy2OWnNCv1ecP/LIBezGg6Go0jsQnPMbxdb/Evh8+G163vqA3bfFxY6AWvH88N+9sDYDXm+jfp1VYSGAskDlXbSdGHPn6PcwKzzcJrHtV2iHFGPDoW+mtRYU9A3+7w5XoHdnUxEa0mkrLhLJxxVADj1Xki0Q2ihw9ZERHuRJ4LBWxUabGcMESVQT2RXWPl8zuLE1pQUvDzEvzzCwLSDAKZ7wM+lkqDa4zpcuZxGY2vb/T6+SossYNZIfvwf4iqQ3GfqfZBiJGz6msG468AKCkx1VHGXoI1tolQiPD6Fg/uYIQmO5pafwVZ++NuED9NA3BxwZhCRp60/tvD9cWIqsaJZ2YqLaWKH5PpohEXmQX5Tie2JwIHWtuu2bnPiu4pGa/o5y0Cl1L+Ubwf2jBYeIMsGCqhMztqNO9vll4MNct1+62yYwky5jUvY3OdcC6jFdcNLXXTAMoNCO30rXXR69GWlYmz5ot61ZUWS9ou6eVTuOLyL4nZNBSy+8b7HOl66AE/fZG6zq85GDP/QbErCCAhbqvtCieSdKZpQcMIqepdCeG0rHDHd2+u22nWc9kfFI9+ONElO6iR0R2Ep0f9uzC/wnktUK7nREdPRgCyxIwgSkElAVOjsmjK4URpo2ls9oZqNKY935LmAjzQgwgd5bi8fU7QkzUGzyNrXKTXKtIaCO8xjgjymXomfdGuxNkhHm3N8Pceoz7gHglBggb8MJ6yUIQsXd9UbUOhY4+aaYEWaTD9hxlpbs7vnOVn9rg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79801" y="1802267"/>
            <a:ext cx="7984398" cy="4731495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8690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Op0ycGFAinQr8Tg0aHv2oVInweFtzvEEifMKhzZTpKEJ49HhqRF4fmxZlZgCWFL4rsru7pegGBR3eobekY0Uxd04sUCWTkVOgGrkkeGQQ3S9vjCgX7GRNEwuEexhdSRB8J7OHZVoxfDjQbFLmv0aBCAO9ohcUda2Pma3GKT3MqjmjbFjVyGeB321+FbkofjTTZP95/nBsKJ/tcHUjZuk2h8DFzhQulxfI+tdsED/qq780V6ug5aW9ayYe4032GyGxXDaqNG8KiyeSg1AiRWNIQN+Eh7uZ0lpAI87lmOdrXksPfE3EAEukDPsA5oa8PAGVxdXV5H1ge1rIdxfsOMtU7++8uNkr91urLgmFLKJHDKfLU4ESKWXZv5xTa83aGb561MJ1Xx3xY9KELcwmspcjqeXo6GqrEoHXHmoYgzGUsHDg+oRCPj8+qKdpEtekGRMwEOLqLtu01njO0vMcKmsovsWqxokXqKEonm5JfxWPhSYxk2SwULIYCoCZPuErGhgOuTlwfQLenvtlqjKXRQu33t8+GDEkKn6R8tXrPG0wy5TKNdPGNZv32Ab1XKcJAOeJ6CceGH7VOlgs4oH5oYk1YyaIqKpanSbkqsH+Iqwz+naVym7t7KzQFNwK7Q4wiwulyazG9tMlTFwAPskyQtKsnQfNhkGvSUPMIjEuYp7AqZdDsajcPi0DpHua0mcRVBEq6NfX7KpunK6zgzNuK9EkfRIUBm6BApVkW/tQ633A3j6HOtQV7g5rieEQlgAKb0BFBBxjjLodQkTDDMS50L16oMVD8v6ay1Y/Sn4ahndNpv3Vy3vXLcqEp3a+Krk6zTwZe5UTLmpaIewPTMSeZvZmVzCVSj/2LK5l7h5vuaVUXLuPDvXl1dPG63OCXIZ2r+vyEi4PK6JsHX7MJTmEdF9DhWYcLe0A5qI9b1AraSiP595GVrToC6FYW9kqHykRCc69xRbyGQwWjXPP26P/webwOTcZ/pJppLkUgCzaaLIoIDVKKeDXX0bfxVILx7zbvYZRgUCIhWJkmP/qdifBxI87ueeoSROwfT+PDglzZ5SE2nUvqD91n7+soRPVMOsRYDfZ9CCWp8WS4OJZ3q2kAdsyYe466LQ7pVQ7o0FKWvQEewyViMtd0qFY4Q/ATU1XDC/V5NWfESahebZcyxvGDUKa8AkUoSAs4pRKMaQHQTAcMOq69STkbAymToSYD2cNe2msRLj/LKUFbkuqMBUWsOSarwhVzO7B3vXYgCXNP3d1SIr+eqUSCw/PD3jGQN14TGWJUAL91wu+Dbd5aEuoGX9JprQChH3vuJtx7sx1YLxNFox2VYTd1LpuZdSWyZ30P7Z5mnquhA7E/HgERIsRElZW6zBdgpiqcju/rHxanEIgKSAzootw+fc2H/FMQcy4FrA9Fcb4mNhR5yCHz3jPJ/EQmzuNW7GDFkBYh+i648Cs33d9FHV8qr7uSW1VA5iiQw6h5a5oHmr60TKaHsH4MIvOf07RLi/cD3m1WzKb1e+KGwTNoFUD4EVZc2nsaOErc6Z1/a28i2ap9zT5u2F5TSj/GrHU6b/c3GzjxzeOibdFCMzNrbxFEfwX4yicvC3PwoofHq+I2qukcr7v7eHkbtjYqlj3I8LnqIHchKA9WV5ssHoICliZdI8n/sWWIh2HuhC9TRUJYO7oC6rHK70t5pJOtvvI2M0PlcXzgVIYLPBFMBuGHh7HJkpezH0UmLPW9IKH6sUNeLgbpxcGwPX4Oq9aAU2c7LYWQbyiCi0Zwh/UgHCF5CbhcoLIlo542KdAA6xnE+8dqzPFlM1qXqRnW7v/MlbL3+IgsZx/w9OBNQvC4dgWi9pWNR6Csv0iTwzJOr1LaUKWBE7H2Gaed/LGWNpYgbLSnvN+FtZVTaD1uSePQo7u1jb3DvVttTX1g6BfxaDJf1fPtsrrJt7NaCw02amHa70lM/6IVAzvWCds3tNzj6vz3/JHnsXKpP4Ew4Aj5HuYMo1LY9LJ7O8f9Sv3QWLT8DyCf7bxV+dCNzCERHErfNS4z7EWZOKmXNqhEOwYod+6yYITVQAOfKtx/CShfryidDETrmAX3NWzozot41OqqX7hixqaCQmEIM60RBuCMkjz10eQGXD34xrgyAcME34Dy4Etta/ZO3wW5J055rleDm5dOIPPJ4gyU4pX28S0AP0ASL6m5tjo4s+nS+tUraFBZBPh/MiFvEitufwNeHPZbau0DZkiqmTvOpLvEFN+M/L4IILVHYtxokf1qDybqmEAMFCRwRS9NUmU4fyUPCynn5phsCqUQ6hMZOpMUWZtC9FWOr7Wx+i54ZJz7IaFBRgOWfMGVp500b0iU98PAJWpFjUl3n3HrfEi6ItrGqarWwlVy9Hd7rrKnTgCNMoaXXq9Rm+/oDf8/1LTICCbP3PhqZ4xyEs3kQNBRW7Cbv0mckRTjUY8fjJbvzdgdtnoe9/kd2clLK/m7jBgfuxMf71xxrqTKOeqPT98HhYYATdSQPAPNhuH/E14fnSzzYrBNW4QOmCzT9pmVTH2A5uAVRmQl0aFt9afrPphkohWyJIbOVj0u65dsEmxiAKuR8Yl2m8RCnALlim9SDjEkROmHkcaGkhdA9Y1rOonb4o6u+Hul+Fv/XUWDoFYb/hVCMsFUAPKc+aXj+NRPufQi6kuFTsoNVVUwBKvXrXkuS1KbYArnzG61BxHSkwEoBPtGtoZdPTq+h8BChNFMWX+5cixYmhXNqSce3FtNz9ZiTBHIae7ss3qWXAJ92oPLgwV2sC6THOVftdhY1X2PJv6i6evFZharPDuW/Wl86iyp0P93lzqVivSVonIZcU8RqLEveKkMXbeZ9gfl9cWlQmItHOGS724w7dwdz3ZDb96t73K0S12k/56DISQhTMP/u8zgNXUw4juwA9m/IilRehzFrnLXV9f0Jfl6HKzSk4oiZuyhVa/Kk/lSh3uCRANWurg0g/RFJdJbJ91fmC744IYln3KWe3Tu5fV+n3nVUS9zGjt6AJbTk4ePonYes1YKFH4h0nYV6oqoIoeW4m8q7ZN2C8CXJ9e2ndokExHeVIo3Vpid+xLGScoGWWgKxmpjCOjJPURnwOIdaEqTzl5vbdW9gWOYMQ1gj7UrVKktSOuGhIOIU/odRf+vWpy6Vo/PPf23JOx5RERfnQ1yDDaF9rN9o5kudFkvADOfCqQ2ZjDoOkXgEHHBraPFZCy8NJ3ljaldSD69rytglO1w5XvYr/SFRTsN/ABhYz2mjXAKda9s5I9Wzja7NZdfRSmwm0YEmIRcLA6a9HTNqHedysvXUxBwUSZFcuhO5NEQLj0O+Wiog2G+5XKpNEXj3owv2cm6G/kqem5yoAW1AoDvgjxRsfx1Tn+MEpn9jqTPT+c3SUh+S/K7UuRe8Ud1OjeYVLyX7eR1cQKJ3ID06X8KKBhinX7NSewMU8kmuaPQ5sKfT4UNcnWmBJsQtKzlucWfUStPtkYDaFrx9N4c61qsbxNY1JhVCJtyXapPj2lIPEcBnIwd95O6Z20+z2blMlzvkLx4Y0QT+BL+VYQShPhtNabb6h5U4wTzUc77gdqpejnD6ngwt5ihOqIzouqKj211OaPfr9VT1tTgP+Inz1IN7afBTIiPCBxlUC9nBidQULWdUSR6Di5a31GhuF0k7IVJBCDzP+O3g5d0Z5jTQEqIHYm8/q0NcKP0hbR3XlBgwciWD1pokZVlOXmqRxLS3WSzLNJ1E7tONHYezLgtSFYGpPLti0WK9UeRLuilFMSDeQzA4OTAAqnPtKKr6AcODZ8VHTnsDX4m4g/4pxATaxK1TPoLNgQ8Mv+VRwhzEPfN4KAddDKajVHjBTaHEv1WIqeDKmFPJ++6wPOwysLUpkJYC/IRxzi52vlmQ49wL3GUMEH6acl5QK7GYSoRPrPAO2LyqrcGw+seHQLiiPX6DsuKfcmvwjsc4Ioyyd0ccSS0lFCD6pNkD3wCYiP6pAYP5XmCaoHpbDoBr/5lFZX/bPSe+tgzsUjDNtTNvFG+vZpmwmZZfuoEJggZC3WpM9N2Qwk5x2v3IWag5LtDrIGhdLFHo9B9oXZiAQvU0k5thzyLh+P8mob8w5eC5/V6xAZjb2iFatihou2UUKPYPa+rI2FlYt5UV8m0Qfs4XixQkFmqyuW4WDHNoeYifsqEKMqPUGEMBrY+TcJYMhSzGW3Rk7w/s/oZDNexugBNh+cJRvaVrSKSXb+HuqU8IZMIDaZdRZZhV/2U03gM1s2rQKhfgFmQaV4Y2yc3GX53EJZNQNDzNf3EZQ5pLqaYMhEpVIc+Lv1+xFwQkzwZBBkYU0MCDk9UXBcExgqDdrJp0sA8G7JS2R/kcsxx2NOxGmTEsnux3EFMrzUfRw4rRgfDzg0spYM+chRzcITnY0Mg/O/8BqjMSIeaPX4iv8FxBs5UQdRYc4qyj53eUqiZJspSP1WcLg4h7OFBfKHYdJQ6+6eoraE20THCg07+H1MkU2Sov1rTeUQBm9yhF4mz14WcXfaV1ciQJPPnf1oZsmgark9SAVXSbnRN3/CszI6M+brR45Wxf5BNlgcsPtkm2GQKunIjvW9CmR1IFDCMw050NZFb/JUNwo38sCex0rPsX/DwnWgpjpiuG4Fyw5RzKcCnqCZ7eZ42AqSk1zBzcIb89VLrmUUudOnGwhjUr+bB98S3/svqrIbl3cJMgeYQYRXn87kmo/S/x5u0yp/BaYJYlzgakggppt8IhsZO7ac51Wh6HrLqN0lbd9AoXB5I+3HgraPWwoJG/QcriBmCgAQ6tUDtM+YeGcXS+wcArBqzf6qqHqpelgON4GiaKHk4bPAJxeDyMyR0GmD2PdvIsZkScyfG6ms8Qi0VtovEEbXyCG+yNeQiLRVCgDXbpV2Mt9FvUrwB44DypL3edI3ynRqMSF+2V8I+CzeAxEZHBNT51rMLMjEpoTKgVOytkE/D3QJvKTYeYt5Pg1sryEMqtjrbe5NvfIv1xQ1b7Dzke7VuVVLf9QKLBvGvVv5oI/5b4BpnsuF4xKIyXuGfNeI/1Z1GyvhwuGUUhTW25YGsPtiWbxMXjXjFbe/kpHH2xpGLB112hEs4K7TfBgQugN2qYOlG1Z09G/0r8X9i8AeZ3e+AZNAzaGpCuX4F/NVELmHTrvtT88XRaewaN2pBBJXQEO0+qaxrPTB2oOulmeRL5nTDbNBZfXsGjjvH6jkxGjlxZqNhJpRtKnK6z/1iLpt//XQA2hZEAesbmYmUcO5378lc35S5+ASw1JUSQ80u62+QhIjQR0HlpwwjwcDzatYeWrUAsVfHm+/FgiWSrZR+EM+zuG/+ojw5vnYCyhImJSLfHKFpLIpWEkaCXCyU6FYAyl6vD3c0j2I3BiALdcpfAyl8j2BNaDyry/yuxY2f0bSpOEFxjiGfIlhQMzNi89kafgK/274jW8KAFDGbE9t4h+VuY81V3QosBdc6F2kS3B2TPf+c3f2qIE5LkvJvZhRkc7IcL0ItobCYY1SrB9Kl8TTROjm7fjaWp3utzc6spzfnd2zL2Ex25qHu8nEVUKM775INxopuMvjHIGlQReK7oaS6wi1wCKQNzsfWwT/uCe+FIIfgWsc/xHgvjSBhy9xRQY/t6/OdXW6uEuOrpioHzfPmM+f7ZY7mxxfIMuXq/52YmyMlfMJFn3rcUCNm/1cSDVN4tgdgfZ/U3EqwBjtCOLGgkQ5u/pAOJejJPZnuzornRXdTKVTfEMBJYcqTp7VamJHuviR11i9++KRapbpWs5WAfXmy4tyqXVgRaXfMe9cL1q0HD0cW7yJfnw57wfvMYbYuEo9+oc+foV7oymgbV2P+GIV/Oz+r8eRZ8iezgNOUgq7ZOZE7sC4K+sFXmEtK9WNZ+2XOJrF2a5EIC+G0aCDFY+Q/T7FjbTjVdrU57jsbEgzZIw0pCjInrMZ1xwmPI0rn1+8MqtOVDxvOeiWC/kYi+oSfK22qV2PhHQouvFvPmCJeQoQMZZ5b9ZJjrbWFie3BFhroRvqT8zwJsdhx7ZfIJN67Znem9/qJszZFoa64dLFV+t7kr8H9lSQKCB9vCCrXoNo/Zs4Qd93ajP0zGEvjEttW/3kQ0GTBYQmUjPZAxImbfSpdp+//66U9HaJOdiaj4wZ4l2CKpM0tHGDu9WU0cPlKTJT54lDbD65AKYjC13Y+LJkujO1jxc+gsPspZ1HMjqCIrNllTON4jUsfPXGrPR1L/y/GHRmQZVn/TxYstma+CfjHs0sR9M1mI6A3SfEcT6opnlod00x6MYrqAiT1FqvWeoih3q3FO7Wu5PJ2H48iUFdpwJ2oABhr60j5SBBIORSIO0lDS5ecHVUOiMNxaR3S2+hnz92sh1ma1dm/vnWDA+ShcvliZJChG9ACB0a6JuRXil3Sc+oM4udjYPaGZ+1PCbGJvsxg6UIAOMqMU3nu4vT9CvPiaKp/TXCdXAnjnOKOBREPMbcY6Bbt4d051D/vHR9xQwaDjopooyiP22dVzb3prazBEPb9IOHw7VBKeFCZ4kVmv8ws4Zg6zSuYsqUKMFGbyUha4pQoLwA6WeSUSk7RrjNkDo2DVA9eHsehDNkG4Vf8LrYjma6qtAWD1nfBgD6MEPJfwJogXXmmdgHlMyUtV4KMKhoECUe/P9xjXLfuxIxeabsz6roY23OOEx6ZBObJiQvp0SprqKYsELU04ovtzNW8xGN3X0B1xRS0rnemS3YWKWVdAu9KpB41HE2aMJHTtyM0Km974jYhqn0cgy0pUYydKVKoMj1q3O17ZD7+C6ABXaw7J3oOYMhze7vOoqVl1jGXknVxO7H7LNeMvV9IJ88kbV0ANrv10WbeAUFmMJas+fVjtekC7EO9Em50h6HippJukOEWOGl2EzzhQVDalistkN9SdEpwINkIs4/Bd6dhL4UzC6ObV9v/VVhZGIUXOAgQc/MH70Q/q0Uf+PQdmtp/Zs1HO8aDW551OSCt/g3SzKMDKmalkI00c6G6AiEkqcWoVc7//SNabn3gUVBH4IACytMhlUzRW+k1aq3ETqqg3ZS6UAO7a+HFrr3mCn2hN5NmpN+P39fWP/y2zUqQXHFXDzSgpOXr5FH6+CY/7pQ1CSwjtH1g+VeJlQUQJ6K1qa9Gb6aMw0KgBVLMK9rQ+KieZsXbKcMAmsegw5HLHS6rlkR43A0eElahOImI3fiwvgiritBDn5Wbhju9IWGICcN30DxDSwg4JakKR9QiHAdsONRqxvsYqKfvE1I9P9kh/8G1lmdiDNfZ/8tdaL3jyykFBk8a9P6WE6kMjVSHa0fFJm0jwbU/fN2vv+KdbFFkbG7cbXFcD/zPAqpSGfWg5rkgGCxCSOCaShXlNL93p4opbDe7/PgqkDPFYPrYNDoFZcJ1mqiXdip/2HbrboTpJcdzMvRE9Zz/70P0YqTuFv7F4erRNOEP2XXCGKSJQGEwEkIy1S+2APPgjNBveGc1fP0VKAGjhpZ4YhP2HO9c055YiGVLslyw/ONHA2kZL9iJWOg1/oqtPyOoag31osu7GH1rQzYyh5OAqFEQ6r51DUyDfpR2tEhqrPfHPzGyqlTEA0LUQdt5t8swXwIp+UD03RlgC5TYciH2N8s6qbVure0Cw4Pd65cE5A4WLk1fw/+F5yXtNVf90LEirD708XG+NO0cpdwgJPhM5S7sG+I9XyfEHxxjwmbvhyx3fT3QuSVbm6DQwcPEdy8JZoaWr0PrZ9iIDnt9gWXWt1XJvWeHIzFpBn5Hpb6GFCczv+r8SMr2Fn7qYleKCV0pi3OfBwpC/23jUdjJvfvjdRRq+TrBnig7A14XmNPy1O5VBSnWkIMPiLdnx52N5pWyDsLHGLtlKqHaQ6dBs04mK3au8ZZ1NTbYsLHXZSZ6x0L9n23Ae4Cpeawd0tDyl8dgE2G6YuqdHq3gp1rL3ieDM2zHDdeArcIvsglo4zEIk0bhyyFwRRNYzr+nJWCYEyirQwTC6M5sVl92gbvczMxIPhj+aANaFdEtM40BDxM6Hnncbs63TNFI7Mb6aRlsZS0przRrL0AVTc1u0j4LzUm++QFItMS//GeBT86LupH24+yVtUEp0xa8olBNz2YYz1tFae9o58WQPqKfUZQ/psvEaUXjKitr6KvuUstd0baWYzjx2l8TjDq3gooHBJu/S1k7N9pIhRBHrU7Xc6BvlJLZd/BqY4z1/5tpPQswm62LAfOZgHKwEpWWAJK74G66MtosQtX/Y6Uz79cxM6BoLpSzP2RS1TAGlQunWFOFpAire8NNGtfDEJtfhoIDxeg6imlQ4d7PO77QqFpCE37Bha/+gDHZuTpfup44e5W4RZZ8laNo9G8hZC4d4U9y6kPXYAChwl4UqVeo4sJU7tBCFhuwlt/tI090XzHUIiHsEM3iLk1IvycODtwAHKOjkwwyaXJC1yBCHdNbwaolJd9bvPliLFnYFsZ9WQvn9i8/GrF3jqfDKIDiY2KpHpp72fFuy5sS/aRj8lEZGPLW7/18ggDRerplyHtmt7SLFXScYOcEWhNYkh+KyoKzloxJX2BzT183Zr0C8aTaV9cLLpAotZDo3JEFKVv4ajAutL/HK/gr/kUvPqFayW6fla2phRYdDRMTGQn8bUYKXvyem8pqQ2CRXHib1NzbnDlAzBwso70t0g3QrtMr8jD5PjUIqUnmUxPq6jK4DxpEZea+q2WBks1Ns9D+Wt6A7LJwAs2Wul+MKS2sX+5EPQcslgGRtUtFxpI1vunvISrkjYkXCLkvgillzDi6yMorYkCasmyKeR1c+2nUUmY3GP5ouulVe3d+Kwe2Ab4JRB1E8fgqEGMQvmetV0eIDQyE2WGZdAxPd+5EdLfimRxn+t6GyFSm/f+z7aTEiTC+G6y/HD+G5pTqMZjZcYGwkuhG1UDbVzMs/S9DdvavOh69Vjdmfg43/+Fi6FkBXcxE78i13ZewROLAIcsSDCJUy4p/hIiE4ZSlePj5BT6sB9D5Lq5vhY0q+848uGWcty4QbeKZkNuktg9KlWDalNjLy1zRWuDGOqUhbfv+BHvPH38H2nGDPvAogLYssuoVpyNNfZJZenxKrs7tCahTtfMmzGXoy6VULXL30fb/KXibw+eGqmn7YGbcoC/ljx6iAiA0AQUgb0hSGpwOL9hkEqJ+OY2yvg/vefLv1O9TjMliAGCiGwxGV54ZRzJ85eUtP7sQGcIX4d2Jy7LCJ0CV+kaCYKzjBqGN53O44IqhKWGOcGdewS0YOUS/CpYdEULbi3Sh46ms/v1uNDacP/aGU5hTb5KlsV4OaL5Q44P1PSC2G0yomfi6dBgXw0+DfM2EJwhPjVwDiA/a2lDq1e4ZTk20hWfBnGx7f1P5qSwbMxQz0s6T07tnTgeTdNFpC0rNDUm6Kll++ikN4WozOkfsLxk5BKYSx+2UQ4n5birwqQZkGUn6IzI1j71lmCueDz0QBfivtcmZmpwptEK318r84XxkbbLYHcvNFnSfSwn8kpa2t3kokqQ2LMm/U8Rwv+tE2R6u39LyoZjZ63jNHNiIePAGQ12TCXGKaE2SLwMXHSftp1bDz8LedF5Il8WQoqyKfQzfdr2ucafor4DsnyFLeITjaEcB/3Tnsyzx09A9drNxcu1layW+OWL2cglKr0+q93NChADgWe0iEIKM/UwCeRZqIEa5MftQhqygns4rGhBLrNvLbhcsGmcQY0TEK+ZVeXK//bM39IUPLF8Le3tXSAspgge0wMz4tZhP42cXurLgOz0vwLvYnZZ+KEvVK/M+KNyrbUQm77CpmDnQ9UF+cjfHkgijgEFlnKddX2iIIviAjm46UgpUqXdZTGWsbn6TTr/vfi2/+l/eptiGlvrQ+InetvvW9n3nxIp8BUoBNPlN/bOOLhjfMsZ5ycW632fYojfSpy5hPJDg2kxcH1ilXgK1SG1X6Na3VpxDBX64n4VUGfxE0rtTtCNtCLEjLI/jnhXa9PFwDTcDHuf0O5HqLKdKlT1V6a9Ar5XiiX6g35DBc5MViRQ0D4QWnJyDg90b819SkpWh2BXswK6FqYmqlF8pshjaYwNtmmcJJFCEtCfkfJXdvkPpuSvmXgkyoJ9CZ9AmqSyFUzP4D5Mxnv4xdH1xzpftbYOCNsNgd2Qbn6hW5qvSdPUAA940hZNkEQots01TvpfXQk/L6feCJ80nZBfEgg7j5TSw3okGXhvyDrvF8WdPT+Mlhg7nwokRxSaUyFdQnMUG2n8+YtlfKT/1fSchb1qCa4vrpdaOLB/uZbHVTgyOL8RukmbNXLU8YDSqBPcBOLx0skolSUQzvoII9XznZQEx1eXBBdhIH7ms5R5rIAhG+A9cRDWpwnyCH38PoPyTWWloOFkawE/bf5q+XBWbc++O7JjDgLI7SLR4za+PucvScscTtdMkUpiwUXDRRNs/ffK1FAwxsUy/u6vozCnMf2AGxS3yHi4QiwncVbfY9GJsr3YF7h+oRKLips6uwvNPYEWDDMskjxlsPlqJSCbFpmkrQ3CcFEgiXKsbW9/5xZhIup9LbHOdYgnzXOVKxkY0Kbg7+AuSlA4QQMg997SnLApBY8v96x3NLLHjhjc509cunSgfWzHymNaYQVmm5f6Kako8Dfu8SzVunEwTJT002T/0hnLxeO9PmkOzYpcdzRR7k9FURoyq0x1q3evB2MG1QV3hqI/N+EGV8SwmV28oHT3SppHE085QgoEiTlRzRpXjoVEa1euJ8ehp9xOgECsl21aGRFZCFJ4VAgX/VMeypTZm2VbkOtBt94FgsLgq2rJYgRi+3PnvnFcIdiTQjphwHBXzX0rWRLRhhwcecLq14SSKt88kpBhS6j5HWu0eZm8EebIs/OeqO1Kj1VZh67FpaNGgesDN5M7/OP/W4cayELmajkE80Sy+pWGaaL00XGD0lF517xYoj7NQwifgc9bLC3TmZDH/Js2ML5L3QH3XRVV6ewJUDEizSBmhQd0OiI7E0crQpAsZOdgCoMuBp9KHCOT471jhN/i5hftXf4pRsSuyU5JpDILAK/ndfD9v7VkzXaZM+kAzpYCoidUSdHSdPTdDmkPRID0dvt+d7Dn4sOQOoupTPxN1LhG+3zk/JIS9fnLLGLDA45tVngoCWRMJm7ZtckVGTI+7yEjUk2QaFKjH8EpodhDr7ECjfMFwbgkGaQL0+70HiA7VAE9EcjDFEQ07wE1A9wqaiw8P6zbPMVu8GOvkfFidAIPJgRdJ7urIOnfwXbFL7sBAWE4sWtSUlyIXk6/lJNQQv+rkzJbjSNnNjNVtt+4Neo4qiyfyfJg98Fxm9Z+1doDJe7vJFmcLxaCr2CklZOPKnrcgwqUnorA8b+VqKLke4lzV/z1X1AodmR9I3QG8dD5/coAZeuzS7Vj3w5eQw5IJiUzELMZ6apvXoz8zDG2QjuXtctjrP6BSPeYxWMztG77zhX+FqZNSp3P5nUZkPSB8vKoYdZBO1c1ma7NUFhmjvyPtl6sbJZMd1nHmzbu3KgxNNSYawA8MpLZrbbveaEi/iPwSRYQQxdsLkEDHavv0qHU1RlmGonC0wgOUfEUTQR0gxsUP3JxyeCACHkrFIPF44VzQUU3pFWlDfzmlOUECmRTldx2bncBaiAUjNVSw8Cza4zmTE0DWL5Ji9p2d0PdfnE6GZhTo/MK3J0FzySfRQnxPouy46BuNAK3zEbLdUoz0DBAHkcRg0+1dCo4FPHDP7+PQS77pR2xbSE3tI9dmhkWF1svzTmokUOl7oVyZV5hiEEB3OimLl5KwQwrUWkSFSt4i5vyKftG2OsVAZQOAY7PoFo1m3VRULh5U78fKuZst0QrnhnUZmqFzmWLQMZc+uoedncUJGrlZl2Y2HkAWz9grs/OHqKwDS/jEam0NHoDbLNSZ5KhZTv1w01CXkXwsktOsGyKhbyBS2vxhPV0H1c4YN86vDnsMylp/XTqdvNnCe46wlQVFAHDPU0I187rPhpA1pZmdu3PhXWnTxpgPeNE8F/lP0aAZca3yxkgqzFfPZ0U0AssZSHI+fGSLDtLKZ/0g/DEKHolwT/LE9xpaQ/I9AE5FV5JzxA2EOEb6ufeqjjyj6rFVhY/0H5OS4EqXKI+fXx17xqRxYZzyN/IywckquOhXaryHc5gqTShGopX2cUVV8hLjdMxKfzLgWsth/EWmKQKoJsO1RHCDe8z8838qjsmxU3Jd4f1UCg9ne/ou4VczA/g9I65c5nP7dUJMqcK595omk3a+3dMQYz05iStizN7rypM+F0fvRVeDb4c+4vaKQPiMGIoYleGwqC1okEJE9Y0uwcOqs2WBMLy5kTTsVxp5I/hfh46s1VVkA0aWuCKZAk2nTfPj7KAFBTJkExHm4cq0QqcrpU9VKO8J5AFmlP/zuFmcfUpEdCagRifHgajoi1QKJIlobrTzA+vGqQCksj1GJT0NGzdVkTEAzA8dVcEgJ904Rr5IUbFcqoJ2zk2LQBaWNiyOdti98vOFCuhYBIJm1VC6smtTd0GSN+a2ARBOITsHOzk7Q/HlFUNzYdd4w7Qobs4QySTHlGBVfYEeqsBfkVv1B24eCyq4yl5aloHf788eAcREVtgOsz3VN31pySBIVWJqsEr4wIqX71pkgk5DENkLaHXJ9pGeVQBObRpGzTNWwIjnbFiHZeWX4YdsvLZ/EYwkCsolPua68AHG6MD8SKIGNTfChitT5Qna70b0rcuKJW4U3yfHdY2ayZ6d84UusqBKLm5FbOdPYBwd+RvswxG9/fR9NwxGCb41Du987+NfCI7HgEjX7k1DYoj9KKZ6k3WcYXuanFV3/yedMQVYIH+nZuPqmEYDvZ2Ai3sOkD524BBK9U8ylxk0BUL0SdIR/EhBNNX2B6DLzU2cvzbmp7Y6yR0CPIVaniRq8IVf8luATpiMeDamCidJJ6h+7+8Wq13ST4bw18ysNCspUFh0MMlh991MNP2Icaw4IyUzh8pjDhHZtFkq6IgLLtL/lxotJiRhJH9A8oStej1cq5BSL7EswOZQ7e2J9iwLfC3oTq4zmn/+3ogrhD3aRcWn7UDICED852BXtDfwFuGcp0hwkMVi5KfTYeifhP5y1Ck5x2VI2gIu83stY8ZVEgenzzTZieiUe5fsdPlq3BmopZj+G31XsZDBVgEAxJVDhSviOb+zZNf0nEihM6gVKVvGyxr9phI1HRmumKYt81LEzkN2ijfz+jNow9JoFB3kap5RmFyVMDImGwZXHs5ADpOBeq0goTvgi/1XYSc3jNUGcceJbhGLN5Tz3VqBi0xs+qPcQhJOjJiGe6Y1PXUe/+pyxMNCLc8nwm3FfDMhNY9IA+0+CxAwZRH9G44AjALBBtlw055AwNc+l2baXmDFcwRvp+ZT0PdaqEeZpM0Q4trEWn/MD9mWUKdOcE8LoKouZUyXjYkGTL+aWAS6+alf2kwHje/vaWaGSB1G9DAAs5o5lFzG+bukUSbMgaCN8ojJRVV+ofPqoW1nQKz39vDXs+1Rm/sD3WhY+ELxoFCW5QApsQX4tz4Fdr6Jwrp4r532ryz418a+NCaqgOzVe4Aas8JmQrn77CIBqFXhJi/Apx/Mzg5K7XsEFI2ucaYQIB9SxI08uuP3Gazty8EjA+X45ENJbn4Kjse9C+1UUXgQtsTfrSSTvg12VqmezynqJsZAygJ83OdDEsfgQI2q8iSND9sHY8apZ07K5y2uHJNBnqoN/XuEXDbQBMH6/D009HsbFebbYlatGbRfe7EAyWlev56zrsU1KXj5mA2Ug/g3JLq2qN8yiBINODzYtAvVK+MUMinn+eZzZAu90uQq74Mh+q9VefH/S5Pn23lfolI+23H4eQ+C6kRYwt3jF0MijBE770P3y8Wxorc31h6efTzreTSFBlh6KlYnY+hXa6Pu5lo+6rBI+6yEPMYRISkLq9fWakxWxRRLwKFnPH25WrfyyI4wJVK3ZEbiv7YyZ8aThn5uwsvrLrpr0N49S6pyFBzWqUGdXEMFFoaFFAsgUXMc5o8dUF66ZgPLq/R7LM55MjdJtcaDRqhwk5+sQ1GbayghNjpfyRiSqIFbKlgCFEpdjZWiE7CQrfJwLA37+91LEByaX0nhDzGJBXxr1kBls2nFIy6p7pW2OynHTCPOofFRi+jVZPT4Fdag16cq0MPzt3QHyKrF84a9VsxeitySMyHIh/flbuR5l6jj4HuZh6KSIgWAdZIuqHHv25N11kp8u5RpSy5nDt/TqGs4wpIrZ3AdjHq4j6j1r/K6iG4dwlRmanULY4wBAa4f9CVLtQ5R48EspEKUNgGw7EnCttmGGy5Kze4T+DJ2LrLvopq/oPouzPnLmiRUqUPqq11+ujLzzj4e3Ui/OOewjiiZfSN3XrFNfs0B20L5YUxrpw601V/nCNvwxh9qy/RLImlVtO+B5KZLicsfq6ieFmT0oegJA1+uKohfJaPHPhhSyIFviJ6J9MUIJsV777An0b6DmNVwXilzyZ4WS9XRlnOsP8aXISMLhI5LL85sWCDVKBnmKpwC4MC7nuGlfdLGBZu13ma1Ua9GcQA4D0ecpDZyRFFC6dM92YUB4WU1rCEobUxT3p3slebj10WzNl7RdrETNWUcIWV/V+df8Kbp28uezHxZcYQUVWJSnlzd5uY7VufrfuFPlue40UeaLQ/N6RUw1AtHwQ68IR+UZrlfMRh0tOEiwZ0PoWyEd1adrjzJtK8/HpFIkmDvvVIjiTUZDLOXBSawPwoXvk26AacuQXrrpNCsxnqTxohgVH2SkzqCWNMm66Mlqc/kYDNT+8Y4afQw5i7rqKiBaRVSOsqTCjrxkspRnNlAZVOkA/tg5Iju9jN+BFMM5vTJQLfuM+ANCgI05nvH0hYAa2OZsUjJ+48JAvrI7viHa9FKVP6ozmRF3uAJQ8FCo5MAIO2mNkpFoUuVcNYT4zx2PJLt4lAq+mr92Mu4vJqC4P1PudvUbyEv7MnBrk3t9y+A4Sv+9KdZHb/33hDJ8YiP4JzasN/xuu908d+lt1XtEcQvPTR24MRqEJQVzqsdy3rMKrpPO6llalSTHTLMdvxiaqaS4j2pRjSojHtXxQSdn0W1VMuFA1ADgfrE4brM7M40p6WSpOpO755dH5MDvlOvkKa54Uj/vcnzGf1PxbC2R254DhOWCguJxHpQVTt17vm2fZMnDM7scXXqobSVmOBNumFhD7xqCKmyvgsR/QELjaDTZ8ceit9UqzPeXmWFpBU+ehrdQ58EePKZ0xxjgB0dhDmjCflIQQcmx0CR7xSBx9CyDnpaji6uw/r/Ajg0ZzCNwB0R4qRIrNmEkp65+5K6ZSsjpjsl9P7OH/6kQlZUuorz/DNlTsi5G6nf+U4KgASmVepjZyTlvQnw1MnHavQWZy6K4QAOibmXNqUOL5U0y1V5yjOgnIGTV/yaBwwKS9TVG5KD6AU5xitX4tPSrCMz7CyYUdF3liQH4k51cCcfIVWabcjzrfoQOZhUVNG6vAouHntMbq1V5Wsb0lL8ZmKvLVS5dNguZv9hl2UURUG90JRdhpZsOrtXH0sZ/D1c1SdG9n21bjGgDxtVYMnOsRr6ifOAiegaX2ohawEwEyiXa2A6VF3lnnJ1rvCRAMK/HAAC7ELPTjxRYK6DYcXWCYAdesQelmNH7T9wPUlKzyEq2lqy8vK8qS29GQ3qjlF7xmCzy2EAvWoFJnUfCPuygnoBVwkgMgCdVOhTZuRUS85i9Qp8o1s/suyKDYJh4T8ntegrG6tWHGZy54jpXOOgtTmG0ojeaIoFUfH040xVXG2NwSzRqBy9yU73x7wS/omT9BdGr9A9WStjknBg90QYXWcoPI8XFLWwXNsMcSjd8wBaxiJX4MpwbQfv15fno9G6zu12R9zUef1x4heYvGLnBem2MAzyaLqjwIYs1zdo2rTZF/wWAwWJepnEpcgHKBmXD+gDpK1SQwN9PiPODUIZycaCajKQ40JSHalK0s5GhhuOtDwikhuDZXgl/Pe0S+L+aL3Mpuz1t2BdJncUERfXM83ZV1DOcxgehlxM+8mzz7tVZ3lrJxuucXUXfPPNIc9oI1ZG0XopCNIYWiKuCz5qcv+uBGTVD8Wdlnw6GYCL7FHirDNdHgmP2YoflcdoluGzDPoCIwUIoQshvumAdcp8li5cQ1TWAnJgX6Js/wSscDNkXc2mba7SNtkIAe8+m4Xvq1D5TIhEHggwU25ui9udzlU2LQEbllXmxGqnr1wb5yHnZfL7EBwv/RYez/uDXgbARVshNTB8PyqjbhbQcSknfi/a9Uwdna1BV8HvQZbZXIkZf6xbChQXS1ajZHF4qTL7pf76A9Q02QAFOe9g8tQaVu6xO/79LFsOmZMJG/Vk9sfRx//2e+1U9yU9gC48IQB2HNvaCofd1mJFAzkUR43m2vHTIe9sAzaG8UPH+UW7rB0ycrZbhKH6GOUBNqItICfPGtd5mkdt0InQORQt+lF9d4jgs+yQAYHCkulfR+PCWQ/yt+qMXgXmN5h4+oR28qiCypgMTCZSxLXErrTX/A5W+wcEaazK0lGeNfY8106LhXks+JGeY8Nhmx+5XMfyaJcIzudA31YE3kwCYqEwx2FdLEKhk/yIJa3IF+nwkVVvERQ1YfZL913NIurAX+g3ow3uVTvIRYg9x/tAa6SX943ZJRJBS29OEV+x8z+Q0h1yQg9b9CWdF3UNiKOMmOkVCZGmYtt4KX5VRSsmkIK+FCaC9lk5KYw/U2IbxjieQDkXhG2crotRFz6zT+abQR4z3m2MJM/JBFgJ1ENpU2CCsx4HoN203OIUzRYwU0EndoUxBQUPckJkmYQLP43rV+1ItqwiTAp9YT8OJ7tVGVg1MkJUs6mVcxpwgyy2KbGNAkWtf8QkD/ihD0j5BTarQX062/6lu9jKGb/vEcsImau0Zzlv9U38FwD662aYOe9BowBH45Ai0DM1PVpj+iH1PBT6VUf63l7ZBdYfQ0BPYfWOocw+cb3h3//A1rtsCEg0w1WeKxzbxwaNpHVvOcsBZaZ6WOfVcbSu8mPNVq2SFCX6sQRetzr72wJ4BGYnDC1n777c0SJtV8erwMnQaLWbs1gi/KWPww8DDIsxk9B5N1omS4/ugsicXJX8VK+Cex2YTwuez+VurEMbI0GemycTrn9ap6AJyL/n1C7cZCBGHGFFkve5CrSomrjJSoyp6CXAoO36GXb8LG8pJHOE1BPx4Qogwt3rHerVA3nR2nfRBCjCGtQWGMHjJN5eY1G/qZeRb/a8CFqQo/S6kz+Qk7jjDI/sYa/1txHWijO9f9hbfmCo6Qji72tgdgUlokdrj7s5dmZCYjFsB0vU1Hn2FfJTLbu1fd+Ipq/plzP+ZJ8SqPEVBIkaC5cWDmmCaspLyAh6Ro8YmkbzMbuv4HKu2iXcNxYbKVoEmqrF0VeDJTOTKHNvm6PvEhAKTLlhFJmTG5hgTHTalVTbxOt28mapB+yExSiy7Dp0gaR5KZTie6PdW3YP7Ox2mMppxuhsJOkywXjBUIRo/3FV+sPKCjHimwxX6nIeVuyzSeXVbb5Ie+Fa9770GJVNyldkMd95ByG2FAuPRIhaZBVZy2l9k4vqLR5f6jajqpQ6XwVnY0FgE/no0dmnuf6tSe8jDlfuXN2Uo+covO+/XpzViyaYz3HrLMdi3uqVfXRKoUIkOv1u8XTHTCoEWJcMjRBhfrzo5FOyXzsy8nwrGsM60OF5mf3Z71Ggjq86YnN4GMbX1hbeV7iy9A4uapHn5vu1ldH0veinTaSrKvR6z2wetZwVn7fkK2GO4NC3rBv2mgKCFe/SVysa9WvfK9k8Twly89yzwjSHE5CT0q4R4NWIOZ+9nDtSWDFy6qULm69KjqODSCy7y3P5Db0G8PbMvJUzdWskcB0KEsIx2HL0Rt5kZM2iOc/ZdLK9RZtQqGI3kKdLtSXIQUr86CkHfL0NM+rCfuN7Ff4ZNmp6j3ixje/BLxNL8xA2WHpFK0rTmXJjg21mlOJ4dOyJI6Qw1hGM9IJ/mLKECdM/CW6e2GWu4l2y38KIlvhT0MW9gDmw2OmCAP/bHRENmADRO2+UDVeY6saZkEbUwRDjC73xTGAXr15dIGIwvcqbvUukMlksK8a0g5o/QKJP2xcvF1uhjWj2KCaW5kzWIXCFBWopN/fadfI0idOKkFM87ti/wNcLPTKwAZTemIJKZ4fzBvztgI2wiW1w7e8PKplrjU9pMbymwj3eAQkhFik0cc023s+ZtXzUjJcTN2BYD6NZ+BBn/QkOeOW0M6PZWis0mNPQftzBpiFW/l4T+ViGCPXX1+/rhj7ky9U+smisAJ2iABJDNBZU8Cy7gsbf5Tk+CrfsyaDEejMB4gKxypTZK7HQgkGiORwr6knTcixEa97ndX3C6o1ROsYAUdbpmQbBpD7QpqytvoNpDKZTjPo8ihXr8f2s/xum3PyGddmlgBnJWGM6K6JLgwK/aRmrwRyj5GDJnXn/qd5WmYnxzpbyaBUeivbp/ptIaXTYFqwvt00kgnGnw22l5/pa9eUP086PGg4oFAxdfCGYLeOCYz5mg0JzhwZc7RH/CaoEc7NDAkaz1ZauHriJpQJxuPnW8pi5MX8M7MHY4u/j4ABk57G4MVF69JSVi4HGFbvRwFNWc0tIIxkKqFLFkKqFdTsWCV/nuhdRksIodZRn1bzqOK3LSuwHj8Pk19J/GDybA9hq/WqDkmgHLCjedWH6Fc3FOPeXyfxo22OcHSw7OMNXBzJ9naHnPsTmDicIvMeE19ONHUeE4pluxU3mAKzrmZSKieFEqyytqMva35UVKzUlGgZSZV4X/cA5eYolVN2fOodgb68G61P71JOH7KO8Sbupcgb65VhMySMua2PHvnlP99DJegj45zlB73SBvyMgosGH+7EEjG4y4U54h4I8YQJfBrOZTN//4kLWBq+NEX18ZpB9jkViMdJxd+7VLkMZrZwhLJs2XcopEnkIssBw4qG72rRfamNzeIMeVr08pl5Rm3gNizoGSKCrOZBqLswNGw84bMtRs8XOmQcQcGaDtX6Plu7Xur5rWtIudUnOuaC3osqB3/GRtkI3kxZnXEQEdCOscYKmzjrvuRyjiaIK71OedzR3MFzfy5X7BAqknnHuHPukKmK4Sg4RI74EnJSihOYV2hOY4RWkaBM4j6kBejYJwOIoxik8W0Xs4Yv2DrOSzofVrGvXx+8NPxJqyIvbGyUbBCM2lob+AkaEUuAyUspVf+dhofeGMcxVMgG8OOiwWa6BUvO6fgAzQcj2nWBvrCqnfBihpVFerl898J7NBiPdgol9CG/F7L35ZgH76dQK3PfmrZclwOpCMnL/nZHJaSMkv75pJLKok/LavzYjH+YPEhjT5rQah46hmctu+wqlzyq5oHntY/2k1XlnGU4Q77u9EItPklIMTWPTHKxsPnzd69d1XkZBylrD2YqsxvHsDolYZXNyL55rfHy/RxKcSf9KTvqWj2xxS5kkmD0Jv7uzwwH8hohP6gymLE9nGOVi+FAQ5wp8Bz6FvefFlbwJQK+f8Tfh/AJTZ6aPGglJZUmnRs/Blgly0Yxm1kb0Cm2P7rhMe/NbtihQ/pdwpMhPFiJeRveBG+1PzKcLDJjbHVsusp5Nx/4Zbq5Iinpcmq2DbDWy8XzrRtwhmg/vOnb7U8yeK0Id/k4AGg/WodvNzIZB+IW5lJh6X9SWtispQ/y4DCPOC2Sfqynr68q/+qWkSchT9nEFy6EODCOIer+60V7SSUCpuQX9zXwQ+YBhlvj+v0zSF2bD+P1tIggst8Zn+qqL33D7yvgk08i/xK4iZ7Nvmzdy68hlHmo4PtQmTIATJgr15ppodV+HbTvREx6vroacHSZoNWWKDqiCh7liO1r4kQBdQe4YuXn3MfzNjW8slBXZ+0GKNvHnHcE6YMZBHzpUKY6O/2dzi5tstMUBlqQTpt8IueID+aOhS+oGR5HwHR85tGR+TQo7XlzR7Vmmnd16TFFRXwaSPrkNq/fwdZx2laSMvj0TGYaKktTQ0nF/ELcuNVkjTTg28fo5azOLiYu5KwDc0H87iGXW5fpwnCwC/aPVUHYqq/1GUGpduJOeVJVWiZjMngF9Ay1ky1f38ajO/1K9fy8QfaqrO4mItk+Dvg+y1vDYFcU9bwb17e2UaPCzvjzHofWQDdErtPQ9eHKKtq+gqp15snSMCeahYG1b20mh54jfnV+QQnQ+sRxGEFRyf/dOkftAjUqWj79PqVV3UJ9treCjRFw3RiVbCLjNsnURuSTlGtqmMc2y0D6Bk/dJ7qO/WyIba2IuhDIAKPRV+eGxNKkNJEy/r3IrPc6fWNZjH6M7pXlBDWlUzv0qiDbtFPDk2JhheNO+4GfYjrSu38ku5E/J1i/CjyBh7kPGgXJoTnMtCnaEkDR8tMWDeo57L6sNKExvlcwefyuZwFPDQ0Cig06y7ED4XK9cLhJqWiIKjD6f59AlGS02ZwyIdrDK+VTN6iPA8MBrn6o1UhrXqWg/3ZspZKwq5TX9OL4EO7spK4r/CLFIw3t4kqUIWvBb0x46kim3PmqDRZnxBDz3YatZKEgQVg9FpSGZYHzN1MsqdyOLabZ1RN1WKQTpNQJ6iImZyYcDtkdo/RCGu+z3qaK/UNyoRrcILIn3SJ1vLrllWZ2VUTwSQSpCH9ctLXyk/y1uruD27kQ4PWiU+Nr2ojBwuQ4QEXMBFeCP2pPNdCUL8QM/MrSKSAU4eWuWGKEIqs1Y58Z74o47+v6LgqbqEp9TLcQInYPDRsjDczwKwPb+V+wK8eWCg+PB8p2wVQ5uA1PSPB27LxjfKJKvTZ+MAb3ygF8tGtfxzET+QiOT0+WnEWEs/7xwsR8/cTJyDeD2EJClASUE6qxjs3ehDhn5R0zt2OIE6ArVk58sw2Zfi1VBN1R1JXLy4VkKLa1LTZ6cOLNCljvRLRTwNUka3RMkRtE+bfsW1e2f6qQr382uhJtA3hfch7QAtH+PXeZu3v6g1RMszfY+mVmy9uTMbgBQolBiDGhtUc69mMxzRMugE7KHAT7vHsdTZWGN4FKDahczvrAeclNpwiFIZizyk+dpWiCsXzAAfVajOk9mlNFadCb80hWVqotnyD3i5QyO4gcrRv5jXxJU1fsFzMDy8amCozUh4jQzBCxQo/VXOdeVQP0Gkb5zDjI9rg5LJ0G/gi7MNv/7vc/yt3R+mjESlWJ4D/p24dvMkRiD8s4xog3zCToF+FuzYF3OeRDo5onAqjzwSW13TbWDS7m75zOd/d5OSGdUdYD3EFnSj/zucJFF+jyXrcYxCoN48hJSbpbAKl4QsYRal1S3WJ/Iru0PTuuMWxiWqw9RwZlfq2q4EeWcJsma+3esL6LMYbu3InfTTzNkuJ2e6djaGgKCdXtUIqQNDfyUbRlvzKpp7fpDCNVaQhFJoxqBmZW1m8AhiywPMCtzLmVytOgdEnl1WBySH4t8ICUjmbcJfC/j0Ao9jY7VuZGfuDAjJTj5eMO/IsgRRWazao2RFhcl0KS920pom2pFX4YceXnHuZ0ncqIILF7djoZ3NOEdwNgzAYc8uARgWDuT/VJVSsQmoK91RGT1EsTvDZYgnw0h9lokAWvLUplBJzw9vMQ8FZQuad7dk8ajrv+8wvfKRZuuZ/M5BSeSYoqu/Axlfylg0m3SJKSQCZBfG440A0eUXRVeTN27UmHHywg0Qno4fb9VMb5/igWA3eF30ytGTO82prswAS4gRVJg2xuwLlt9vy+FtGrsg8zPDQnyGEicKmUPEJAttaIqsDdEX4qjJuzNhkAQ5v6R9rscK+Ypl3sJCb+IU8XCMT82WDyVI2ZmIyVCMTrCHZSBlV9biAimZZyCf/6yJ3PZvHNe4+70QjIjxN6JujO67nMqb9CaBVSDuDd34M4CFyLJo4Y4Jp87no7CKIWwOFibdaN5v3i6fp15YH938fnDYFZgbYE6uflPz2uZbzcuXB2A8xl+/++38u1fTkXlKq9IoEK8VxrzCB5tFpgl2jSiixmjgAhLApmxPqSxI1DdrPTTHmsXdVHsIS8jGhWKQhLFuNvKlhTIFOFUjyrXJRrC+NFiy5e8h1i7n3KXscvV/KetVylNYlBa1W49PLjC00g4uL219jqYdXylclf4g3C7N6seRKgF5/IwkFsyNyhHGkYflpJwsLs5Zz2H1sDv75v4aoHgmmUa+pbCl6cF/9WoB4aWltFcE7+nM9GgtHcZDMJTNzOJAc5KR34vrhTIf/fQNZBLIwOvFNHtBOFkC14xnNamACSQjCu8VpwnrDtkeDihr9XQ/xuPbexPWa6sVNZ0cICbg+4RJUcNdj83mt+z48w+1CyXHGAaMdjXq/gUZyViwbTTucBZ93iBPVLa5tW2/wFhxWfTSjH3KvwzLBQN2rN4RfTnNN8sfOvZmvXTI3xmmSnwdjg4FdKry17IV2uSk4NiNztDQ/EKlk618C99tiu9zy3BfXEfAfUV8TsUCwSnpWURXqtgftVxQn0i+LTVX0bMM3QcZ09mVTv+gQ3JD3fyS/+EeyJmYdYDpGzBuWPkPiwWxX08KNHCB+V+/CVLEIpbkNGn6QGePRUSeFdcz19Yr9RFnt2KqY+IRw4QOcBu23ENxdSbY15mL7D5xf71p1zZrdq1VfOwQivFOoUgV8dRSgDNu7HfFchdD1IQ8/Eei35f1/wc+UB1AXOabT8f6ax32q7W7x8f4pH5aA4h2LPgL295rJt5CKNvI5HxVfBxC4GKScO/duJaROMJfjispZHQurynwLPcn3Vs0jmk/kwhwHxPfEIZrn+PV8AaWQeODFuIjA2VkLrSxuxpCj/kmA7RudV9XdFIRzvLWgiA8QZR9peQjy/PtXJJiY5sRGqlKgOi+KtNHBwTBTUEriUQZNFm+KFu3rle3yWZSVVKsuNsve18S486wFlNysZoxUS6m7bcSyhGX8ERd2ISqZ9AB0WjnbKeD4OQqR+dXWmf9F8TI0OLdgGwjImKxsapTxacy/3lL30qi2TugNLkh2rRhlxGBxtj1I+jmr96A6Tn3RVkaxIGXsag3loVw08hajXIuATSH2h6wPdi3X5AjwVZUnFtzFbA6tPZPyO4qhrOBa5V7bhYXzJQHWUIvHZzwcoolLN80xt4FeN2yKy5wm3Yf9/6lsKtStJqr4JSw5zrngl02+KD53r0CISznUaxCPVjOK9wbILQzJnwZ8RCe/pm80hplk96RE736QvMfpH8xoMexhGFDnnQIpFKJZ2Ej3Hk4XsbIJNpjDl4y8ztxYbe6CLSwJ1gyHkNg0OIBbSJbkDVpe6DIQDEcFqyaAfwDA9LUDGfizvZMzIZxW4q5NB1vECiHssDR8Lfo+XLv5POnosQdfPLhlTJSVpQj1FIhbpI1HdePprvoJt3sv8obYlfQ6nWsmpiNVo44riplETEwzutLAYqqrzUF/7z3g21rb+XF91lGvJzl7jb4Ns2iaGEm0wQoXgjvX1R6pTZ4UoMux0M/1+Avv88cPHIHV8rg4crlyvuZwiBBBCd1Of5R68nklHk4hrOi3VFq5J4kbug55TGvm48Dh39yk3FOmK4aZgCxiYna3g9/f8OEe2imIwLFs2XQgEOpbtaiOoda9KD5yc4xbyJSU6KeUyMJ0OS79EiroHOuOR+kZ7AqNsBAZBu3iq4zKewA90Qv1pjz4gfG3bVFEAsuHX9uUK/34+6s8wtYaWFfH8nPMTQ0mMgfFrtCiO6aqtRlabsPt//paE2AZ8zwOtGFaBA5yBmwT3aFYe1e602iLlN9eAZJQHEKi3GfpUC1Eov6jTXP6/6JFBI7ijl8R8490yS8c1mdMBcSt3Tc1WxlD7b7uat7VjL33lcpRxb2i8RDXkmxJgn537yENLo2h4+gKg5EYxwsQ4kwErr/r+0MXxFPaLIEJYIDhZjOE3clmbDgNqHbD5kEl6KhnsYaHpxnfLF4lIWTqfTd/SOOTS019G7i7eLysSwWJNP00ViEgQp5eaIMJmXKZcMT7mXV2QPqKA8JVqbNoeNcSAjMbT6Nu8HfhXpMJD5JQ5WKd4Uf6d7GkxntxboUYvODrfEeh14sNkmLCAwcyG8wVWNhu/TQvJ45OC2FezGZev23FgcNegexa4ZWsGC0NH2Tgz1LOZURzZIPlKbMALI23S5EO6GcXtxgIxEb0HBWrOHihPiSF3lcE360V5VLHovM8Zx9aAi7xw7+ZHSJRhXm8absndK3+aY9OPRpnbx5sIspGY6XikzJG2okaDJD8n3TmHuNkrVPzZjegF2Y/+4XYpuuFZA+PUtfAIxECZPNzcNJYFU9dSELTwgBfJZaujIfTCVE8ADth3neRO43TLUHZ+kYT4Pt3un2PUrJW4vDftyCyZH9Igf7nxWPNs7A0d3B2r9ZKCdWBVmPqzjPOzb/7VDfiLvv7ajECSZej3hZXan3doQ98V9rFu6VeVCKxziuguasWYpq6k7Ailtt2zt9VaYWMXIkJltwucwJbHTApmOE1zw8/UTxwKLjsSvu5+c3jJz1OzxMMyKT8VYASzEJAARQAlRSC5F3J6wx1TF6v+52h2QmKiJnPEbMpAW3OMCtxVSczxQC+79rAiJZeVs23mhwfPW1qKKWCBW4UlyHao77qEMm0cwlsNk2g7FgrJeWLgs2fnFOyL7AtGH9hHHKzGHz0uJ8rzKWrVBeydw320Jo7xRMpA8t8ODR6/jU20VnpPt5HDF1a7dr37wavlNAq8TZMldNpAUIDLL58YtxKYzXAgdAGUK9/dIujQkuQulcY+0SeGUFz2YG/xxHpCnRNOsO7AiMRhJf8k4nWh07faTcuVbRiSSN3p+LRlwU4NBZ3vIvP/CaCLYafEZmBKE6JBQbAnErSainrbJKV7rXJP4YtC5ysVQgmRF3CRVpibFSAFxnOn7UDspsIPONUDHwTUmT12cH3//mgrmMmOon5pJqexOWmNFdLEyWOYiZhRD9AVsK6EEbjh4HyHha9Mz+3DR6ix97Wt2GsUDvbF449NhTdNS9vllBZlAV6HTFLlgLEvfu1F/UxJPaNsQK+4s3jx9TEkxVxr6O3wCHLRyMIMWN7hmIKbY1mVwGx5zwmf0671ezwpYCNwzv9xF9LJVTHpTD2wzLvDU4+MTWn12TnKO2jRdG3mIA8XRlTznTYBFNBtdA/ZiLiRhPVIseYXGbqy6ksmZD9n/hIv7/W3yhqfaw6fgtD0yaRPyiriMehjficgObQSpN9+aZSlOMwykmJU4Utm7L1uKSFFO8UGRw/fcW4E5Q9vGFbDkG65PNh3RhVOQSragzgjY33pXefVjRUU8VMMZE+GKP/FkFse3MLEhrcf1H4ePpiNL13ak/OdCYNzWBg/JW4AOZX80vvB0egwrlNs8fZWo9jzR4HAY7Q4ROTXGJtnWuBEkUfe4h071NWp41MJC84mao1eESDX+f4UK0CX7UTDl272/WsX7JMJ5NvOIJ0okvV0rE5F0OS1RP4TNUbDzZiautda6aVVJN0IRKyEVCOSSjD6/HZ2NmrVcl4vTrQXAaG0UqBd9S6CwrJw/1DzMZxXs2sC6C/Iq72SQ8fe7lYlRgZ63hbdxEVYD0ItPqmQFoSjtn6WlCMeHJPM9wpOLmZhaNCWpdW2yqWWkdl2RbMqheiayAz/KOwjO3dCgAnjDXvvzPdvOLSSiFYxNLUuY8YVAOLWxQNlnxWwhB4qYs4zBSZmEd7J9A+2ZhVLEPaZkWGPf2+YDRlJ7ooD3HyhcYPtu0Go8h9kUs6BLHxJ8THJTar+HbNtkSQH9vMcpUviXN3ZyVLL5/BLzshmQgAAHZ5r4VbUGVgzszT2+GPwc2jrxSgD7uiAmlhTg5W7SxozmjJdGepkco5bX5kg9lsFgrRpmIK+dvzPmuAGm5kvE1+Zz9zKQAyG62MSFVQeuKMAW6BK0rQVqcSa4GyURFrxF+MeyOUU++hkQfrgVvpQsf1uQqlQm9b/Fw8Nu2KLzMJVDNS8GL7098kvi2qSZPh/gkI5ZOBlvBKkZYi0HBH9fPyJXNRbX1TWmVvaikriVYIYzVERJMA7tyLGWUs3ICu8631iiJgo6JSpWnjdG+agaZjGqYtcsclOTvsZBaV7p60QwpK0wvFf2zp2BYCb/kqPAmY9suaC88LAhlvySKGYzo79bKJVF7ZesBtNGxRxpmDy3yOcTS8l+I/fUSxGcigPH4JA5GNxl0T+2ErnzA8EqAwQUpTxsKxG7x5yJyPq0SplEbKxh4jbPcctp9QPWxHGitQbs5hxJHCMWehtZSV6ySZkqafgmJV0NJqRogAPFcHZH9EGLGkyWWcEf+dcqg3e7W/m7pWhjAZXtmW7phf2WfVKokbWBFLW/8H+f0PkHzFeP7btveRlffNoQQIEZf8C3gtnrr2BNHMvM7AbiXR7Ra2h980dzu8zqR8ZsyXfiyxw6NjILd6QpDUC6HSi/SZnCcyQvp5DHZt2duGl/OkcA7AEuzXLnuAkaPeXlPCstLUX0gmxtwYtg33P4PGo5yh1Y2YYFx0qWsXPLdmGxUTZxKLKPvvpXjqqS9IUxa3LcU47XJx/41PKfnyEKYHzV57CVx+Tkn7rn19kYGk8qdd/9B7xsxdL8ZBSfKUi+0YeYOzus4mp+jTghviLhl4BZ1xwvRUlcjMQmHWgcqqK+dtuCdLXvITqqtTATTeaE3hRlGeSJdYhqNBH5JABN1CNJS+RMxyfrO4aD3nnTWEGS3nLpTG4MmDlzwsLLal6pAwKQdr0P9tfw0kA3TnoyJtUc04lz5w1MAiyV+n41f6m3u60+8v/HxdU7hERWJxA7+3JdPn/7dGPKZwst2Ro06+RRAQiSXrtcqKyka/0uQHnstohNh+InRrdqEJtZ8i4egSpc2B1x3mnoDZ56bxJoHHHAmjSdcG5HL9Clod2uuu6GLo6GVTrbgw4isVTc79efNXJSycEERblEUVRzDdB/xV2GgpY8tqDAWXQugF0rAaOgLi9CryfYC2H6xBQVpGaVL8yhGPMYkdfq1y1sYNDvoqmWYNGt7CfBdIkZ5V5G+XRPlZwcX7AKaBjmQ7VPj6lAWdqasOEJ0wGchCNfhZuElUt4j87pOhM3ojt1XKq31dVp27DAk+tWKxC48odlZ43l7dNqkRt7YCiBA0WnPsgn1av0juY+wsPPXl59O1sddvQe7lPjB4e7qQgdCyFchR2vlpehaQRfLpxx92Q93MK4fbpXE7gHad6qR7jFy5akB4F2O23/pRVdR8LgBbx+VALrb8cyPOWICjgeyJb525BNvV1jIPesc1xPbX/Z5kSxgW7CDmnEBRFcZOj/RAKwQj/RaDcTMkP9CwhTo53s/NUTu9TElmsx8DseG2HWIUdVYPICD59NxuD1rVE8W2BKelRgEPkHiRtbgODq4z1j3oSHLlBhrhV4TAu+bcj3yUdBfU31qYn7TIxCxoWvm6IkKwRpjt5LoeJUPWedgqNEgrUYbPX7IfMRulEWAey7ExlBHw+ZbaLTQejmsL79408aaS1j7C9hrOGv/cP2yCJBcnlbVvzSIOclhD3zO1f5R6XEK2CKo8qMJNAk7zEOVi7T3tcvrNrrmg393fNGNrivmfupRdJeHcCOITVyn0LwBZB/LsXPpPEdyaFmNIAz8zRXFIFb4x1BDuCvg="/>
  <p:tag name="MEKKOXMLTAG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64v8K+Vk+elgjx/NXvx9ZdSkoyrEzHmwx3KjGGLSwAvHwzrXMKOqoqRKKdn0Y30k/pc6Oqymx61nISC5HjXiwnGqaQtr7Yz38SogfFXgj+Y3cY6l5pwfDdJoiMzDi5F2vqoMDDM8YQwzevMCKbNlPKNY2dJuQbYrFY67+6awQpj7EfLU6CwCKAl3ifuKriTlcKJo9KN70Q2raZdIg13Rrz+EDE32mZqrj7TtDahu1nMx+zIQxbGj1/d/HX9RgJy4z3f4O/Hl0I+9PBL4wo6rEst+PVyWShgKf8lyp+0hk/E3eFW6G0/qljqEwuPmuIWtYligB3WvwtdlVRo2/1JCS3pnAlw3qrdCYS4GfBxdgX0pwn9Qlngr+49L7IFdlZQ23U/bOfZzsx3OW9Ufh/gfsAfvjl0HKeRVOCmZd1XtPFYZ/7p3ECIy8Hqg/2PTz+a0hw11tq+mlgDcNoxFj90LToL8qTKkkPfws2TtPZd8sJbDkkK6bVrHXS4jDIATuyHbxMOldyPuvw1BzgnNFd6LIE2NnVCV8Plg7GNbBpW1Hu/yxUKBcyX2NdsoCuBI+eBK7ck0oHdBEh321sA2cYTMDPhKk5pMs/y7qWtvgO1H+ieBoQPSHg+fKXlFKA50qgp3UkNVGJ4TPkxb0xbNbp5GLuyQEFpbtToVLjGN8GBnRg08cKy5XEmqaA7z+m01DA66ieqpe1tB+OB9I8IZgEH4aLLFY00Hqp5xVIocc9UcWelfT0shMWsOZ3/m5UZvw07Q6KpocTj2ojHiOJ7URFB0FVe+stbTzpWsPquFk9wy5vLcCvvjpGmh2HbvnawgNxltctCJWtvVxoJRFzFlZrPejEepIWRoATKcgkF4pxnhpYfWV051g3Gjd2E4vmeBq0YrO585ymhEBhymi3zw2+BFloI2cyKe2obSYVHs+lYxiusaNyYgScNFHra7OKUFH98Lia3isCw4B1tYqXFTfNAOw+YN8st/+EaTCEN3HO5ghpMIY7mIkCU09VADb4uJsRp78TOnWQ2xw0KE8mi86rYjSLWx/NGdtqDWVA2CD3DhQPST3lEbjrXkLbEIFRG5mgzItJkQPRKkMwTD+FcWFHmM/KY1JDZlT0iKd44N8L3uACTCKnJQunSIUSWFYITrLRc4+0NoJuWqMF47Ah0rz5qv0vDKAEA0keD9ePgeKSwc2prD/ELmyMGohswBE/DoDD7ylUAHV0D0GxNuIuHlDxEm6E/yaj3lID0mBVMVphJ3FwxzClqntrs6n9/Fw1sAPvqmXTrzoPTmdnQoBczv9lP2MkOMw6ON64kn1E8CjdCB6RKgTPbDM/OZsm4nviQC1PzImilzOQzvTICOaQVfG+ojiinNI27HGfGXApEt9GQayVmrJ5fg46tVi3R8KaJGRj7HV5HwKY/2sE8gou5fSjtEx00gwKdSCSq9vsxb9/nwndLSMZmfwOzuFf9A8NukKuC0D1npb3SKMPCO/7t/CauCNrzL6mkH2exuawFhOfQOm/pUa16/sHRBIhk/hUcwnsv5QY22Y0nyN+sTTbeAD8xT/PQumtyDD5QwBRSH5xyZWJRIlWcvyGQqpHWueBtqV6b7kwYsn3BdfM55wICn3GVp1P9jzBYHICye9k0oopPuuEn059FEbDSvlvXHMi4tYiC6eC9ouXy1Gc6GqD0kxpkdodi0M9WuuUA3A11PNQPDkhRYIkYovNru0inKPuY1qiNPy+OFGEPO0fYYydbWdYBNuWpkLRfQbWbXUORuZlDHv+kYm8erVWK51ZAZ0NQT/vrE/p0KDY0YJlL23GjgJhLdcOGMb/HZk8OZ5s8XjMWxLoQkiJQPOSIWI2O0NJS8MWbODAyNkiVDCl5/qOdmJfURuj8AcVnZxB3YCujlwyQYKd6Y9qN1gNlwRYqK4wC/B8jxr1agbU2ibPGjxe/ae3N1U9jDftJtGZawoIgPRIxRD1MLIehqr33DHQmrbGch+pG0BPlB/rojlu0KMV/mz+xPw8Oz1t+gdbvx0wxyOdOUIAKKseSU3SpfhC6uSa7x3KXNxCHoyfkuHIXXCi8DdaHfESbGt6M92ua3/KwhuuLn3xUfAdeJULXHjV7eqkYw5N7yUKM3KkPkBE9kppvTMaQZkVJzC7wRNdd5niRDAgoRyV73JjkVRK+KPrJHRvIOAoGPQlf+/382JpiwboKWPF6Qp+9rNQzt/vAiPjKgI8HfUDQNlyw3GWFn1zmgR9N0b7wEDCJejC8BEj1f3J9G3zSCxa2wJW110MndOuRfObfcw9uHUvIEOIXuZHHflL4L+OrFpzA336uj08PcR84TZsF6eVXAKezYR2FrS3PxMN8VO4f7s0MumP12KIXAj11b8FByeyu/E0Q9x8agqA+6AmeHmB6XlGafcnPBZFfBjSHs4skW4BYP9DmCaFoTOq9dYbmKagkzm2hFuZmpgBHbVrjMV50TazwgHwQCPl9U8irjgYLkk/fb6vkjxv8eZo6HtzMk58yPY5UO8q3EeUxZGsnI6tcxRB27j883swnaHg4+4/h+HQqVK+B9WQ4f5XPgyg7RTdgjdxphV1If4MqJaKC+YKBBbj6bJTiyb2k+1EJz0NJEk+XHxhihMekf6YmPOodZYZUJqUSTipkmB5a5mw5x/J9hh5CJcJD62owGllgDgBVriDwU0SQznChDEAoDgwJZN55kU5t7W72vn/XylvjvDBIvFDKDcIpgR46cS4d5S3/WAdOug7GycUV/A7xpA7z8blgGDzvc+sDCs2TQTsEEiyw2A2OuJ6fvIz57kj83TWazpXVclb3s1g87Wy8Y4HRim/6+ktF4EiNcGqXbqJRgzbXJuKfkHO+X9PwI6lV3vX7P08KaKDolhfO1BVnfYUqgIM+urdRon31RNMtfA47oEEf3S/HOq7Rv6i6mUhbQc+dJo69q5Z5ZCjeXQGycNWvULP+n5A1fOl3uXQMd+hflLK7ZZ/RNwYfzamlNQOlX3n6Lgvxh10VxkQboVKW6/qvdYzdh/D2Qrj2nSBKnx0Ki7/kH9AqSm9/leBruVZBeA0WGqjcL9ITVzwRBUH4O2sKjIN7uAB2W3yqGAXKUT4VfzhgK2vkK0yqFQKHn1BRupDswp5gUZuy+BWvTP3MC9+eLaGXAkLSedUnKC4uPNHy2DhId911ae/qxO+OO7Kcah0GfTJNgNT9kK0HlkBJjnjky1wan4mEKmCZRwA+gmI12mN5t41hWRAHObja3rQ9qOYolt1+Z1CX3czVnFJjzEW8GnK46kgQpOM5iRd8lFApSMjLkmO1bWXgAQVL1mCoLX22RA+Os/8Yagnq8wWc2+dnR17V5LRJJo/R5v2LwBv/BCNAxbfF1aMZJR7wgaqzknhzSN5XPWadyvOpUVgZ4CrhCod1xPAJ32UKKusPpAcnkdGI68V20snij4QaAoRXYyRzRmDMRpAwdAVRT7+rl+iZLkrxNhFwfNqHxVvWDBaBjwJVpHLHODfVQ16VHYLRZiD+5JKsjVb+/9DQtQ9TnInaER6IWA9h8MWdS1UoU9I4Nxcn/6jjS4TcztWcUVWNhTdJbtLNieAY1lJ9Z7tqV7CtVihchxl7/NdYtWo7BMMmzOp5Wgzn3ChAnPJ4YQaU4KpcMlkrZRWU7EnGx/ye49C0Ff8/uZdqDpi8PsEtChC3XzkrEgXAd1yEX+uKNn4dwqwdj1rDWACeq6iasrLJiPbcH9zTmWQrWowJHm/xv8YniOsc5e4Y6TeQRJtFEI07pDu2exvWCHWXTea+mQkYEZtISky6nV84f47byGP3Xkc7ycbyu2bqW5dpo7rXpcqNOXSmOwJSZR2QFpKlF6yFA6cMq654URwL+xs+6cwUSpO7mFuH9kbul8p+2m832wmI1nOW0yhQQNvv6SbAFx27Q8UGHUxvguzvSJdX28zDf66AAlz0/+ZA885gx5pjmtsv6DjmL4v6fuRsPE8QQj2rwk61GebzqLb9YkxKPrS4X0FQgSoMn6sp4LiftjBAXGlifA7p0OhsbYpVV0nPXcgK9p/bD5FsnU+xm/MSIBJRPzNj8yJrm88YY5arG+NI35f7umGan+mMjslv6LFfWPERTzlmxJG1lflzEzSazQQ1lSJf7jjlYLE8C7BVcNEaNXL2gBwaSFMJy+SCFPu3VY1S9GGp/r+BoPE+Je8yhumyQfjzVG02Wd3cjaKSbIWVckLl+RtW14b7BNMK2agFB4z/16Ho/9pevsJXlsMN5tqATdsayVSWWeujWvHjKq7FzncrUZNUNq07AcCkKNS/tlg3/9HQ0jYG3YQVxpEmny76q9USK9eAdmy+bjmxiIr/eosUiqSvuAPHk7ZvGug1zCov6CH1ib+f4Ixt33HV5/5HsFhHs0ItEM90zZDMdtIjo5JckVO/r31VTv3qCAN2I7tCBwenrn3aFihsW3tkiOI+LMQLjR44N/4n12VYJwEocPTC2Ll1Hyw8W9rjmZnu1bYuVSucPyjTiQ+FK+jIAJcnqba5FdQdDjL6WeUJDI6j44F4oEgRzIYnPP99j6HcgLXPtklh9btLR5fJo6DtDt5ZQ5fzXwiuoRDMNxV+hDeMKf39Qwa/BGEe/Pe4N9tMwHyQkzOlivaycnhnibAdfXeOyDzjFUhN6YMFblBOg3LmjPG+Vb9Gne0ytPUET7dAFOLxwl2byiEnSbBSDIcvVbQlEJyV+6mNsAbVWCoUrmFvIlGLXj0n4oq/2DsCasOGE1PqhlE2ozYLsyk4c10D9Nb68/E0Xgf2dggDNpJOr5iDD8oguauZSD4h/OVbs64akq8sbtiQkLZcuzLZ2HjlxR1cqpvBsJYVk6tjSoGCZxogo7hGEx9f6nIizRJpLkm5CfE/RQm06oBe7tEXDLN9tWLX85WRHr66CPWvH9upyZW3/LxSKFciIna9xGRHY+KUqOe7mavOo1r9EutwZ2uFCXJsZPnH1lS1N3RpIixgM+ePop5ovWHF2i9K2eO/UOqBB4cbSf+jleBtgBNex+j//C22J9kvtY7mrXEHNT6flB3ojOHGuucdwuHBpNmFkN6+AvqTtrbCf3gAcZKlgtbvszOKCy4h+oYHPnAMM452TPRQhxAPEwpAIMVCnh008lqW1yED+fn8pkdDSRKzcytszIlLJbH5tF6Y8zy9fCPoCrM7q9U73KddYQPLFsGqMquxZw2B7ATzlTrvURRRsRKVl82+1v/zj3sW6y1O78ckRaqVFi58qSr22Qi5TSgJ/ui1mXP0flo5q3VkiVVhoiDYgQq4AIkviDT3HOfu0XnlJKqu5P7vPCnvRhwPYFoIipSuu5ICrhrlr2smnT9Ly6IXY4wBF0wb31YWudJH147HMPtUTi0I2gQ0bGfyM88jBpjc01yqSeA3qr8C3aUpqcfXpvNvv0hr6Mgm27O5bZaG4G9bfg9cjIpjVBHBjyUxqp9eIEHoZ4pDwhs0+8Iu1au/C7PgKJTsayLg+i7FzWnHuS9lx49Ap5iCuNISloRZC48E4YKJF2CFz2O/Ln/9PrbYqVmPxGhX5iIJeQrrApepaX0XcyJnNxrbUfaXZgXLh0Onm7dZAuW9MDjwTcyNLZw5RIKAHp9rNlA2dcOnZw3zeKHBBW0J8qOjR5WG1hLEoVL73v1/Njd0l4pTpSNiPg37k/NyGHNX+tdwE/EAJJ8zUEkBtm9XN5U5ULJr3WUz1aoL6XuE0t8TjJIeodrpzhDpFmNNHUyuI6zG1NV9Riurokoer0vzrfligTmur73gHzLP6wbwO0gEMmYmduCWl/YwjpW4DWsYjg7dGpeEFnf0pzYksu0i9Fq1NzXGUo9v+dThEOnlBpGIu/6YpV17Kp7nwEKpyv93LFTY7p2/7wnaBUfH+ECfrPwOZaRNe6tnAB5Th/jfTb0tOBNUwRpu2yGHr54wjzoMhgG6yjpTXoZglpMJ+dkiWnHKg2Pd/QCTjQvreHeCpovpLbkqr5f3GqBNK8LPA1ek9NLUBRnpKIK29lwLl7T1SXEwY8NfUGyVTxyNQPUjW60DgRvFAqKPVBgXpbMPMpO+1IXkejXhVd1xiudqJMr9OWvwW4tdPFlwdZN6e4lbWZVgEeLtzn+3MC5v8XIGbNdN1NGd5+X/fJlPkQdhAHnUjTUCwPFB1F44mzY4Hlpg30rG5+IX3qjLWMyBwqgQY0XsHS4cmlj8p02ZAK4DzeX0yS3hv2dxIXmFb209PgZxE2apJCa4iUt8DnR9arZOuw+F5CtqPqSi2X1Z1aOJYiyxUAgAvxnhvcPJrKLBfOlnWYZDOpqvbn4iOWR7WLRZvhSj5TpzeHSak4OT966rZ45ujwXw5qVEiP1uFp8ZzHx7ofLH8wj1FjfKKKnGrIxmfGL9r9LpQ4Tx5f+kXHWcAnNZ/wTJKQzrI+a89ZWZf7f0c/F3kMycrNd17ygBIRu0iGMQPx8abXJuGu2guqI9j2QDzu6KnnTPMUGUii1sL/DvnyB7aJWw1IT7LMCfnI/oxTrueQBp6tAMmxsK+28trpwWQO/a/fdQhyEDpxb9JRHn83OV1bm5vff4LXXMrgj6ZqUx1vESgy6Np/B5DMbgmnV4ehISVBudfECxmLX1BSXJ35c1BB56dCJ+D8415cXB1fv7LqTtzWomCp9VEzVYmYmGSvsCPVo2R//vEp5S44/QoVAw/AoUNrpEsA4b1vn7zHYiAJCVwlKCawJPvoaax/czrQIUemWUQEkDWnzWclUDXNW/fZxh656huCtpt7UWxQnGNnQV69z0TkhNmoRDhyFjsIrhz38riOEP2LwZhtsNfGevQ9T0I+7tEiqoI3CF2anbxvGV77eKQbRvVV0U/2sC0ADPSz0SH7jNvn/EBuXloUlWz+9DOghKUsFPXUrcOQsCLSz4o3xdUj14z4qT7uXB5v98LreqnIlBZDsW4nJH4umzyxCcGcfeu+WrcWvwwkushGUykh1kAo6Hi2y8RKx4hoQQH0/oaeyYRjJipQdmTrmjcFgvsViUcD5jBpQAVtTBVPGQErG6xDph2UwwIYQsIO6FT6ePRs9Gi1bxamnEFl7v+jXAqtWoKDVw3SD25Yl3mh10+tu8a9eXEQT+lQshjD7j6lxPhZmRA0zxMUACoiNIrSMZQ2WXBrK2lJCJDz5uLLeYzcU0pxk5dr8tGwvwXweMGkImo7XsEpSjQC4dp631g0M80PHcgl74gje3AwS0AXpIZzkREZXg8mzc9E4WW0OLhDGOBOQlztBVs0tMRV7ItmxoStBEZ239qd3BuzHG8WWmdhj0FYuMTQ+SZG71xyMFC0pjaED1ZljUS6l4Odqj7y4wFxtatX+1A4O2BDbfq4WJR/BAUuH2xaCayUEzzBguCJYQGVSCMgkb9i9HqHxBxNPyA+D1lq1tXBl2X0N3hdORYtzniqZX8FdRs59qaVUJ9LZY9V/qI+/F1E/gMISPo+DWkMi6dWJ3SeKHYI8a6AxoBWzWxANx+INVnsnmIGkNsMJOEYa/+5ROugcqk2Iv3admRdPBUVIRiC0Z6gdbrXNMc/ejAPTL/eDBhmZpJEVDipXNkXZVILjkIAmrSLu4xaqnnKbo0/cawYSFq/Lb+uTD9GIpSoEYDx4SH89d3Io0lcu3jlH7cez+z4wS3mVjGIuy7V3dNeV983N1K2u05ScPUze4HdiM9Qef9iK1TK8M1vHP2tlExdVi7jWqmlL8KUs20svCg8yN95cxE7p/NsTaZXrTXCAnZ7ueFP1TMWi8z61fXC407ICDo2dFsxG6R4D9/5X2sGfo5bOfsSIoMZsknSkv0C0QYZGsppG1369f+p75tuV4olAHVhdXXGhS8e76hsmb6/4jW4+vyNnMCDuUxS886i55KK9fw+ugj1+fswcHO5IM3lXLL/18/yHgT1lAck5WE3fxAnUJTJ0uLq5yZWNDKt2XBje+yygDJ/6MmArnQXeF/J4Lotx7VT+l2NDRLOsNFMbnOa7QS+Uf/9oZXRzFPZ0++X3l+xLh432wLO7RklJ6+gPU4M5ZLaKp3XDru7CNcpxCEt1ZAzpddYl4K/AY2Db52rA05FPP+WXh2gsZO6fKW4sK1oKoy6R0ncE3b4ax5QTir9SGPYR0nYpyU6B3O/An7HKpDfn53CAiOv4G/3CYtZ+2LGofVzC1gzx/Mx828f7WfKkj/DycUu2XCTKoaP4EMNHCOwbacFkBpHmphD4cQrYvnjP98BQvw0OtHmiUixosx+xBJ+lQ1DP1ZTdMBa0zhvB4fCdm1272/61rAIsvTGDPJmZlRZ9pG7k8dSJD4gBktT2c7FzSv1JWDwp4BQQcCDE2RK8MEIzJ3pk7HNWR7KX/S30LBr6lKqfVTpetGYKkAKtXdZ+tz7cWRMobbsUsqLolqcrCtQNjDUQw6hiLlpMPD21gpXVY4jXBVM2jUceHiUPgi7ZrmOt5dbU1trmdOwIZhl7dFeni5Q6yFbhHTma3jvPYFH07IDsJypX8bj+4zuFSc+BffS1zdh23JfmbTv2iVyfbqfthl+6iMbHB+drurq+JWFyhXdAeD2fs391FRNk6efFk8olBVhXl7lEQqPIa4zDP1obWORPo6KWmkxnYQ8zSMVmT8U51t31m9UOeYCwlra7g0d4F+1vd1I4Gfqmwd+0XwkEgB/+ewg/bauigMhpE+CDlHa4LTjo6HemijCcGvaoPBoPNliMFTi13GYYqvjlJaHyl7LX2Died6HLXZKa1zqGHWqVst+hxM18ePr/bXu7EF5Zv0aH5zfno+YH2qUyFqFKroChraUAC7cb770l/eZAvlzMpLz+BCCE+/SYYgQj0T/oF/YpON8TGJlsuv5IenasZ/A9rKBgME74SpV2ikI25Bguu1U+iGp8H7/fvBVqXSmEiEuQ2dSGuYTYzLBNpZaciTmOH7fqToupb/5Ju1z8c3hpAO5a8S229e+q2fiC6VbiupVn17CCzUJFJ02ZWvHXp6TFPGUWn0qLrHWh25YY4DPzUnGUP5XYtcVcWi6NejkJddG5csSu0JaIkIX1KWs8qrCkxESwnn5uJcjgvpT5WeQXPF0/GfyDLSJPXq+4RYh06s+0bkeL3FLas2IWeVTPw/FurIwV9SU2/r4B60DI0xG2CIY+MWjj6Mfdqi18f+NXUIPuPIQnKBSgMPjP5FD9KR+4Fdzo/IOT47BYRiSbZHWQBLQwSNLrkcQNIFYQPGXJlRUlF7KR7Tim/3K8j5OeNtStWR9DT1zI9R6oWBXtAcrsYWeXSwd7EobRHi01TcwjxiZUeIMP1MilaGU8SQfQyozCwYRXUDbz86m0nmVn1HjlREdVjZWlrWED86Yauca1Bvv6iucrDlE/SWR3o3sPAYKUtgLHmUy7UhZpC6GYpc2fANw5n2c+Ps2Mk3sHih8J3BQBUhD9EZE81zcV2KR20MVV+lbuU9AT8/awFKBOJtGWg7VIAqmaAO0djpACw5z/LayhxQ7fqaqwVYPgWZxoFMSE7qc7/TKqyvtI+UUZP+b7Q8KXwoFzGEcztwuUn35ZlFFJpoUbZ4C4qhRsIxjZQHx+IVEUwwe+fvKF+y+2rNyDXGkMuDgkgJxAtl8+cD0phRqHWYEM1l7QN2S2yIjUm7m1b2QFXRPjPBTL9HxbYO5s7cGW+lLpL5bc9WM+QuTSETLafvvE2A2YeJkSpl5fd7bqBXmC0N4RSmVsYk/FRhZ6fcoSR1rtAbTZRWoM85/f8eY7bWk7lgB1or/xIT3tvTMoAsGZX7RynhRA9oAgauur4apcDRlm6Z1QKws8+yhgc+oH3WptumqzGBauzAckp84Mr61i3NUuTEPLNd2ggtGVNQ+io9V8lfU85Kh0DuiHdkvTwUzh2jBUP6tas1AwcKhSjwPJsYPLrFsQLbgBb5XaU/6n4rZBMmpU8bEcrKz/cEID7+gZyIb6CFST1c0XtGJnPOXZb1+FBiQ9kOKDeTbnbvE895rPrcmZfmOvnm+oRma0aiMQgfNBr2GBIy1d3AZoZGeu9Cftsd6SusLdq4Ae7xx94SRZpti6h+xDOzpEPZQd0v+9ZJ2a0TlVaP0rrffs3KqqAJRHO7jy+TDQ/rAQcgc7u0C5AtgU3R0Mx/AQtFoZvd7dSLt0m1UBJHZt+fzz+l+ZbjAwUFjWYn53cuHMPFmoRwv7zvnUKIlw7B7F6sRxEf7QgMn3NjEIs6lsBpzSq42i6/BQls1v5Fva6nesY1ZtRlljC0PyBjWwo/xZBiU+elH5Nv8jwJx1Or5KiveKL3nXyxJ01SdoIS00lpaTv4tZXfO+WvrckuS5JFdCAYALqvnOqaxHXelrg5G0w1YmcOTn/4z0F7prL+pvPLGwI3W4tk+81bkl87F+V/TT4R9v62EhumnG731uQhvE+TdVQQinBS02lVv/kfrzZvpZq234qAmBnWPBHt3QeT4tP8BgR1UYYhJp3+TxFzE8fAvOiB7paMUAP1nTpMhleYQSzShonjj4U4p1PkA94AyUo+SYbDe1/aiwqpkuOhKmb3HtAZfWXJ306eSaD/salEdAM+yIDZVm9OkWsL39690tPIctJIARtZ9nnDJiropweDZjrJT8klkQMLIRWUcLUaOrGYwImuasDdJUaG2xifvbjoW+i7fSUuN/BM6wQ9tukshC/loRY6cK6ml6D+XupkOUecSlcfVfdqth0ZRYGI9vdOZKZeOI8RR3ZeJmzdBWIBq+eJprWWWbZqrCA8q6WS5nj+A1wROmdrLToWlDNchXT7js7ZXyBTkj5FS4v/GiG69j/CdW1radZg4NSmtYxjUlMT/JUPHNW97poVTZ2MT07HHkx06Ke9MQpg4omfvW4N0L1NRMe6qqsMr1MMMcRDcRaUIF5DiriejB+3U9+9a4e5qsil1D5BNF1sfA26xhCCXaotZ4cWBzQg0ssR7oH81vtIhksUzgEFDWtn4pH27wFbQkYu0i+l6m/1ebBPhXCJJpB47R3WM3rW9AaIRe46iGinTfJC2X3l8uvvsEsO/ojkLIpsD98O/b+zEln5q4Xi5S1CQ8Muzc9nqfaCVEkPuuZeYTRLw9XSEaPBdDBvy8zMJv0r4avJ3WWVaRD6msS5qdVEGaBB3hGjM15FJ34j59RgEoZ0YUd9IIhG8bdzdWb1afbGVCaMb9+a3HMI0b+RDXrwklXY9eok54DH7tG21y0CAG43fnf6lWVNPxXv7Hsm3fI/B5XZtZFTxpQJjzh77kgUGHZn1YWfuaPysq6d1JQjqjtuttvgB8wn03iNRdiEzpeS8cxHzw8+KGc0JUyvh1m9LUqciTqKKgZcfT7inwQvz/V3DTnwbxKGAp+1MvrYvSXXUsL505MNBOtziJPj+azoT3+AZcEyUsFwVoXgfSQZZRs4XW8WLTQ1U/s6qAGXcpBpZhUiv357SyFU2x56MgYa8jBspELUdXWULRu9TI9xozxOBo+qWjP7IpdlxNpID7jiHsBV+Eaxsh0kLr+xr0WEqu261NrjeSNrpwIhgI8nSjpoNDsicOxozG1UcpCq2SoH2uWQfdksQy1cjoRUexMU0fmZXhk+zRRWVQABAeLHtFVx0Tcx/rjXvtogr2yIaPvT1ZZyuwFj3I3FoaM/5pTrXxkgPZO+78zwBWT+j7Ykdhxkq3EG4IzcW5XltYTGkXtFdydK3bIj1+Nhk6sc/fHUouIhbP9H+2o9+WHQXpf/0tAt4S0CpkfCaNAKMM2xgVstsdMlJIlIU4ygSqouYpRBID6pLRA+9mw9BJGvxQTEp9XFsN0SJDtFV/RAfWu5AIL1E/dNrwH5C1I3K/unUie61UphFrF2d18UVErdaKQCPYNHwj/voJMxxN2fD5j7cj4QPBqYLKjWIMestowpHcE1fyyIcdrBY5sbwt+WiaIoKlohX3Tio/fGR8R2aCBfYXRAclwY01W+SzCaOvu1XTY2V/55Cjme/0j0P6GI7NRSA5aEECthD2ghS1CcVT/LSBtdbJzKwN/V/rnm716bY8Kb9/AW0Eg/6XU64SbITpjfGA8+MBGCedYbZzsubQb1EInjyLHHEgm0p2KFuOEfa3wYafriFahJ2dG7PuKScYTGqryo+h/mkHOtwiU259bk4pL574HXrvCC58Guyr2IJxXADpMd1BB7BLPVDrzApdnW5ViJ2OQ/FbT0zNXxX5cGUUZi8mfLWOk24M3d/k4H1R1qn9hoqXQHDo05lDLJ8ZzZIgzIoTGSx7aL93M9d9m2XLw+UQ5z77/MWDZ2R8wsZ812C702BkUlo8sN52LqRjf1BrKBjdD6h6orRxv6BhP5xsfGVg0LPIwzg4G67tpZ4hLzwiovQP1XFmx7T+EaOvpCdNq0SQ/D2G5xKv7XgyKFWdHvomZabk2NVW6C/zyX+cNJ0W8rX+P6ityuLISQpevesaxKyWBMTbAU4Wo4Q5YIGChqh9udxO+jbC7L1jNLDaMEVXzgp/JoRadGERbTbM9W7t2oRhTb5e1dz/ni1VTSMuT3j9lG87QG8Fya5B1iEsG3FaxhR9eTU0ONXLhy/QH9rvGea+zngRd5frqeBBO00mm906qaUmvjXA0fwrvZIsx2xahJFY3lmK0wZELmFWo9/ORe+H10ZNXV6/nCF5KjSylMYQnuEBU6B4J+MuC0yCihd7mmIaJMYQ+kzUfaiVAS+jOLzCvgChLRd/UK3uemWqb0kpvuqeynwEqqpZNmqZFA43BaRAsBOgn8b6YQ4OJizLqesf75OrarRtQtDq0Ji6w30cY6eBJPVXX10jGS55HWFU6xKth0wzTDaHeII2suCaGfBOmgh3EBlWb4dy2/zBbl+0Q0u3aHEjik4FW+QQpjF1zIhaU9Cm1uO7CN661LKuidya0o/GNms896Lk50pYzwJefl+CQdmwqGPhvVUijc/K4t/0sgSxV3tYTAAu3rH2oxx7fFwCLW2MUSc2+1zmq/U6wjBUHLgh3+gnQE4kKG+ziBFzktTX97NGM9Q+rmMgWSiYLT/tnhC0heKC10eMJ84ajTTmGRHbOND0qUffW3R1VybSULNya4XmOiQJGCdruMeu/D1+9IH89OlC+zElfUbD713hC1c2ao41NFxH6ry6/UXgWhj9pVooqj6vFL3N8+rpPcaETlO2/5CdQ6jT5Zm3z3MC958vczbJVRnrDw7lIv2Ea+NWTdc/tpwBiHU2HKpbvdvOIiqXh5sWg3lE/sefbK14B8ytUIHVLPPD2XLmJZw7OueQdjxmWgIesblopqUZirEk8fjYN0aFN+fKtUzSHuX/cNpPzImmUHQrhjFdfKIZP55oaIb0u4iZyU/LR+GCj8qWVKnjJ9NtqOj2ikxbHoR0kh1AfK/824PAkHYRJCAitqF6HMyJE9G5xypO3iVg1eifqKw5s75vP5ddeWc5zIKMd8cuxQhr8lZm5miwD/mtxaeFRRjHTG0uoPythgYjnpDiDjeL1NopVchN0XdBkNU3byrBtVZV9OHtYAaY8+mAXvWmVNqlp7jHKSZBK8crgP+GQSlEw9NKn31Q7wPdZ8HStmYSlCOGFSWHLtXJPJAJzoXH64DSYnR5D0EGxA1rsFJ9uEOEWEK2Lmp9eC+IyZHwh9wHJZVnR5M+UbhwID3TYSG/y2Er/KdLG1Q4d1V/xuVAZVCr/cPGSmpd6GzSKuS064Kuz8oURVEQ0tO2+0d93uz9lTSPJBmUeclkOj57lA517EZcYtqwb40LyrbhyK7dQ9dnuYIJLCHPO93i0XmNaG+vhK10cU/pd9jgWwQjAXkvDi1vxDhREVVFlJbshf0mLn9igOsgUbxLE8VkGd8CBNnP5IqP0apfjSjNd8k59dX57zBDO0pajguVp3EDlvl108AvAfKWb9wbdQUt6JsC9eqOhwyeQElpWPRpWx7FGQrt9Zz6gxsvHbPIGVf+wouoZAImCfylXSSCQ9u691UzhZN9fPKoJEnDrWJRsUsfyOtx1mhVil8u1JhrKMAEM/ts+4pkm1krp8egse8V56BRdmdgkIrHo/DkpCm5lHTUiYgyswC4UQ3hoR5eaTFHED+GCNqPVkMZSH/OySmYhtuGOaswwivA+zKWUZFhB5AMakdL52vKRsKnK410B/Ix2qqYXnTl8JxiUXkno5AQsyAxmeaRNyhbb4is6Df9HTT7U2HgagF4rWx/ddju2dqWIQl/3uZ3mBKQsyjElTEGmNSxc/ib9pWtNdqlivfAMQmkWmbcnuS/FJYWlqriT64LoOdCRygZy+RwZ/GTPNrne1BVnu65WRZNIYl1xnD8gyTwOf1L1lgp3h5PYUqMDPrW3LW+eU+7bOZkGv+sJ8Com/xParsQgM9/xShH7DU5/BxbqVtw8DO2e4RmKK0T43bxZuU06gurHIg/pelHdTj5tSSlVdzldUHC7Ocw/TU0V0V02xJECRBS9ZoAsiOJV49WEq/hLNIjJDaFhVxxBbO8i+4CMcmMrTjYv6TkgEV9no+Tfux85olIVjMu+6EGrNtq2/3KlVhLd3qmrcK+sPfwVMQvN5PXS1UbYDUOVatm56X9N5841Z+XLRfoeF2ZACCsfp+fyN2CWhtORk0o/N5k8L0tLZCaY+1F/L78PFJaP5ZqwG7cUTR2guRUqMdfslgPxN4hT1EgdduAl1AQ5td9CFWTizmM6t0CvBk6JnNV9eV6fBhU1jbeIYAetTOUgeVqyY/mIUyQcRrR6H90z37lffbu/qXvuRc1DoM4AKDg9dj2WMKaIzI5ajzL3PU3Wm59+p1IbaRxIZnGxURLiTiCwCOkz0DDQ980g/VvzS6g6Acibl6dYZGc6cWs9IrvpWABf7OjCynKnsWSv7TAdyABqz9S7vAJbTVVogPa081nbCYSTh5lAiQZ9lNV7ncKmm5U29S3jIAiw2ThuXzD2Kz5PKxCexIQWO5bNlfym9gpBH0HQq75lmVGpqke/E0JKjd4xTTNgAf2tQP9PM/dKGFMXs33OeviRmL1SLzSMBTABLs47n8NLYwct5XCvS2/bvH4+XeqQWR0ykm4hcXXpq9/wK1RdnqH0aM6AHShgzpvBHr1t/H82XbsbGaaK5FRq7f1kBUZpSXdWMvI1YP3WywsQFmpTmYgGOeB5BgsbA5s6P5UW/uuH01Uw84YdZn7K3g27C9Uylwp66wqufr+Q09znlzJfKnNrvflTnBx9z5+etE5pmpDOt5bLqCbF/IYVFGHItynFDwLLCFLKoPsEb3uG2/xQ2aF1uLPQJXL7thrX/ucZbedav1e2HcvALMYJ8cT4EX2bLYNH57TsRLhzEjRvuFSEEtxw/VtgE8ekGUZPaCbuOiveQsr1b7RrNdOwDNs6/7F1tdWQ6i1gik4sDHAKrqWrKWV+rhSOU/FxhzYN5uubmONMPjDQrrgF8ph1nQC37YvfRjcdtao6bpudgdARqFuAMPuZx1SlJbD/kDxPbT/Y3xGc0Mhb1eA+tTESRXO+O0CH48MNPzCgJjcIioDYNB0AxUbPzbpxnjoflBRnCqIFG870I8ZoSqHEJKZtltKMHjrdTlPpx8dOBFa5yGpFG9rSWrsu31Ffbq6dPvJaWoKnUpo9Qww4sGiWc4rH/9CR/YSQfwUUEXNu09ATYTQkbBDhoxUB+uG8/yq7thYURLZ8W8kT5dpfzAbTbaYqYCugdCUclLSmOUbR6WbdzsHnP/Aa9SiO7YC7Ac/2uuPQS9JyEyuuf07Al6YkaNdWt+0rOINMbZ8+AoJxnTl7KG+lR9nX7HdlR5t+seVglJ04W5U1pwi+8q4T9+xiZk2H+iNsHUd4W5CEbRovIzuSBDz+iS/59eSms9HpdFPtNVCaOyKnnA+MlPrd/1A3gJAMBCp4N3PwBKeR6Gvqq3roYct4SE9XCcmz+XqZcOnSdsA2vAT5kHUKEVT3yz3xX4PCo6TYEqMbKcBKvT6z7b2xbd/aAhQDfQt6vk6EDPBId9wsXInI45Byb43KAdm1qQeI9+70JdMqofadbBMQXLIIxr0QZznkj7op8hzA+R6Q0VHP+SHtwzSu6YoiJTJi6zSen+WiArGqP6MAummeaSooc0t/iLKGA+FaUjxODN4SqPLbCAAQC2P6demxMfezJMZzONRor5dGky7oZ3lnJSw7rSj4A5XcXY8DMvgLJAIS8XPb1SHsqHVliIG6iJ6zNpqFf4ppEH+H1l1+yS0+BYq8B/gtj6caqCnalcu3hNDC/pA6b5TuIaGsWfNih2ToNO6x8rn730dN+F56q6lGdYK95BZdJ3b7eTY0xFuNd2koQuJNM6d2mDWoPtoG6xoku9i+BGHvE5djq5qfn7vSHAGIFUFhKWX3hisvhE9ttJTiWKMRgMwFM0Y8bu/1s8+utE5sp6zg3Yt9jY4STRMbWwLPxEPC1MDxcZ3h6Rk8tJetPPWhS2bv077kLqxvpINC9MxMm22993bw7mo/ni4Re2YIWI7acdvvfPoIM4PbRU76BMuBi/vtvBtr8UpuOKtePRzyfwiihaWDTNJdpNyw0NAR5f1nkSDgpFcf3hMX1C9vAvY/TK5Ziw9jzF0JHRmV/N9cz0pkISAEaOCFfjlRnWyml5xKhcIrSDbt/ZEDfAbnOcr5FBufnjH+cqWBFshkQ2g+aIs2ptDceB/inlSiq3yVB4Ab7WpLqvB8Y4VoaZI0oUHnirQQahm3ZwB0yECry4S1Rvo3CmofcGzPxZs6Aa4vs6Cvni+KSHAx6fwIDJXA5qMqqeIm55mD6as/WapifAkLPxyRgouW4f0AAqq4ZVqSJLxT9gUqF+vbMCDVYjrQd19K27VUBu/VEw9QctSA2YxuIBJJH67N01PDj9zE0OaVaupmRBvUj4XegaLKusQEo9gHp/5Rs6ktsoA4Ls4pCY7MWM3NIEkEOzZds3He7KtO1sStBGn5WXfvrIdrvNNLLx9+EsKQ7/BVFRDswPrN2T7EP+knUTSKiK77WvcIrWHXSMlkpHKYlFr2rhfH7ZOODoz4Yze8zDrbwJinmftTPN08tJfJy8lY4oYuSuffs70WerwbTMN+1+5L0qhTu/jgWCCJ62E006uTcmp6UsmjQNjCBL61OhHcPpG5icMPLu/kz8vAcy/YFhLnUJqVDMBIpxidkANBdxiFNiKdciRQVLQ1tCT/rx95bitozGjCoxdKZn+SByBPKviuWYjCfiUZ8pTWU6tzRepa5Mb1kJiN5KDRbggGUDkZ03f7QUQecW8lGanJBgz1wfRzrMTFbxS3dfcM0VZxuZuo7kt0kvayjDB4IVKgwZJVUDGK/Rp634b14yTopXEaNYPVx99RGrAS1IqLab5JQgiPX6B8GtyrphYNZlSPxJ/PlAc4iVjvnhuVoFeIXPU7m2TXk+e8jKYsgAqDvGYC1iGA1acylzrhzh/KWVa1ot3DJtrmt6AbWoNoYauz9kMmqqcRqcTwnHXLFWITHeIGtsi2x9PWEXlUx3C7LAdztlA2fpFHLK8Pr4r1qFjfqbrZc02nqECyOib3Rw7LW1M+Oo9aMWqycZSQIA0/GsV9rGb58qsa6nVxJNw3/iC0eTfXX0OEKQMZ44GnYLJMddKqow4y0QES/wDBVbD5VdAlrK+gWmZmQ07rbKUCYFwhzm0sZ4tNpXGdIC3aoynxMaBOlsyvHKwhiFkzweyETgenpFXOQ4SG9vExZbKtb8k36HLaiSXHBGVCtjHVXBYuWCAKB5KeTH7u+Jfr9Nnk9ZlYrXN+IptbkTnHrxiFgIb6Hf4NmO5Zd3yC82vmCd42jvGtCOqwtjvtjTCLU98aiMpjCZjASW9Fr3mX7HVTdP5H24SUeLEuvHmnJL+tWA0nqNpZuEJW/yisYI2aHIPGHtQW9KF9rbWaZYUt+vMK5Qit7vz9vHZFowtaP0M3IyhUwqEYMJab0mQNAkdk3vTHB2MDk+77VRiaLSgPDZoauaqqY1pp7EJ528ClIK3RdupTVNCoQpji+ZaxSwF095uh971jcHl9kz9QA4mnfYPc2JVvxdYZLlGxLdFZxF/utcauic6NrFGERpf1v66dpQz2cf394UEaWBT64Emm8mpj82rDqAE1DhEODuc3YicZi+b4grqalB9vFLdfJn10LR1gYdddLzi4W+AMFp17khwlmJxwHfoq13KS/4SEtNWK0Pt+1Tm6UEr2o0+NGUFP2WzGBBeAnoMjC6PtEcuZK1+WPU1pJTtIA2I6lGQo3CcegsbOrQXtZfzxB26MJMwZVlsSvAA0IdyXwjrRrR7PdjfYYwWEFXRaLztnlM+5JRAerbWLrg8lYY5jnQe27VPmdPW3OzEE2BkJj2tOFyMWDFbWvco5KP/qkd1BK6NsTGwPD5Q2axlMcd9GdjErEcyZspiVG8tNYi088VS0BERgu9JB2/VW07TOPFs8cKFYA64DzjPwJwOSXJzsXg5pm5cEneE0G3lG0AVNpel3EPnaVN5o+mwhK+Y/ImT2SxvYrTEOfxCcnYgCTg2K9QsFQdbA7QxSac8GFCh8ZVWHgbgF/S0gr5SmeXSvpohbeUDLjmQlK1TUeXxIMv2n/wymrJDbEDGsWI4GMfMMXEQ/eFk6+kuTI1yb9dXJbeik/E355RKSQTqzJnmQaK6VIu5nKzIz6BQNsS6b/01H3B63cNnPDEfVVg/keQbe02M/QnQnUfaQ9A+m0SRYaQF+jubJPyfeNl4+5OEIYmp3fVC1WZJq28QymUlsp3hIqqHpWcjv7lb4mzOeuyffYgD9VB9NSkoH4XcpZg+IA4AjsIjdL5k4v+f7LCJYUEsQLXEe5Pp/1JDsJw2rS6NVMkvisZykRoalN274oUW04fXLpuueRpcM/IsoiM1DzexL7jLC64k/aKRLgxUGlLGoHpU8whJc1Leb+KDCPXw5rI/EyqXWuidTuzO2r7VHlkhdXkQ1RuCF59Wb2Grb2Mk7JJf7Z6qITwwsq6286VwGI6FlzVsO/dqO0WGVyoo95OBALEsVKPkwJv9kN8GQ8ru0e781h0ueRl0yW52NzNqTUHIrUEjggX/xigBt20SCQTyt1R8drFmeAdiS2QMak95oCGhMNXFm59KGgOhHOFDWgxuREgO5jgqvc2dQVO7Dh1N1J4NinpBMySjP/1Ea54aiuK+G9p+5fK24PqSj/3yp1HUCUAgaY5UyUQKhAbITXaafBQAzTlwrhSg0ZoZ1oDSQTC3VogDlz2EEwaazm9jljAftEUOLAD5F1+TcNGSwpTephuU9fmSpqnY7/+z80DiA07X7fHmYfUttoVtEKqMmgPhNTKEGP/ktEZNpMOsnxBOpCC9iX3776CwV63aRko4ejfTSkjRGAPB5OeiDs6oAYr6NqhIQUhJRhigZ6egILmyRck3lgv0CglJNpW6CRjZutn6SCPGI+I+ZwcPiqoMxFxZVqI9B/nPX6LND3Ca6xv3rOn01ITKjbr2pZ1QRteaG6TBUgPq45w48FKZ74jtLJ2DwYcAtObqttZhAu6d77BfjC4uLtGfN2H9bZuL2UMR6jHt8dlmoXu7+6dcWAyDRLU3mWNzg0zEFzmBe3UtxtoRJq8OOnizjfx0qJbNnR5U5CEsdmhPSVByX1H/mFVp/Sc8XP70Qe7KWKK0nqHjsiSSDVRH2Ooj6Xwmil1K8JRdKXHRGMl6gfj9ylPS7B9bRfWxWpSPVL11aburW6l8njcEMF29rn3N7KrUtJQVaHL3mF5/CLS29UpuaHCoVXLklN7Ih3lr7wddj9aHDSoopHZMZc2tU1I/4RbdHnMsnqlheCHWvhDLzBZQoqT/T3WStCuk8d3POEXUQsMF7vXI1rMGOBPRC1aNoGxNMrrzTPUN1kpBJnOhg4OV6cndNS94uIReyXwRmnQsEqRcVMJECFqYksW/fuZo5gWrbQtnfanI0vY+bT0VxCYwRB0tjLSduYMpI1STN8idczfFRDhBO3ZmxuljrQEtzSW9Ulgtb+ov9eRvD3EiK9N35pVbb2mY2DHB9TYhPZf2qH8gorC1aDSrIc0ApSoztbp3V01XVE5ssNuNo8M+jzxpWlruW+2A9NocKZEIbGhMY3Ru3ZAnu8N1Sg1iTm29jNZb3KAF0h+5UY7/XApdDFrPDNfFpf6c82ycLOO/O/BtRRWVTFVwvlA8eNEuKrqxP6yq2Ew188wFRdtl8Wk95HpnV/dsMg/th5bwZR+fdHLK0H2b3IcgWJWuHxTL2o+n0SnsR43vJGbUhpLGmh7d5Pjif6NiBzOxqcqGYH4UrOOVRe4rCyr3i3VVAROh2RX/n2BJC1/XYID2wAVIbhI3r2/f9WXuMKyGmBUVcCY3QuVWiqzqYci1eDiLEzBJDUaLoGC59rv2iwi9eMiF1+qUuGiK3bIgtJpIlU6U/pOxYRHgzPeUYq3x08Z4aJMtxlE9tcy+lb/Ag4E8wxjXPg41Eia3zs0MTixPMMoX8Nk4MT8BK7sRKyc1ks2aNBMadxGf0LZaaR5sNYB1189FZ48zXAZ7X5CXk9UJOi/Etie16inYCiXXoSRTqbPQmbYbnlzYEBMWdNkeXs7Bu5+M9OaKrNA16MBisjlVv/mQgPN+Ve4Kq1B2taJmfwcxPdlxOrmFuT8jqCD9PJI0i7KWn2QHV1IW0bd2JQeXA7OgUeenhMC/vv4rSctP29lPTp6XI7pf4hz/ewsIYtHJFUsqbne+DvJHqULuH6lj5Agby48050sC/eAs1QSUCxb5/w0cRJA6YBOa44/SsT5+Aqe3E7Dv7LzM/4TexKqaMyKQldqj/6S8lVYCzoF5GAjDh9diFRpOgQ1wAkxNInKkbWwYsJh7pOE9JpvMGKFssmFprohakiPsJ37zGib0IRAWrhEMdxtjTrwDHUHMmYe5jGAHeaKL83fWP1jpwRFuwom0OoWmmJKydU7+3hKnfctnhhGLRKG4KyV/mXsjYZB2YatOiRFLcDlFiIdwoyfb7NseOo0s6Ow/+Fh86eTuk7XExur9wf8oBzX9E9iXiZndGpm0zvGhdtfus+4RBvTtls3JlcEtl4uIESX2L5eR7x4gPuIADHApEDS5yaJqvrzsi+3g003FfhnfeN1ey4/Xm05McTJaByHgwyzI5LL0tqmOwpx4QDPs2fMofXjQv9RXFfrJ3tkMOsRYFL7Slz8GENGmH4SVI+rkbC8CHF+4tcmaSkSm8vXoWPs/Yiaq+5SbdhnXw3EB6W80u3Ryv5vUty7tSoEpTAVeg2iOM/CLgentIUx9fknRKAi7zdJbuVYY/BAcPZfJNWiBQgpd2w2bpw98w+UW4qdPR93m0ZDKqoN7Cch2Czo6sYPFlfBxeRZQLQOVSuYPEp/Z6hevJNrHYrxp8FzDa4Iv7n0jH8yYQz0MF9oRkk8ejNttbnyyw1DYdOf1yZjaBHLFXnMYbQrq693mFgBaJx6DvDPBOeZdWkzK2Tl7IBj6KdNCR3SBk/LTxNO4g3C6RCVhs8jLmqFP4sBqvGPHmzb1YUBJeNrln5T8h4/DnkOKpa2LYhZQoEWHJEFldAwjT/T237URZjTB9RhNi0OqUpD5ey9MAgtYBv0t6OBDoTwzu43fNuwt9aDEv3kJW7asybPa00roS4gmStOL39Qvqd8SntaPs+mZOvpCFd/E58Az5zI7dSGnRJAaJNHelGVsvc1330I3OGK5tTN8ASEmXZd3DFa5/bNGd+i5JjbFFwasaPpJ1v8yhSiHRH+dSlJZt9Sc/wpn2YWdLR4g+YmRtrIWCKlzOQ1caYpjfPBBpHFrXAkq0o8h7FSLKNtxOWx1it8DUl0Hs4PD93Ft9GUqHcZbp/gWOGpViXsYnyzPs34HjwMmwY8x0T8fYAw4jYkmyHpUO7FdmdyX6m7kgbAnGX00M5BtvesYzj51h5MQi8gnKpkaBR1EM6NxIbmphm43QbVzTsH+XPGT8o3g3+2e38K7lCSDUG4Igm3MrLM3EcF5IvTEA2ZbOWXE6M3tgfKndrbJcmBl/oELtiFRvkgifx6mW+X/VFDB2VCd09B5X3/EQc7kZ4RRJCDO2UNmwzEDY+IifnonRL2kjR+aQST3Pzj00VaicGCOCaa76Jt5t/Z/IGy3w8c3CnwnLgILRuyUFBbaber2RLOxn6cFxM2NywrfKmXGJoLoTdyFgLHUwYQUTXnWcAeJ/+5ETqNFVwmBEybIy4nU+zUDWyHrJhSNDuiNtPNb7y4eAN4sRQAYrhSPxCNdRTT8Wj9FHFrMrT0eL01PSomKZjGpP2VHq14k3Db97MW50iZhJYcFfq4HfzmirWUv5p08ZYnKSeutmbDCDr1vSknCTp77ohENbMEnIp8nXB3pTr4pJDPK+PXVPSph7F54JCDI2MhJpo5BM4XlWHLKZ8AfbpwnmLTuClcNULD7k1+Vtn8RYZvdJHktKHSH/kHfdQcI39XS8gXHmvR2vYZtJ1mFxfB9AbgrF1yhPZwNjDUruEn53iTVjG8TOAjUVELiJMWJMUjV3m4BMjd+HjltwSyhE7pyTbHBuq7uAzYMv6cqxXhcVpe2/EvuX6qR5sQd0BgRTX8c+uhRXPZh1i9gX5cNqJamX2c2TP5uVYm1xpZDhOLvjPHkgL0K1N44XI9lUENzilJ1oNWvguLNGW6m46OKLU55bqdgN+DUrR1WzcQU9EIboBV2Xuq2KW4fNMPGNjDMT0xGVbUAgEwCa/X9BQAJQ9PiexpsZ2FFZxgXhNitJLUT7vcfdjicuzeiq9tyG95CUxw3rl9K9SgmfrGTsbo+TRp6hfODS8Hf2oaNVqeZIGfSerOyDRCo7WujqzKR9zNowTx3mellKEJ2tscm9NBjJEIkyclRAV2jJo5InZqfXUjH4+xXnCjeLuiTWlL1ecO6oHxrntnoxFqVHxSqmBpIUZpkAtlH6n7n46y/mfL+CV5AwkaLgj2zLRC0nl7B1JVATeKLypuxpuAoP/MftLcIla3nS9pLbFnFRLa0ioHVRcaG3tjZ+FTM1A4s7VjYBQfrXjahj+Kddd7vZxJEoRRntEsYMu3uBZULjb0jryMk/Gc5YJzoI668vdKb8/ftW0Nz7VfORG50Fe/bOZ4Z0/ah+aLazHy7BUqR6HYX/wgnD8qCqdKHjKIKXvPYbp/zPQkVKsSTSAlHGJCN3u84yGqGb59PBXHNzplq70cc3MNxXMgkhSByqSYJiXpL7jez07jPen5ktoCN5A0avixGzicFiZs6HvoHRVkYJA9xmwQKZmK7bXATXubMfXXxhtIwL9unzCSfIl3mQWsCULGEto0JA8fLOlG8OImBlme2ge81gcb0LfsZOnNaiEKs7Fu8XXFKQKUnDHd4ORno5VCeqEERQbXR2TIRTyu81JnphLKPYLnHxmtW2Q2cXURAKSseGjjngUySb/mJhdx2JkyZwgTXpEDMRz1Hs+gLHxLT/3qyRYK7OkPOnvKzh6aV6Ewc47CY0I3W1nfWbc8g7SKBlLpiG3j/MFlezlVZ7aYvEWGa6zuMulyDvcz1jdPAAgWciPMWvq30WnJ+3Lilv7RIMX2/oHDj91XA34MBX6Kfftfeofo4vunSO1dTdmT8tW6XfjtuOThVBn6EDM4M1FfYcjFEXWsZ61Rkcm1TtV7qUa4EW09NpySTYpYolclyelAgbCfUUHdmF2x1Y+hKv4r9joSs4OEpEmFnSa1kamuWW/ZUXkoI9Fjf14hXo21q5SBbog/tvabQCSm7xs1llFEsiD85kRXF/vBAxScYeAYXrKLsoLf0vQhAhtavMhcW0NIAwGzCLrTpfck6Xq5LyHrGSX6cB3CFbMVV2cQOa7BApf0rWOM8Xxe1AuinCISHYd7Ybon8Aw21BLHsk1swjCOI6Dzk9wPbjwDa8WhU8UUj8FwMEWzjZlkuznj1hewtapZUEiquqLQ0LNpWdOy+oQ0Qd5YTekR65pP9SbhwQdn0qkblPbQHJWbkBGPw4Duf7r8B7l3DJv4xmJ6OrSiTrNnhVv1phKT8N4J0PTHk8anmMKzbmWb7puOLL1ODO/6ITgA0cSBHYwA4DNgTJ4fCla8i7ENZTkw0YuAsCX068jLhRFIPJkNAX8bDUCi/FA7lj5bCM4WPfE21/3QsmxWV1TNGKaVC9ejBy7ATqzYrcQQ9lRTN18w+VWWTiB0KhbymKxy6j0Twi8ncN4yBNAra7/cnId4QwH5R2TX+XDlSSy5fcOtIuqzjX1lVsfp/DdbiNQqE1Ak3M8l7j4vgkNgj5TGnZRp7C44uMAYvPHO+hVA4Scm+NQJIiNxS8dDxy2uj3z0j6tOymrNMogcvdtRvFhddR0jn2gXw1CuwAYU8q81sNfbhKOhpT2vDaEO9P0TkxhkPAOuh5XNtBJ40UomTw6urX8pmW88GcGcJ1ANsSOxwLBFnthEUoHOlA3C72AlmF09GbHFkImFlSCKKkoQUA4GLlOf5WRbB/4XU2ayLcicG7WvaHL3QReB75AKyc0zY2Ligon2nin4pZdHpX9E67jQhwo+O91Qw/Mz3sZVr5L2b5xnaoVONQN5FQZzGOdEemDkCL5wpzJI27nZUVv91d5VwOrfYpyE7ooDixVeAlXAWskNOuSuUiT0AtwiKjlyrp5MALONIYMRDdWSTKZRhJDyUWeE8W/jXSxgZp9I66Jque5kCqVHcZbpgTGiu0eGv7+tryRsohWcIHJeAsytHmqVtl9SHR7oGOO3ma9BNmzEk88Tlh5N7SuNp5PRUUytIbH+v6QasdU4BLEXwKX25LqT6xI6iWd233GKjEhXXOcPqs2iCZ34/vUn2aIt7E7rrWdoS3KQo/t2Y1f9AMnyVZk1mFsv/9GhRdli8fm3z7Vpt/hSkpB3qkssG+Eegr1k/FL3+YivZ6hWJc+GSiCG6vna6UDDnMExwbDulODl7zW+A4KvKb5FPwTBdieeKuaY8cFd8SDnJWAVJ9zynd87C3Z/bDCPnv3c9iA+6KPMnES1zyFOWxY+5h3brFD+x+bgoiLiasshZ4g7Hxs4kdvObA5CilLzdiqeWS+/66lQiZAwFXag4ia7stmCZT88vVymCDvq+HTjNlBct9KkHQqrvIEId+VmHBrmAt00wJJTX5hWfqxdIKBRNp0/KHjA7hLCM467+INMeFWqQ3DCADOILrfqVKCytoWnllqbeX3y0Gz/35hnd220NqXUqmv/+JWjToN5y03WVFQNKoohrAZJiLhI/UcUsnxPfQYoocVtyj9EY5j29I6Uqfp0Up9s5JGjHosifl+Av7oB+t5f+61w+raXmk/TXPb7y/ODzz1pAVP/eDllZJjQZi64ryQGcDn3GHGLl7+IIPK+5ekTDQWIVCMGzU6O6U1uDQBzAkk1wHpYWIagaiOet1CY4dCqmgE4bojRV9uac7V54qAWLblIqPxNMOtK9n9KU8dslLmdtgyPtTcOXLXQb985QlUCUUw8q7aEMFqfXDvVVbQzlaPmWQz9uEW+cI9Mr5jkT7wnJmvjX+dRwMtewygn5a9F9FOJVDmnCNTXISP2iVTkV1ia1jcFVjOSBfAWvbBjIP/RUNSku3L4+HJZEJEu2XEucl2Jl175kOIWFFUnwY0ExXa3m1ZWv3YHzrXL9FOfvbv8YnAmrZRQbQMl4SBs8ab+gEYF5Twb3fZV2sy6pYxZKU3z3E/2FT29Xq8/vt5j/SSLj8qYakJhqfTDhLRTH0uJ50VF5wJKVOhk/AJZxYm+mGXSOkfzkZhd0OS47xP/AUm067R3jQwH1rFlZ1V13eNUJG5L0nBRFk0iacvRSGVSd9JHqGBsFDrtWKQ+XFNixmRcbPZn54H4rL1NvXhvWpgQ1Ymz81rTzhrnwoBZZun7TrqkZvYAGa9rQOWdrilWMepLV3vZlLnz+XQpu6UunyyhP3xPDb+J7K6fNt8/bsfqS8r9Bwt5Ef3Aass3jYHMSsjoisW46dEtlkfx3yehobqQEbqUDYW30B76k5Z22kbDShRWcUD6vC0HPOSt7rdwrlgV9UOnoAtwlT1OqUIt1h5AvhRi5q3otDtmhuESEmJbU91YHqbjVvca1d7bunGMfsUbwYGaXFvT+AQgUbAVQJAJ2ekYSZEz2fcIWxMWcwhIE2I+hlrfMjX6mwD4L2n9uqJx1FN18l9+/052sb5XMOMAosKGCK9H7nQypPErzKON2CZOWYq3m2B/kxAV2FzfUJYLWBrXwmo/VtPENxrg9diVUTgd8j3lUm5arXDJRMaV7XD0hU+NpFG9DmFuF1Wwz98tb2mAu6Hm2OOfbhWotpkdU7sPFwWz42t2msKhuapOLJxeCc4eA0H1bTSX84u1VUdpYTKlWv7N3Pw7rAv7rE+BwrXYsBV9+Eg3rNAncL28wsoTJaqhpyWVpx0eJCyUBywIo7e/f4c1A8ddZ/sHsr5kDceBlkl2+T0LpTWuZ2I2FaMD4OPgq/vp1Po97psQHRNKzXPbVpH6jV23JCl6HzDV26eHBdsweUSL09BZfjGVmTFLnfDnPTWrKloGSKFDm6j0mZ9hWxg+uYU0YlIgD9xIBivHt/+oJRaDY/Z+Bp32mmKeyIwgApf98vAdehLvJLaLj+zOBbcpOm6ffHuuyJOqmRr8rVmcPRtLIJzftgD8Wowkwf6JvUJ/GXOINavoMWmy8zAgZ2ul9os0zT7b/iBA+FYSwKmo775+z2vEc5Q8EBQJLrzCN9KSPQTJy1faVQD4aPz6gtS0WCv748ZwIQpRt+dTBjitr1l7T+NVKTlGYpvdB+Zx37quL1UTuKEBFPIzM+IWIUc+2ZwE3s7uQpX9ta3RXiVaq+pdOgL7sDVC7lYIownRu67YAb+SLUhQThDrdq/FEq8OA6C/VxBTZgTCHdQlcZ2KF/KrkuAmybSW+fosRyrE51L5TcdX/2KagtrNeyBROcXn1R3HTwiGUoMxWGR5oqBTKiU6uAWXe0S9qUcnVmC72G2NIZ2wIC7J+G5m+4v8sjmgts+toZDg8YZ+ogwC3j1K2/c/SzuWKgpL6bK3YPp9JfaTQj2K2ZDnD1dxyAmxTT7YUOAl96LUd5/qeKka3whhxpNA+CKrrzaU9AB5Hq2c64pX4AblXK5r3n9pTMcpjt5m2LAUo6H9eAB9vumMqh+Oh1w0PShFV9+5/Takkir/tAyv8w/FCv23gcPJhbfxaamPoS/i8oT+q7Geau8SxyhOAM9iARvJXYjY/PVkgUxAcNJ13U7x2uFLd4W7Pp0U/zd8y0lLIRjnmUBuA6MF3tcWDgHGxyGTz/T5izZgl+HIzKwpXx4QLGybtv3p/GvU2GI/tqyubWz/dWRs3VkCPWD9hNTF1+1ZQxuCvUAMln7RpBH/4E2mU4WsXryxRg0cESJ/lKC09B+gZvFa6foeosMGvJLYbIH3jHAXrVwU+TohxhQifKUGSjYsebR8HV+N/mMtkISYBvGSL0vPPEfxC7h2e95ym1HAc4twwDKBxFE53Q854uiGjaNkWA7rsWr8/F+pofANZOlEulzQvCi7a8eALEfbIEh1oVnjKl2jSRgdh4sN2pn8fhBUkKuvpq+JmFKCT+rAf3Ra4DkP2L58SIr3LcM3GA+0HQsPj6hr9dGfSSL8RHqk2POyit1XY4UNokEZVU+XQp8MOflAJSOIZERfPonElwvJGglOX5TZFsyhHpqFPOBjbN9ZfqKrY9QmAX9SQ5WC3xUWfX4u2wM3fEnKL8dk5qRgNbv6vHk4OFithl8xwMaBkh2cU3oyHPtp8AbP6eu6RdLNuIkeEpiqyTfXiX4bJcOeSYqMx2aJUfvZQb4iJnkgYr8RZ9hDjQHlC+Za+jqvqwG3UzRN7IJerZ3rs8WZF3hBXdTQYwt8XxOUegDGrYfpm5HOHnws/IyzL7OEIkRYwOVor/fM27K07He7MUa/oKL3h1M4SjSDJz4dOCV0IWm0mE3uNWnBybL6FcLG1+lRTsEa1OC8nnpu0gHdv40MCbIY5tX1uHtVKsQEHcLoRnvyQiUZX89PQExnfo6WQ1pve/AHBPLxZgLQ/XWfHz47lOePkvSy6/q8ME4IHUg1s+cjtUQG+rl8s0FKAVmeNbhW7vKFj+WIIJuXRORHQtD972ya3fDz3eefR8V4Oc+MwyIYo7QXtmH8byMb2n8MdXw49YlX+SmA+pGUzFzv3AF7A2HjgEjaqjtNQuUWL4WU4ICLHU9lRE8Ea2n4Ei6jxaPJ1Qp8HbJOjmNkreu89kbpji1pl8uTWuSevZSOvdMbae2zA5akbIegLyEIyXUA/DUfuDAzI3oCB+ANgi6lRneIOAcm2mWUhlV63bzdGdJW8616rgya5crI3KjjswYWx0CkHzfJiSZES+FFN/ofz7Qj/gUGhaMzgCCUa4xHY1QJ9CfDTTwTa0W6YeFiF/4ew0ajVXsIm3+3bL0pWwnDmVWtXU2uGaNguj3aLMfxV4Z5VGSOFj5f/hfliVogiiqt6HYfEiLrJYK2HsuKzmOXzGDrQ7dPEvJpk3xS+JR7vBZUztzP/2o5uWaIGEC47uBgyXys8puNaPqIJHsf1gJtDlEZNcXA2PcaPvd1zmqmQEJuo1/XfUCOUHZtnxLPrmg9/TVKz4rpbC3hR7t5jSjlWlv1G1thYK4fISC5CoLdKs7wxTn9xI/wvYVOf9mbLXLB0YRNMN7hEUlpK1ywJ6fipWPJkCKAeE2nGgnzE8pEX5b0P2V/NV9uyoZwfJv+mPrUgZnHGRpZ633QD9NuUskJcHNfU34fYdLIt68cM84yy2G6HDYjhlhZUaSrapV7lBPYuOygMmCfyrVufHnRzBCyUakshhNn+kE2tAbjcUgZV0LqO5AAf8m4hPK5SdP0QT9GuGMnnJDlGrmgmCGTFW1Yc6T4w991053CkEfgP2LgJ+71edmAD88xzk8lhmk54F17O8lkYqCmApdiSf88CFO0dr95cXs2T102DiRpTkXyqwsSXmLVQ4Y4fcpPvkKcn7J1aJgNuBrW6jlZqiSAZLuPqKzzNY/LtnnQMICOOR9/lTcQzWC2IKFbKjXukEszKzp9SCvy6H1gmhYV/ip5X7LmzLs1yBQTTJSAc5Ih3XGwh0xY/8IV15xSU9yQi/1EzGp09SSm18EcHYq7Y66xeQg91aITvGcpDEY5W6/LD03rA9ZDM4W+dWIsj1i4ap6EwA/ymL/TSbttaQCaRAXEcrqlTmZx98RF7t/vGTVT2D4VFZdAu2g/0Xx+B2XxopE0oK/gC/Fechl8gZD4rjaGTHWI5XYYnhiPnaKqOSsn1shNLFF/jOjyRKwGRa/ZQ6LzTK23dmoIG5xvWlVQc/5tOxQnxms7I/wh8e0aHbMJuwoiBJObeqg8pFaKb+igTt+ZzL9sOtaeKJSryr686qFMt0G2XDsdAJ/6XecwpJnnHO8OqulVSwRyF/7dRgwyNPP0TED8EghLS4u8hsyOaRYZsn0B9EMcQLevEqXieYSMiwpG+UZIy5uns2SBHYi1IVHa+000QIcUOdu5YA9ad4CW7QHlgS0CdR2EDhN7prDEW7r3K4t7W45Prz0CZoEsVqYcBhrCrqEwZYgnDOCW5jtR0DGgEJMSJjVi9+LzBUvMzjp+kogr17EWIOd9QIw19sY0NzcpotgoRD2ZndhPRW1t4aDi/kEX2If24rFRsaE5rr1ZPzWgmQRYCps8I/5QiWMY84a8dMqwn9SmrNMI3zL8enk+8tFk6ig5w5XFr/h44y8RodgK7ON6VwKIoTT1nFnpbZDLkKZwS8xYGfovq3nqjJHXdTyKW49PPzpZBeZyMXe5GIbNQwaYNU3+jLUQlU71IbZj27kDDSaAWM/HDLOSjtpUCoyswH/394E1b5lU9HqSYvId7sm1/Co5h4dI2N27Huyey9QEHyeYwUOiglksn4yFB0CE8qmOy8uAe4vy4fdQUIWCSmq7Y7ZkU+ga9ZF1A2yPhXC9c5t6yFI9NZxYlY2glgaKdiClQvUhGV6+6zKhSWSGhf3cw4jkltMM9UHy1ju5rQqLdkm+KhVgnj8aRb2fVZ4xFBXZMqbZKbcxixJaIqm2KJrAnLh6tEsqMl9GdOeTdpCwB/dX3F4wEtycYjeUO68INK6tn18pvrUl2XXljlZFsEHAPn9/12wF/2jp/TqkvbqmzkTvi/vzopKU01B2bSkZw43mxpYJs5HRCrjWhtYSUSKN3E0Ib0Ozt8CdSTmuGjDfQ3g/RnrqDeO5LGa6Nt59oFsM4oBDQuvtyuuWn4eXJbQf1KzGuNNUAQR6/Q7EG9BvmgWuruBGXVvh+6hhlmmbqNDsTvKz3BUYFx/abKKqvHh4kFhKc+0ENBbq3X1LIRTzKmBXK+CKLNsLGBzxvM9e2nKD+v9vVd6heyyGv+2GNb534f1AHhyzyEr/OVwzfg5JXi/eNq5XxJgbgoOUZJtf5ppXgrPBdUrvubEYxUYSMCp8/iHkKK+Rt8jZceARt4X5rAK0cPhmR07+JXTYXnQzBFDWUot2Gqf0WbMtEho/b/6PpTvaEmQEvb3HmNzcH9MrKQPUBmJIIiPrMWws8ZuNy188O2BF8HOtoCuPAY0Jk/d4Mpls9XfhuFIii8cJZd8dbHRPUDlvKeJZH2gDP9T162n0bJ41uzAfA0c77t/ReQkG9pzT/AB2PFVzUjfXf8V2K/MRhscFh0n0I8QXxQUTB9lLaofQRCexVpa3TlWXSXEOmTTKdYWAOqf0xcAW8TxpW6cLu2983gL9A1WfvREfi/V6T0xn47GZomnjYq3GOiHqCpek1py9/bZyvxAicJ21WjVt0X/wfb2ex6mutXNQ8vebfARWC0rt0QSHQ=="/>
  <p:tag name="MEKKOXMLTAGS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64v8K+Vk+elgjx/NXvx9ZdSkoyrEzHmwx3KjGGLSwAvHwzrXMKOqoqRKKdn0Y30k/pc6Oqymx61nISC5HjXiwrwTgWQNNQvGPvNDy5600WSM+8EkbQv+TL6ymHOaWlFdjOTrC1uJZwJthx7oJIAPAEDd4rjBImRGjXcb9F5ro/702b/na1oZ2UU0LCd9a1Hb8SXCvzxyy5fJY2xZwLPKf+xMPLhSd3K6za3l7BBz9o3PsjqFQ1Wc41Ngdyg0eV8nmuEX7qQLBMNTeHYYX3HR0/C82ogsjae/A2EgNjIcuGqITDrHwHuYPqjEn0vDqqHZEpZDflGANC//YwMAKI//ZqDweFOk5potHnw/8wkriVnGlcmrbOg4cIlVHK7MYbig8zZmNlPzRw6ChNcC87U5KU7Nmi+h9U8laL33uPNmVnXJ0xjpJ+7/MEk4GImS4ChpxlrGKnZhj5pS5QKdqcV6/jweqL3IKgyY9Ud/CRpHrLKHrc7cQqpgMmX6Na1FYT0r/zcAuww+s5uEWrBbyZZC8anMuU289yKaxH0eQ6pU3KCsBx9tKingp8jTVk90OjyLT6VfyTNtMMojWoUE7ecBxJifpEB6rOGD8t+3ANaPwb+UbCApxW6aoei4CTi+5eKSffes25Lgg2nwT9vufgV104fZ5DqyqoxGkl0CcfGQ1MSYx0hSQFril4k+O5ZPNjjvcZoSRbh76clMp/G2MBj8OkUuIhZwSVIGEn6DWajH3WYvWiIGwx7wgbcjWqg76hQXux6ElXcNCVazud9GdLeZ2Gg0MNL82AsK7pS71scGy5rTXTJU/PG/zQUmLGFKfEJG3D4IsSBCB1+V5u2noWnl/OHXAQ/yoRDPHqDqvGI2psq9JuLWYYkN0T6HBcXeKuIkYsBZP1sgCxRqVl4iu9msmyb5YJbAM+R8jBcOfSoCOfWDeeQAWnZqjDy/KE9lKCvt+daGPZDHiCM8xRfc9SlGBru6QYhDveBND4CLT7kL/wx1ORCRH/2mVe+B7bP3LrbEbXpxwexYoSDGnIxWR0zVGHWGDtB9qQr9Rn82BCsZumTdbcAxeWOAjmNX/PbMdEliwst2trxrxTWVHtj00oV+4WntToswTTewPBvAf9lrkYOAkCxIkIPmCdji3OzLqMBDez3pmtuyt3H9lBrdVruomrTuZ1tqi8hdDb8RxPjjkQCwzrbKjWhmq+0ee2ENKI3g1+n10G+Lb8vEUry8poDU73IV419dH8+4U9M8zCdK0X+OrbYUVau/a8MPbtEa7vRu0GNCFqHSVNgKEHXfT/cH6cLb2leCwxxMSDwf3J3K2GuISggieVvE81imZ7uG+eOvycbXw4wAlKmqXmvKpe4LMR9UHxHXe3EwUHhLtyX4Oq2kjM/tuX3rqIDOwdiIndlq8UeG6DWdNYND7rZrWNuzIZLMnmOv0e83eoc78pB4DiIKYzvAJc/YmuPoGNbceIGdUR8Tw46xbbek/f7PMIriJ2aELcOFaDzyqzZ1dLnaFiJsbJyEbOjzaf/eqXeQhBYW9pEr50tTTyK/RbIrOHtR1SbP5jpO25V555hrNnVfYtAnihYaWkrot2aVyRyQ6eiTrACZTpEAhJrpvW6slvdyU4k0xhRUcOTT1rbOzteXjkUbKkgb9AfP1IIav7QNy8zgpvxNQFYmPlzrWxBXob+ZMXILkeFK/t7gz/1Lod/MTeG8uiqoU5DtIcEQYYyChxaZjEFeZuGVYXOsZrsqFHcu3LyB5e3U5esj1ErhJiQ1O0vkT/0IMU9KTg8p82Ik0GRm4Hb4x2f3s2PabqOil/6GLGZPIGxpII0Ev7TFG3W/KxXpYHXuXFgLSIfMu0npFjcWedZf4QfN/qMdEhbIgyxBjUTG8Nr085kGzDWt7Y30FmWbu9RVidq6GdxeE3axnrabuJA077KXMw+qy04Gt73+niMcF+rl+zrjTAVKmqqRdeloHoAxwLSUT+5MCny+lw+LQ8oiZek3WvD/cS1Udm41mzoWgMC9oKoiE2DqlsO9uZqlaKCMuI140NOL+fkuH+aXBk6es1byxRNfCQhqtXmM8eZevZ29GxQmD/XWx+Gf1NcGhrqTnxlfmPv8DYhESyr6wIVWzCUf2/pRyLYtlkEJDzoh9AHke13D82/1McNVYQ2KRR80OZa84TepqOVoQ9IvskdmU6oQlqDKOvU5/248U+942efWcUsaZ6GY8kYywZ9FcFZeIxRqgjjKaNHVQO4Zj1xac1qbq8TNo+n39/jykiiykj3dRvLGGNBYEIkkmMtX6gELHEGQ/xN4/tYarJu5eALuHA6Rh0Wie/ToE38N6zROjOSjsfQwscq5HfSS8J/RTg3YXh+KnYdo7F1CytILyUBzjLqWnpBFV+9Ob/tisJ9vsJfUvOz5eR3MZt3JJY+/pWWd9NiGk/jaTk347BrEWmIMahHpR+MNTt4b3getGlepxiJrJAr4Olvck+NRFZaibmd63Y7jiKRc2Dz326nkDzrhXD0Dn7jYo/dTqPM3j8zL1zn66iDD3FCGMwjQW5je2luLRxOfaBGtFR06yvRRcFnGy0wUgFolEtOltxcaVzRZIkeLmk8Ka7ejAI1qgaQSK6NuRCy9zz7lQObe39CgahN1CGZt4OU2B+p8SDUcXGcV/adDpc4Cce2AxvuuLkaNKdS6c/AOsqgyG0BbgyAe5ybcMVqk311N/NtXBqY/ULnRQMfZkrWP9Eccfgxy5g0X6pEjaNs9BIXit4dDPlUEPgg4PG/Ohr0IQmqmLM7XgJKAxhtSH0QVE1S4gTyl9cL15zZSlGGWImDEa/aSzpvrGEkeeIBgIa+AYP1uLWLMsEi7k+b456t18zlsVxPvbzt7zX2wU/1w08NexC5poj7cFovQKBY4sF1NK/FkdIi0UdrB92LS3tF+j/kKzeY0vLsyaqUCs5QXQN8T6HXWtoldYIv8UWMduhP+hLO0nCMflG9fJ/phG9UWwR9rao7M+kJBmvzRiX61Jnf8A6cr4lyKOv5ISeuNpHeO3LLyANS/U8YkNfJh7Tnbv4530RV0UtuXBFG0nGhwkVMmyaEeQd5g4I2/Xurx248TM+qabKN2I5Ai2MWZhvDB52j0mQYIlZ7iTfKYm7TH9nplM7EQLm8cH50pqs2XWFx2FIWPlxFOrzQfTNNns4zp04xxKOmY/es/6a2Cgt0230mUxIgxHoOThuZzdxcZX9E+LrOmGE8e8Juy/4jhDWlEe5l/Geim9POJrLO/h3dcCufCGXDA+Kf7PpK5lFsHfupkAOlc/XA7umIYLo0xjlRiml6xShsPwZxwjxqHTs4WxR++ho5csFDlDhxN591SvPUuMY4/CzqKV6Hc+pPh+KBYrZQ2YMPMERMKtdE80J4Jmrre1EUhtNNz5yhjgClzsoN/7ENP9xYh6RpZIz/usP+kU2EviHxMjDX8oHS1PEHNKsKgsvpxuHdT6Q8zKihmi0Yq+pEbNqZc3d0gJzNf6P9+sd58Q51C8gt/X6sLtJ78HHFjopV2gCUK9xNE9MnFKLMkdrxFEQdcyvQlkJL8rwD5bmUxOE3gZOl/xZoNWRlcGyZvjNwGfH4arh0px2CwQluhNLDz59TK0JceW6ANUNjdwnKICyK/U0O4im+ZvOiotSqVUTPF/7V9Zaf4tr6Jq3gSVxreW8ERwFu+3nUce/mJQA8MqLXVR6edDjseCm8sE+lZf88UtJIyBBtLcRAJ5o920elF1rrCm8mZtmRCg2Rhs0xLI31xel9zuB47ypxBhTqApP6sn9yGyXWxeCzNbZ4HWF9L+BoYYgIU8zaY50r+1nz7OllODML7RVkp8IIpg2v9hRKHq0eFjc2MbdoRur4eXP4cATpXbZXCi7ZnOIJSIKeR7EwMUsH6uI4c/2NlmH7+LD2H3O1Z50ao5zOTCgnl3XdXrAU590HUJjly/vnsrOczLD0+ZgqWc0RyR1FS3kGTOHAfMe4NYTCI8OtUdA31HNOi4d6ElrYVPRaWI0vuxSxs+eqs1zYOFdpZmLJAlY/ZH+CUuggTOu/6jlgd/yt+/XxkLq8AKCjTulGvZTayFDRF4bTtNsJD0Kitu/VGyoa6xy4sRXKWarUh+q9V0iOSZiXDH+PPU+JKv/kdQCAaPqsEIQ10cvngUzNj1nGwED6IXWYtQCA5C0QZoLe9alLhbOqvALlU+7kRb9CwMJOqGOa8g2s68/pHjJO783i45VitTRHmSoBZNPQsMO9NjFJ94H+8c2zgFEXOGxGb9HDU00ZlTJAATYL6zhUDEpes3tZ2R+Po6I7LJEcuGm00u7PV69zSJ6mvnekaKZ90eZGt760TJ7Gk/94pW4pLHOb3lIWb87AngCT1fWjQyN+w2mn4eqM2PJJThOmcTBKgWBvpbl5i7sGgbeYYbVkrhkj2rnExteVCK1Z0Yy8NcP1zLGGLdsmJM80BHPv2m16/qfFOGwH9XnjFnaUakakMi/x8dz+y2pRFWLQ9fXUzpLRZaPgMxBnIJAp4Ag6R2RikXCkokcnMRjErVF3Wy4GZGUjO8YhnRNoaR7qCyvtoUMcJSKbSczo+c6AzOASIeCg1KAy13gEVS9eo3jtlMPiyysgMYCNqNNiTshz+wkvTI7XQpyjT65UNA6PaB9w8yo8EntcD+9VvUNHRI3P33kKAUQg/yJOX9KSe5GiNmqsiRMXXVoq7mx93oIqw/vm/WItLx8cpdVXfp4iculJwvS0cn9DIbZI7ejQKbLGrj5jzymRJ3C2Q6gGo8U88o6GsLf8oYYV/bWIUTS6mfza1op5zal47Ke8ZAwwu4Yy7/TjSIEYB2zzrt7ikyPtMUv46WUJZ91NxUndaR6O1SQtoVLyiDHT0zA/7ERV9YyacJrEeQ1r2b/S1uD1L6xnq11C90AaClCTIHzJH+ZX/lGxpo1SpF5Vtr99Eu/AJP3kSDi2X6riXqIIK1IE+dEZRuolUe8uzmV+715x+LvBJ+sQUZer/A5mm7fhzICOROecilbqcxTCL0VOUx0a3oYvdvpOZUQpXPpuc5PxmGsBtQn7egdD0L5QQc4n/55NjKrhsLoMjgPUEI3keF5irvOxgISJczMgKY1OaVcvZsb2owLURnfNdiWxK7tiRY2vKU2DDgp5NiVYMqQ6Wvi8Q5/vBnVrZiyS2h679TD+edQmPAw8PC+dG2ni22w0FUNcnLWENZtuBj392/jCyPl0x0q7cIZsKW5/R8fBSxkkn8CwBD/0RS2r3jxcs59nAhLhbN7gqCynvirVi5RYdJ4bkbwoFmpSecpC2D78xhf9tRfG2Ybf1cpYLpxWpAnqVe81r5wsu7p2oiODh+JsPvlQSyXK281FtrfHzV8dgLR+EzgkL7oqvemmsRjoOqFnqDEMksezfyvsM2o5AtwmyGAou3XBfrPzuSdajAobfG3UugQyVbdUMim+MOJJbCow6xARb3iQ7/C2Cr+a5HNzep1Db4KDeFqJFZ/6L9PyG/vHHq7JGz+MGf0tZSPjTDGxZ4Hodm/Upiv8LFAwFfdikL2jAfCNDdtEnydnaW/cT5X2R+1YNx32LM1y+1A2exBz6BDVIbTd+VpbVweCw54zoDkVzbX/R1M/fGWugBx/uk5EqNrEa4IhuE3sa+eoX/K6UAVYv+kIXwOj6LHZQapfSI64CTO6xwmYmaquFUc8i9Wv9zJG1lyZpGeNmnuEc4t2muyx4pDluOInTw+o7veOtMDHbS5s+AqPZnXs2weuWsx51xAO1YJ3PvPoBW2IvmHM6htUcNGqNkpUVHjUdJKeyhIF39gBTZmn/oDvE37kyettNudIdQj2GvGZzFOjzfsp9R+ujSOfG1EHdygaLfHue2Akjhxf8Tj98P+lx+psFMfT2rNs7m62DWl8gwN85+FrVKKOxKNDzUCJENJ05EYFnwB4kSxpVfqTWEyHjo6pTRuytH0+LW3FtvgQvbNwB4jSDIxaZWkO9sipWA2VNH1+FfC1oOH2NqihvTxIrrtksgU0DO6vwl6DABNIIt5rTol/HOQHCQaChj0rTEuN+/6MTekhf8431XxsM1db7/uERb14Du7dbDPre4TJSYFvjbBOfkWwt4SLzvYydlu8Ka6p6uEYfpu8yY0qX4CSeF+Rbiju0fYbF9wV/m6lMFj2dga7EUd8U7xZCShXv6LtCqj+N/3ik5LgT7n5lfAQ0gYNDkkqEUJ9PAcbeRPgt1LBYnbO1nlTQ76Sb8ShILbEZ6Tu+egRtUnlpasixS24mGeSXzBa7YPirX3ErRWTcbw9b91Mzt0k8+PrYHUln9IMPlNHlABXhmZy5GG0LgWvTxiPPwDoI8f8MopvDWjZsBQd9+s6NEzquQjrLmDLn3oMwkA5WlCfowr0uvnNHRnjJRu7f8z5cu++ciqnMOwq3p0AN6+CMP+SstP6PXH8gUQ9aljmsUOsbaACOwdXAk63mHh4feNx8VnqY0nf5K6zqwpMATPCDnwycwbvdSpQuIfLzm3k2OEoFEUyqs4wFBO5q2kKypRdJUV1SSmiDkz5OHgcrGUXyrG+7WK4bDukhgeHnJOaEuxDXNM2RRPH6V4YM2IixH5A2Qb8iOcucmC3ukycwO3/mT0zUla9106SREFTXiNc8Bz+MWw0lsiCvfzivILc0ZLgIcM+6WZqYwFJjIDRN6cwFIwr+svV9iCmxMndUPhpbGXHt0UzTiNZmdgTWk24yLwIMjhcpXThoqWILaHafbXpZj+LwIMSGFJW+aAOGpnRKCEEEgHU/pc9qND+q/rVi8XySMwkXmReo7Y7ucsU1OlPEaXEEpPcRgJDVIKlgmtm0PQaNL7R+iXSNPRIT8h4RKh7bmr981QU5XOzKTzxcuQSTv6ApjNWQ/mdDjN6ZaJS4upWaGKx5v7oHqFyncA4lHQJQN8wNokI5dFehPB0kQ3qFs/hqHJmmAr47bVUx20yKMerSEranKx+nIIq8LOI0qPGWovo32uCm3DEaA/6Q+1Mc5t404BkIt9IkN8QeIUSMVm4qCw26FaHT759r6p2Mb818d88im04ax6vpeYVlDLodaIDaQ7FD9zEufmbHnnATMwYbzpduVH+/9fcO4SBYoUoA383/GvE3GJqxoSc6c8tQGmbnOW5SHKRccDg0EWbD1rsSJ30eeyrIyt/vNbhEwy4N2emIGCn3YfFK6grj8vdXTL8fBlHSFuGjKNy1bIP8i1ChIq0YMSfDnExZEP7T3QFLSmsQDKuSJjbRvj+f5HqBy1ZzJkeqOBEsIg4TeifzzKcEN7VSWXtXPRVpkFK4kXAiV33HwnHOuVloulWS+yE/c+AIH77OEoze98KqH33xr0M4KRf+HlVCH7isqfohNvoVDy0u8Pnv0yxU9cbEpyDXlVkcZKIXp70iTX6Wf9z8HKmwxsMqkuEICsKftDSsxXpkbxfKi7GNmV8SHjkPrP0hLS8GV9SuHbdczsdOjkiRpiDhZQ9rebXEzg4F8DkdeHmUWbKi1Cg4u8C63wv1T9HgGM79AM2qMtNwu9fNFk4CMipUbOV2NpQykgPUOWbutGOL64cNLiFrGNVxblQv7Sbog5OiDLT0lhXcskJW9rhOvuhbe7UZs+tKJGvbNky2yAoPOVUSvl/rUMX//6XSEFTZNYsdmOdqoIHJYEoYjEFK/BdgHdY0bmL3SnFCtXdK73VN4b2Vb/ke2NI9EJLefmd5lAcON+yCEWuKSCwyegjOfvWHOh9yNABbV0o9Tt+/f3HW3v/aQMKtrjn+xMXc8wjhT7d82wgZdRDbXFRNMj3wrsYwWNXy8dOqHHfWj7h+hfDVnjOKQJkN/SDn1rnfjks8cjXVJCuXljclKkah3Ol0MtVMz0grjlOR44+unlwWm3w5o4zgyO8DNy9q23DyjYIvpC5Czeegx1FXiOrbkxvs655N752ao4QaJeGzYZ+VpXDcRuqVYMGbtGRAU7RGjCFm/1gzzJx+XkEYPjkj8/sVSB94k2zhE4tFnJFB/hsv3KX8H22mVfPOF+bPjixtAkr9VHzUvDGY887FukMkNnQF2+VPerq9f1qRcxZfctO/sNura4Z+xOAGhx9xXoGtNM8FQSDAhIBZlCMno2dZvMRISU7sEMWvAFOjRbPL1BrjY9P5hbGZm+ZdbOTmKEVJ4h7U1gB7b1GTnCTxtyQPK9iUb6vHE3dkH2x8/NMH3Vggjrh8uJPNA6u089wHuBzi8Bngwoo6bL161LoBDbdfrlgALI5I4j69bOoQ3g0mfVoeOoh6YmofnIyg0HmQ7wkQYLCfr1bLLHQ8rOjGAbU7JsmOngx9NwRjORw/ZWzlgI77SnFR5X9wuNrmk5qu7miS3ekOXj0FFuE2OUJNEBJj5SMt6A0l7+tepRPO9kbnYo86siaR57EA0dJ3jK5Q/EUZ8uismUiAqaK4I6Gml6BRorRJOSwIoJPSsrPKBsYVXFRr8sx7SvD/vrfupqj6daXUYcVUpSfeQ0kvdkZSZ6wGoIojpMI/UfywWsjzRWo0g7OH6W0yP9taVeyvdODc3rc/mND+t4gqilMXFojJhvSgTQAW7HAsbVPkBPbCsUv1bzXhuFE+XeQ66rnBviZQJRMz68vL7JbVOwGijUyaNmOIYguWI1LzO6DneebXpSZahWhgJSxjmjA3ubU9rmWc5OD3hsfRdtQ3MrTmPBAPeVpsnlRiq1ohkfL1x4T4cjI4LCV4XasSjHsV4LQoPA6v5z6F12ccdJ3gFENhGrOK4242RnDsTkxpgi8zfNR/iYIiAanY2jdXAQYt8mCGdzwU9yudzg55EVim0c69lz4CH7ghOSxjHm7Y3+TM+teasL8CCSHn4CjoHMqfG7WAoeVc2HtVyMJ0cqBnc0EaU+4Bjbw6EpNMklRkV7B6sLVZ3OEQv51dln1M6HcbB0QUsUrBi23BNLYvZoXl0PCWbxDA3HUYfboMHhsdHKZjxZQtQLNfwCDhS1Ab1sOzM3yccWNs+0Fq0rpQI3s97HmJJWj24ebW4ZAbt0DNJi7l2LuEgXEn0C26foQesxzUJODt6SmQs+OgzcGkL0+42xK6xOCCsDCEmoqGWyN5tGk2Wu+aQV9tgc85DeHjvVV3OaVyC1u6Lnz+9dGDZjAvKrlGExPmHhTp2PVDinFIoh+V5gY/Gj6Z9APjn9ebc6u7gzPUTi7OgbJ86pQ9P+qXlehKiOtmBKK6Y8RmaM5Ej9rbYrn7Rls9YhQVxJLeW/zoYfAmlPKyaB0BurTmAB1reuZ2XMr/nkTFY+RCRFQBVgPey9CzPVzy0WKAoUvtgiHihascmlFuku5+FEseJtTyif9SyyH53qM6JluGNawdMgqhpuAmoV/QF+bNlCcfO+ZNhV9CMdtOeTC3/yZtPfZLgNivGJvDlkS7NysPSIaLgKwgdPtIU/r6PSOEPYVSFPavfgpGyXGSqLBmQRI9f+L7BIoqk7JIkhpi+WLYYsy3DyGgP09pgs49sMm79vgTzzHguin1mS7n6BsYpt0B0j7NBUSgt8r9ZvsFT02ri7JE5MLA3Lb2w0c7iKkUjFN+Q+Z03e/ndr8f9eFiwjK9D9rSc0hrPdR1HpnRoZ7lbd3v95+A31BaoSLvHfYjwU+oOmDhvjSIvGCJd/B5pHZlegculK8bUwKL/gPTDNa3CzKq2qBChCTukgk0H6O3kOIpzL8w/3+M5NBR8UhJo+76ecEmN+MoD+2uQekM8SNx8YEVQBfhcSGbxtQCJH6x49dK7smOtbKOIBIq3L5fayoVj7MXMN22haJQ0FKZvZo/m5jSSA+CrCFdz2x5U5SzOv2VgdckccAISFtC1b7Lsv1WifUhq5b3ik/ycIt/PuaxrL0ezWDlSz7HLaLSWByHNEqcQxq3KeDdmhkKi3eG6IgwJnZsRYSG7vMgz4euiIjzzheLY4tb6zN4Y8cmi59cHjAXmuCjqoqOEpnVBSjgHmJYNeRb5e2pVRAmHWA+tvIlWQoPoCoGuARBl/qXuTOzChbI44TaapSqEFQ+0ZMMSL2VtUcIlZMljKDyvhBy45pRsfvul/Or3R3QSib/hut+uco2W0DydkQZ+fGwaVVa4BQvaNlaAuvboHrHWkroI6t4IikzQnmBTsHADT1qVbpbXXY5kfsfCdLRJGFBYHiPceVyyP+G4VKg7PaNmeyxhDxvq6sxkamNQ++5baMwm7o/ku+FDuuxn3Al5BgpJXm7UiDVi0H3CeF3ZQ2Ljap8tTJ+3nD5KrX9B2O5yPTdkNKrOX1KGpM8pCy2ytP5uA/HPwmmpbqZDHQxBn90d9dlBSP5WKArTfUGXtZ0yV4NUtdoe4cDLFSr53+Me8LSqc8pwLvlTrQoQouRPqXzjX3TPjJnTNqjl0OJG0o96FfcbaWLopbSZecetaiIDX4qVqgmnRpND0FaWsom0FGrn9m4qEGPFyvEawR+Qtet/tYHTek/6liiCvvPI04zisjK+Hq+4o3drpv92fJC1yh8tTmqHtnCBHUGteCUdInRNMI+AY8OWHUOmfekTC6HBO1LEIjRjpH95T220KnBXrLufjqYl64FJLxmVx4aA8Y0GDcoqkLLWYnLcWAKyN6n8IqIMWtUjSU4wp4OdlrYT1mdJI5foVcoOPbiDtRPXxvB4ESgF3rFnSzFupH8Cau6x6MTaTFtY6DDXJ7NDv5owm9PjZIGlJlBocglxnb5Jc0I/auO1Sol0krJGicawmB93mj4e0u/ZlKFE+Y3Ofh3sGNvsyxfq/VVUYZXYDasxLuYQ7+BT87xaQdBSgRpK8pq6Q1oWonQc+SGP7yIAnEK+XEqmKUZYX8i88lm9exxeZN8x+6jFETX5gdwNIbWmVVaHqQw3QbQBw0zL4yfHCPpJ2VzMlLCfpr2iNYU8ulDtalaEur0GIrc2C9ggm1ADpWYQU+w+ad7QZo0SGyfX4BEMS/+fM0NeCUwX6TEUVgVpHVFS/yAHXOSOPPxcwwpOg5b7PWdBegmCMRUT7xDKCXUF2Gm/kcKiVyJm8Ksvv0YZs30GYfTnjgqSwiZ1Zftk1GarXpPFu5TntWLg3SSkDDKBVrW5tySTW/7NbOKhu0G7t5WvUz06M0b0RjV7UIuppt6SB+YyOXPfYo0SBJwLFmdD32zspT0t3w/F+aiUz3EQ00ELFtFhTrUj0jalR6CqnjF3Tvhmcddo79qjXrdZXi/QAke1/XeVW20oXYqZzCKwettUPjHmTta7rMlWLioVx6MDSusw4yp9Agg0hB9d5bqKhGuJxdDKe43Kxx2AuBifcWGNeH0Np7HrsXRFfOC/EGAR3/KhxuKE7rBzlZ80k5WsZe8WQrUZ++AV+HiNFV1lVrrwNhO0jGgUGASrihUiWpoDnr6wFE9+b1Y0DNrHRYpOUzFF+3sZKXr+doHjALXjt4d5aZT+LYKxisLbNThDV14PuagIXY9p67Pqbv4xz8AOazvG4VBcRDl96ifNxNmGj08hqhRKwEO0pxA3b4Mnaaodh7eWLxD2c4WdM+sBZv7rL5emF8C1VMrUDDHgqKF3Lwd7u+Oo8vz5ok3r3n6kh8f5OKAq55kuipT/7xTWB/6ypVdzZkG+IFRfdOHwCkxadZaGu0ozGe+fauO2bUKrQkFGNGSjnJRAy8oydafq/0Ml2d6PQTTSq6NcfhsgdFEv6dHzfUSd3SEhN00DhJAv7KwOFys1/Qu42O1+EPTrF4FXq6848iqvzc0juL+qQNplZBk//zSPxUaAAzAWb5ZFDbk1XcPD3AFFpoHz5OQrYmFMCmpW+5uRmvSg9dzy3tli+hHEMsn5ArzUf07FqjnndqocGIB4XS0ErYtR7i9eNxbcjejUgHxCr1SajpukRD/q5i5Bw+o+/cRwZmwVB86Ir8Wt+SADThKYyhWIsd+VjKDa7fDfaxP0G0vEt7sRhcXFqR7WgdNo+MJEJTiHgsoBEFQoK24RZwOlTSj5lskhyLhQuRDDWfyPbQEIBPqE7+cyAh22P8XWH9FwAqj+jIoQMyXg+89T4z1V0NjorAGTBJ9mTgiiKqG9Oh4aRASi0vwrEVVOxOupA5jPpXMYkXI5Pzgr/ikuuiTBr0ErJseuA53J3vuC+p2tE5wPeMwrKsdXPLZIbmy6ps+ZBmHkQputk1IaMb2NG1CVNfaEwAhd90O6dvCjyF1IX5TxKUglpT2ZwyCoWCthCs+Qkf8D0jXQ/CeXPwm3hRrJG/x8i9DYAgJesToGJ8tiLqQ86AEe+/dISDeLU7DeaMVsRSaufvq3FAUF9coi+W3X/QvnRVHssPzsHQnch7yEOTIOqmIEg3OItFFC2pGs3Df2IhHUuZUDtf6pyAXkWhBHwLNRFa7FEOXDPVRDcO1BJmkJdXrt/7QT5Jzeub6i5I/QjhJhUi7y+TNKgUCvlMLsVdXcrs75DlfUdo5rBbHDfswjDZBS2I4I2nk92W80Po1ZnOzrdde/2zktXb2TD1G7buRl7H8IRNhsrhGB9fsp8eebDIah6qMJ4G50+bpfXXlv1P73Lfo1BgnRqf2nusXfN31mNdsqbl/qw5IRbwv0t5TQr7Nv71qhPTUet3UCF1PUbYzrFetAEuymSES1QdTVV8z1037tE+Bt1PGZ+xSwGbiCodcL8KDwdPWSMxYQlUmtNqfMx6jT/ZDnWTUZoeR4geFWduPYrtk8eqmUlRbvBiInvPYbsF1IZAUBVVDdoDJSQySdpmzJ0vB7RDDPKja3P2lr38rALU6WV1GhXHDU7r0RDNMVKxbk/dvHbZW3t1ZErEbzriG4ycOllAgbGpVs03nzZABLUagx/jwMQvSQ9uMOCyabtWZsXVZzvDKi7cO4hfBnNpbjRJSiGPV6IWpTd5Wr9CK4w2v9Ccwv8yIanNPJ/w+5wBNp03GU9KMxsx0uggYKqIVHQEa7Mmd2c1HKGayHUaWrH8uWIeikqr6ccZ78IBAd33hNAF2ZRsB6HhBG2QsLu0P+41FoMshON1mVUFFqtyoHefH5WDTbjo7veHEZrNQcJerY0YqZZy/a6eFbvz4vhn4pEfQNzr4gf7OuA5j346BzCRXz23OiSU0EaGOV13q7msczFzT9r+VhxOrJL1jK6dTiEEMkd/fhu17Qw9NcHGcx9PSUUr7H3oh97MiFqu4zk586k2lKxCUuS74007Ir626ukUX5zxtUaM0GL0P1EM9yEGIF+vhKw0wsKxZ/dAuu7pHQtd7BdeHnPlc8ey7s2cvQHFwAzTRuksIbLjUcizxU2IV9YtuBWfDjIb0LZ9sx9I6681BXFQWNaMT24sM7qf8LHD2Y+PQBb69HWMHPn4YbR4n7FO5a29Z0SVqbfPYa+gFHhENNuF6EEuU5y+JFwvD/S2blMJ63mbKxybAO0xAHHPMfuqG3/zBbHKXlTLxq8VZLObU7QkiVpxnVnQmOULk4uAOiADop2vRqJBxh3A3RhTVIRk0vi8rcQfHpzQWTfvn1E3Wms4/x/zn+rx6Za2l02cfIZsj/PkyUjCa1JEmuPP+eT8+cMnFU6qznQvzqdwVGWPS7ESBrOx3dFVuWMs1va4i78Q01RODFCd3HIn4JttMwpO+/9hi6o1IR1r3zzVkm96gmjy6go7a/0ryR4jpszLDwDszmiUn7egWNqnUoUeeTIlbcQm+z1dxpz8U3h7Jr0c1Y7hADlSVRGMXSLMcIEKBJ4Vyka7GQaYXaVgx3+Y78nOhiWrF8U5CSy0hnmS63ljj3vtdUobqX4Bnh3e5aR7/U7LIkTP5VhzRkc7rQtRwjeiFOEKS12H1cxMLOe906TkrNzCoVA7YDA/VqIaj2HKRwG6xSF7g84SAopZEFHQ6VWcRPUAoN6JkeSaTWufPS6kdTiM2xGJRIO4rUIYTyUGFDeztvOzBQvMK1fY8uVjajDUNJh+0NH9JVcUHqLp0lL6CQyo0O6fz9lxeX8f9IKxnbtLkrfQbXMSivMM1+8jrE5MKDxh4LlitLtgp3QButJy3iutWlETSgl7OfgWkta+I8o9JvlrXezUssmK4eaTiClIyvxWsg+PwUFndSlzrRAbAI1eWiUlI8TPuvnn5T2GkEmjE7L17+Lvj9gKOr1hfzBJzKUVBHmLPqpW4KN8oekMlgZAiF2xRM1cKZoGCVQ45KMq91kqVD2CwBo/meU0QwWOmPzLCKhuI4Yw1En1+4fth/bsSsVFMS4z6UMjp5rZxpyCp+sLIoyhcNW96D++GrDC2b2MqPCG2NjR51RUwnxLR9j6jSXFpOJLSOYQpJgZCuYLmtABcaBTw8KCVM5+P2nrg+hctE2bHYzX42mgpVLsPLsPXUZ7Dh7V3IZUZhT1e6qGmLMOSSiMwcWb81LxbFj2fX94KXsvRTEetMdOm6HGFrr93l3J469r25VP0LY+6Ds0Jgp1o4nPLugGE/CKwuhI1BsovMywN6lwrH7uhMK2/PlD/W0w/S6HBTSY75PH7Qlvk//N43fIuhAKs3wDY7d+LF+5KiAgfgGY1+lJVJhhDVNuOucnNXAHiotCldo8OGRHWPHLarvEJXKmHcWJYHGACXAOKQFCzMFk+iRvAva2dtgW1/AVY/dXtz2h42xNbIK2W3WILTKRTB639eNvJcqAYRPtCbaSCnapXbGsJsa/2vDcNmyu1uewyBNTYzAGEMznOYiqPVt2YFhzaRjvkQIsnxXWbvnuCNmJKrMB97wnEtO/7XRd7AW3WIYDRMJ9YhrZ4xWu5J0Rg+5NhuNvsOlwQ3IuFH7vRNOOg1s8VeeDscJR/L+cljU0BPCKdBO9t4F6gymg3cPMjIn4QSyYRuF5yfROGbzPDFjmzJ6LUALVOSw1m7w0CbnsOwsVo6bWIOd+SHrhBuRvs+fQ3jOzsqgg/N0ZcN3puuuQy0+h93NsVpmyOohQZ6F0UpenwaVvJioKodDIfSFVKeaPDcqVncEzdvhAf5lFj4hUldZMXE7cfiuNo7GH2C/5+OgKU/CSbUaUqoSMDNx+VOXz37+XhDHhes7Hdm3znZ4cEUHuvk6pReroIZnPre5793SdCRgnuA3kDI+0MXnoF8TXI1WyPfns6ivFcSg3Snq8DJOJz+CU/+0/OyFexXxeGoAlR7dIQYmUR2PBIiufQ1Dqqvh1ichqzMxLFEoo5IQq+r9xeHXZ8CAa4jdYT/40i0qnlhtOXZv48DuEKgc5ozNMDAGa70wUTKUIYMjOj5A4EvU3gcN5JFnuHeyANnOoDrhRb7hyFTu/3SVrpx4vXUTxozbgg7mJnTeORZ0ueUu1dHpV89On+u7+UuuyoxlQioQHEv7NXetGJ0AuLLXDWJ0QHtFa4J8Xq9ZWhB7IEaFajKtL4N+Zt0nekaCOcfh402QZp+oe2M7tb1vU4F3CjsfgKgeDycvQLVB3V2ud5KkemF+ivdXHVA0TC4/hnty3eKCOD15kihfBQ0fk6XHrKQltQdH8j0XjsiNofiVC1xPF+CnTiE8AeZoRfwza0XCcrDOZ0EbNrSu8c9bfjgkNvzPqs29wzv+Wt9MsxoLf5POfRmJxad49THLfVGmnjBJFaNgwkxnwqnOpQFspHyY4rxs0mss7j699gpSnL+6ldjR+IcIqhl+1pw9LLqt3f4P7J9FiC9BCfIN96zIzwTkthudOKUEI1Jlf8IwJVP1KVw6Uv0HPxYAK/ZTYmZuH9rVghGnZeiUQymqXJqcZ9cGKl3L8S+wgjEegqOpH2/KcKSPD8aVEeZdJSYYzp+VMoqTgf7pzuREEIz4NdFu616YIyVlkJUzHw3zBHHbyTK+wEzorweXzNcXT42UDedGuCZ1kgs0bbGagt/q/adT/qS69Slwp3s/8vIPW5eyZMSyW+OQCTm6KqW6x/edRaCmQCikmDn6eHUWEV/bt3pXVmZ8lbRj3l3wGWZ93o7e6NNZzmkn5aH/d7yePj9pJ2ngxl4aRb2drQaRBpGHfMzE00H0DKIGhuht+jwqOI3PZSONXJl0xXWA4OgWwDRmYvzztK6uyXPU/vjjP4pYlxVbk7lFDrATo7ofPrMW1eqb61fe5VdbkCs0+9OQ9hmBA6oqYq/7c/GQN6BhIYsCro3NwLkEBLYQIcrq728ZH+ytCrpiISdHKB1FCBM1oPhUiXG4HBEJy8XCbqIzElZ+WJAAc/67pWlbjOynFknMeeuCUyOp5w294bZ4eAuxLltR4PDa0l+WNvWn08/07N6xqyXWmMv2S/doUlFEh4+SNkfEdSojGipZeRbDzJPArruRkCtYdn95Ro01xjWqK/QVV27SzPD8IXX/YUVXT1brK20JnByv16OC/SGQArcOgmf7nfC1va647lTyujHy5fimRd7zFDkU9KGNli/D1zl1LiVc0qyfJh9JWD3+tJrOt/mfGPshs6x6RAHOiSIpMx+s3rC6AY8oyj8AQCgZCNAKDs2ZAskVF4Az+vVeATQ3bc97Neb1h2Gu2pJnd1gVuFzHQ/3y7WzD8IIvs+mufRf/f+ns91nY7TpLD5IgzgzjhzWZLpaT8YX6dNJiIplF9SiFgYCZ/FzWNDZPaBut2C4Rv8bdH7egtn7dJCtfDryBihr4pxl/TCvxdmuyaH3+3B80GFqXrmXsirM8CTucAGc0CVK31V6OCECIt4hdtDFk9V41UtO/HGHDk5YJDJ4zSXLc2g3NadyUfKv2eWAwInag8pB6CaqxnFe3odz7S5LC32nNorI3JQJaBHx+Jp7PQ/Te1ccPJweuqjh2CcskGhU5pz76oJekDGmCAh2zEhk2kWcrqhb5JwAyzdvPEzcV/v8bLcri9+J87VgdvnaG0e6k5/i1zN1zFW4MMUXj3/aiqPV5SOtxUG6rjJHWtUGjA4T3fC0E2iXWGeI0nQAlad6eVhxe59bHPEYyRuj5hTNdz9bnDSAu+b5iYxkq5J/ev9N7ezxZhe/hKUd13QOVMoqQT2uZhOUAEADuwZfwW+pcKLMUPupFOkHYs5MewxwDaW9qxVaB1LgFvcUjzK4MxEuguhntGvl9qF7UBtHmIrf4TRuFPzwzK5q590cUDJTvaSHjHAq5ESUrviN5nzkkSQP37lGmoaNHRyxi0qA7vwvl107KIdUr1nGjI97j6qqJt8y9fs2pV3PrH/xyNchdECeyg3bY6gQeJ3TbEE5wZbymZ0S7G7y6Wv/VAl9/q9Gzl+wCSIvdt29A8nSwcrMcw5/HT5PeQBXUWvytVQhEsIggIB+/EiInPoPqDH3cj+TtzdvFAUDtE0aMhtdfKPG4gRIIUCYcvhLZoFUOzsCbsRgNwCNOEiUmYSl0wqT1yNTCXF0+9HnQa96mRoOwMc2o7V12X1M+bfVjA+4RdHGmxFWjPxXBC7/FWQba/CJMO23Uwfzz8eO3wFrE4GXlNdeUy9ZwW9XrdOacI6Nf/0tyyTiV1C8HvHFj9lKbujAyD/54fnBGj7QPI31CMJsraxoH+j6IqP+kwgkAhRMQOUvy2GmUpkRDLKBjtaB008eVPAOiMg7EqVA4at3txatmICvL3XcQnCFoeGlC7WFKftBVjqgtrTasbsyLzRtIC84fJ1+jzm3v8iv/LI0NienZ18veUv60aJrsaK/WJH95Vs2TH+n6DgScWK+4tg27ql9P3KEHEGh3XV6J+Xg0fuDvcLOaFFBiMykmy+J2cywBjldixj2LhgvpU8hACDSv8nvRJ8bolYq7tkjuR2x0CipRM74jmoYewtFIUQC8P7ljyiEZYj46/avm85KRjKrJayJHOM6O0WsLxN6hnPbfcBk32XeFwGbSlHxV85wu6CIjeHy/oOkLLF3fx3lPHCs+BEF5LaBDud7lkkN9HCpx4OuhutWTLkkDOZ8uKiGifla+1yZyV4fIABQIOKumNo4g4JqOot6SikNyzFQSrojM2JEfBAnqd6AZNvHx/JEScbpj1nRTBG89Tm3OIiPmLxA+DfroU+XgIkqha9NCHWSX7IselpkXzg8O2qaAFCJea1raYlABoA3N1I1Vs3BEDk6c3AlHy0QZNXsTGpNo3X5NxTiYIBun/8q2NJjo8QKHmjiFijoQUf1tcEafgyWVtJFwy5qNNw7scq8CT0NhMIy14CaHQ39gKIJuXRnG6DQu3vqUr5ExVkwHmdUn4fPMhVAgmOBpmVZ2hmJ3vpuu2ukEFZYMnOmAlKK3CZotPsJ3263PrgvsQvor+ICwQjUY6hkkXZwWBu5i11FCawawjaFWdy8NzdyNFk7TKcp86PITQhXlwo21qQETf8SYOOAgKjeuQniduJOapXZXwjLLYPcnbGbOz5DHg8/o1IEG28q6/H9qhSJ7MxPfdZNIK89opdxQDbWbP0iNDoJViXRXarC05vnsRCC5Us3EQwlku5uyq5UTT7kYi5xCckmWproIfqfZmQMVj/HUVSRvAN+05GD/liWf6VQiokxz72qgDebh/bXNEK/QrAD4DSt1x486dnOQL41OvhWhEMuiyNgn/jgaThoBMObe6YbsCPX/V7P/5ApeBAOl27NB0+lBjs67HPlk/BMjLkDV+E+ZiHVvotUSBlVMEGM34MIyAAoPbybbI1W8nDkSdnIU1v2LYZlraNBKAKwZRY+FYy1TmwoQ0+boC/ABQ6vdYIn1BkdY2h+3ewmlfpjSTUZOV/UbGO6sE9MuaD557gy44uUGql9FzmG5YyfA1TFX0AIUIRpe6BaJRSviUoKterMpWa7l5gKGJxTEAYTPJWoFFQd9t+dkEoN65N8DHOfDrYcrDkoCq1KVnrAbpag4U48T2jeJdWFqr4r/t2xUBJdKsGmRjXypAv4br+Nehmi1H3bWxhYDpIyNfCAIWixHM8YJ2TaGNOz+eWUSFipNFRbUjNAmPaSO9JSI4yJKyyez1ZuvR1G0j9wmQS6b0peNaDYhpHcqA4+jNRfCStN5VViSsbOi9w80MOnX9Nl5/VCREsWNzJuyNGVFdc/pwBfkoTD0THQJJ8KJZv3t3/pdqHto91HVTAhYqX3V4eyFdL2gEMWazU3hfKmhuUxHV3eq+b4oF3BlZY2nSs/r+dpIWuULw/+vWW4iEaF74t4aj2lkbwFKReW4xtDa9rGfoIwMR0GcdKw7//MBpMBGlPVTyZkkR6UboKs+yyGc0hvEzJcFXPmc7JHPfCCbpSmVXMicuL3Gzs+mC3OwnK0TXbcqGtnp1NApvBlf8dLU+CzjYijY2ORdHH+lSw3e14u0YblwQT0XvzBbKR2RbTu2JtTC+VHYKa9YvGMGjPMScKwrbJqvjJsgsnVTU9PUHD2kI42XXTTcJ32iyem3WjkTxkJFsInsuNevBQCrhqzlWldOO21Tnp5sgb5FnYservnDWYY06BCUcgVaCKzVWj8kaocxbo2BOUvZTc1i+28ty01OGii24sszo9JXrL68hMlUFFmkPNH8CrosuylFD9w1+JU8Wx2LfGDiRjDMLe2mNZGvQVihK/B+sQ+NxcdtxljLhseNN9/xV2ZUKOtds3sXCP1O7Iay3SaI2ph3htcLhQV2foROauIqw0/tnWJ+wh7nFpXco8wUVx2RV3IZ5inQsVdludWl/YNUhnQq24aGydEZr55yhgIMRIFuzAUusMROa2owzy963ZEHbwXACTSDQNXWIiMpCR4iuKjaqMmR7dojrnLn0m5pEAQapU0v/2SNnrLSRzg3ggavhGxSdo905VHIWFZpjCD5zROqand4WKN2+vYq07V2uUOE28bm7wyURfqCGCC9QSFzGwF8DVePZRocIr2v8zVDcM7pW6dTbZlvbLDKkNA+mXlMyOQj2+9ucPGGK2XJtWcAeQUQMydLdXn8QssTM19YRztiGCzU+BYOa0/bcIq30NLrDy2YaBr7TdgX1vsdDTEcuLjw/epLZ78Aw3JxG28ehotWazYo8Jk4n4xEsg3koqTCrQ4/s2HL8MMPPZBvTjygm3p5J6VTjWiqvicRDSv3cFKtquoXYEMuJO1SGtYxFAxLNkXjEG7vRaykRjXd5zVSE3+ZkE4binUe9EgPIStBEGyf90CDWiXP6btTDAvZ9lyxDdZ5u+gbzPhmzWsr0XB9+jSO+KOsu2ijkxrnj/UvDmkXz43igz/tN/PPbJrRpRBl/pzYIiz42PxTQwOrEzJtskp7bZVZktIJXS1vslEnWQYGSH12U9RnHmKMNioWMIU43ESA/5XsSwtuVLUCurhek4UyvHwL2Gf++c78HYYnCA5MjBUGSsBiB1h93eDqhhQ7oMv2vIH9e90u7fnZkGfuRy7EhuHsXwCO47FGH4PlV/WrcnAmWUP7t8Siegg3qlO4qvBIKRtb0HqN1AJo0JkdOLFagWRk+MtVNB6bRUMwwOdrCR5+CdydLAHbhLzjCqQE1hA7y8pcqcNa/M2SXm7oANdsilkLurfV0YK1ZUOkmfOYlwAv/zyTq6EKYS7G+kLBeifeRaAwGhctdELYBZSeKIeSnA5rrZQ/FV89V8a9NzBw3ouuvek0HgAFOYcEYprqu5oKm7bzBaorv4jeRrimBynRjCeNPy5oyZwLN7yNb77wU6hf9QKTysn+0dUqAE3TvZdb/J5kfFtjQiIQwmzio/hrmooehaSkZzIh21Qu5HYzgSVvWGXf4lCi8Mq8luT/hE+nuSOFCjg779Sm0ImFbs3F/QrbB3YPzGQxX8FjRms/3W3u/jSLAdQSC3fqC13gQyJD+1Oon41mr+aBuGQI5E51CMFf+P/wVj3Mg+nLQpfsnDzwOu0HdDaB467lrIv7MTxSrUE47RGlFAqei44MrDt6nJT6zDHd3KMbOpY1YRxMPzT+G3K0UCWAQPh7xvDf+L2lct3/61QnfL8Ch4K1mXS+7tcKBUK2V7rVIyYiBFZwx6H0lc97784n+29slRWk5LPEfbAUl9YMRUqbi/3GRJ2QzOCF0zlgBZ3aXrE0OnXHB60XUBTYRXy4vT09KvGBHI/JSO/PehgXruOdcwUEXJtUsMk17ZstcDPOGfYuoYG+FPsnB73T3ns81rfG60uBSdQoUkeVO6H0Q89pQuXPkdmG3HTMorbSvTDLAv9K9sgXy2wypDJreByz8b6Ypg4Kw5SZ0jxkYFGwLuM+MGX/0g4hB6s0ioyPGRbkYMBSTgJ2GNXDLP1UwgcikLjAs0wf53vQE4+BapUDYTOMsMfKBQdfqxKGlHYbotiA6V36fx866cwDAEuNE+RVJy+NEtSpr6UvwzjvQ1dJbtDMBA53soGxIRntnlNkG1xBhsafy8+pyDfjfs+G/DDk71zg5Qd3PQtTZCY1mq5J8qYOn+6OcecVNKBLIMHef55TKInX4HE20NN7DePDmadJ+F+L0qUNC2QF01wfqyHsHmHMGL5co2B6j83xWnHjCDPrQKMiHsYK4uBpiGkftyJnode5uKTopMqx3FUp+zaB7jWi9ou5tfRCxsNMJFWrezXfwAOT5gAJJDKRRxcifi3fk77ZoVvmzHGmuOHEsZx9Lp+sJxaS/mshPVZbeLrQS82/rWKNkFTodRZ5ZdBtg5pb3f3/DKeL6oz4lfCvXct+cwxZIXh+gvlzD9uGhXPFuvJ6Et0LAu0P5PipcGL0EO16ynXPZv1SP5rROWFygtuVh4dkiJwO/bnG8VZYyKD9phAcsEVuPCAnm8HWz35IE50mw57/s01bqGWFRlGiMFVgq5KWMw1kaw7P1R+R6lpVhc7/eMqa1Yy5LedTLSs04gcXLDwZgkxezEFZ2CIFYIolqDByXQF2PeZnGfMkuU22y2O7zcyrMmti5gS2UD8EO3HcDdTxBsIiP0n6yUf2Fhn6KT2ig5Euo76SG4PazV2lE7KoOEiDQe2U9ZMhDulSvI/NyoWpHk5VDV0SfTj+4xcIlGgA8V/uRrx85ds6VLfORJrqVaNrg2chQxTcuwQJoRmjSVz0HTB3WKJB8ylDmi94ULir/J7QAJWzmPlQnjZ3y+raiud3LQcrs8xXx8NOWG88afIn8LHsmJIY8v/FKu8Pino5oHAV7vxbcRci1osCSP2QhlY5uuLE6hc1ZT7WTrMatRPbj0FQiIYhSFaC7T50+zRq6vMzNI0FtOVNzigv+rJVv7YeGbAoK1xDz5KlHCreomx7wTCUFeUeUfOtbLz/xJjA70p6n/RBnaTkRlpFSq4HwNYpZAPJGdrh0OQNgwNYlMISwRDccKyiDv+tQMrOdkFc40foi5Y8MoHR8BQI1Fil+2ppCquVBBOMVYARTpU952X9MAPhG1+Bh7g0glboX44pqx5F6BvQ4Jv4yt9C0da+90YbMM5hJZITCRXsDbmrJQOC+QnOP6LNMJFwt+n/M12jc/m6qvEMXciEap4s4bIZQE2e83GZKltJ9LSmfDlMcsJyOByn9swVHfufD5cyoX74mX1+lrHIeEJvFWtHSbXblXvA1w9gNkqcCmE/HFL2OZ9rCFRFdamqFZqWNx/ff9HIS8ZDuebZ11OBjYTQ3yflZpD44D3Y60gOLD2NsQ6Qlsnzx4n9BQVG097T+vIpsbte/Rx0rSJ+5hPRowXHuNTRYBIEmWxAOmrG1emn6La20dDsiZYCsiP3jg5RtjXQGec5oIK/yS9DJRxkmyWBbQXiXhkcve6tHOGP6asOqUoS95u2ZaWdv9fTVrSo4CE+9tiL9NyIJNwX4Or++eVBJmybYbsHmCTTiEOA4WLtsckLy3aR+nBDiTUBAOATxnf5ZosdUy5HUhdnKxFUEF/ZKkN8++RWTbN+Qk2AuAABAHyuZ7QiZYHdjUiwUe1qhLK4/APS1gNH89wpa9XfHL5mEyibe1oLBrgrj7hFrMSSVsq/FZyeiRNA/zzpxU4q87JzLj060Qh47oICHX4kNFGSD3TPdr00HXXcj2g4q45Df+gbRfsMW+72fYoqQOICPJ5LKY7uWd1/ok1rXvRMICHPXnfSXdwIMhYZrzUpfVSUK/yEZQ0SvFCEHaANMB3z4U6sj8W63cNYBQ3HAF6iO51X2U/gS6GTgiiHp6vPTjEKyVmW7LYAFEv7QrhYt/5ts/U+H5pxTNaIHTgPXJ86a+J33xJStae8MnXKUmvRP9ONOxaePdtSSMjWnZ51AhX52Ms/T4F/LrskX9cHDRVlAE40Plq9hk9VQxSKHfKnx+nljATE5/ppjs2iDh0cRBpLnmb54AdCgabRAQXG8HnCiVoTEecS/sTkYVCL3WqIN3l0/30xnDN6KQ0bEvulb9bxovCgurqEdEVPROt1HxJV225ag5ZY2NdXJy9cW0cfYZAGfxp6XqPCASEgZBXO4TqsGXCa7tNkpCuaYFyMhBzFzhU4UAG2Aqq8NyAWxv1ha81SZdiD1PcjQGQ3FGlv11d7mddTE4TVccZ5HrwsF+XYVoxe1MANIRK/lYjw5cRWHqjJMY4gxBOzj5t7vQVx1aXhZeQiPEt3kG90m0bg9BvUkNsdRlfYyVVDIcWZz9a0iYJDzWnh483E58QWz4jia6SGzmQqFeWcSRwxgaC5DtbvTG0P3SoORdfKawrjYEBL2vXMo0auLQfVH2OUDrXx4s37tLvA10DrIwfjL22BVih+gox8HCG9WUYuOiweP4UnT6gRK7rxtM0UpMyYBdf94H5UVVr0MOssFnXrieWsNYeaYbzCWDYjVv2dznJ4fSlDh9BJJmKBR0xEiWixxDuxSiqyDG4c9E21hwj2Om8+4mEAgImEzUYcwV0fqMEMHuNAuLYKsnrxwFtzsPSF9xO99EbV68iK2gIeqE8n92H/BsdaTLjCl96JXOFsvMIWDFQwU7C/RhpgS3i23LzDYdWI5hmZV8RnuISS67Pnfm4pGq/dI/zujdNMz7/QmLNQzqeGydtfjT+UWDI8O7YlXQOO3bGcMBVa3stRPMmAc/bU8ouZMHXTQh6qD91QWQMJMdkvZmFk2SzGZ6jTufrxo7FubjWjg+ECzjhYTrU9+Rbshi+IdSemYkfvL6XNPvCowBC+c/7X5HGEMYyCRb/vXBPxw/s08gg6FdqhzSdZiTDbAT3UjFm/owwVURxzMV945wHJpWRTfZEvqRDjp/90UTPqgrikE4EdGbTvolx+nff+woJJQzyp8HEo7ZlFIRFCBrj+pgNwDRlwkhzKl8zNQOrgwY2ubjOszyNDazfKwPBtZ5GucSIhH0kxPgmqtCb/rDQ67n9wFUJj8PAddd9421+WBl8urSG2GouQvt0oNEsPuY2jMTdi0pFum88h80Y0u23TF0pKcXU3aORRj+BVoW0gCjxGBoOw2uRZq+1KXHcTcx2iWY31FF9yKW+EKORIcgQEkJ2k1SG2WqtedrnJVoNEg7N7VddmwrZGE+uhclYVfH6/gH9eit3oszEh1YV3hPPnFoky1wzhW2NFxHyWGzhm941yoTbrEAoV6DmTHTemFTQZR1aYUzT37eypIBFO946LsHYj34CpWNIrwzAcJrBxAUdwDQ6vxtR2qf2Hcjc/ch9Nuq1Zb/ElX0NgZbHnHPvbsfEckQn0Us0kSUJIyrp24LEMbRd0/eXxdggdPCZl3dTSOBoKnNWnQiFcLwAfasy8n+4opJWhknGi8S1PYdx2yA/fwxYKAXPzmZ8zm+osF4ETDqBn9zI7LR/W2xLBZixAqhi+0YumeuITcHPAJZ2P5oM8NQkJ49lEa5Bn3m9tE1R5nUJrJmAoq+i5mxX/urP8qctNjuKajVxyHEoQS+3xeDECbXDjw7ZM+ON4u6lGsjtTA/79CAXhGrOEp9zxY2iHzUxKs68dQoAva4mnjGrnz2A2RqsxhFMmTp8Nc0kWsrkRQb/BW1uBS+ZOT4ltoKEvIVO7aS7eBOMoKJTmaNoSYnglwD9hJFBue0ze6j54FL0ti+SkTMq3gpspu9/zs42MxZsc4SERopHHBWUogYKtgY9cVEpxmPeGge+zIFR62MJmUOak9D5pE7FTPKmpN120G41YthNU6zLL99ZZpLmdLRLb+pEqK/2OfRmqZOi1D0J7odK5ckS/xAujBNG2PquZ6G2xqhqAj0UFEwCkw4PEBX3P5Kgb41INiOUA3JAlL8rXwWsyJHVLz1XHlhunQtn2rNuuVjGZUqteqmgJOaEw1kE1u8eLXLH7+OBdlWLbPIdjbyl8t4CZWPLS6miB1WBKGzU6pVcJplZj50cgiEJtN6dea1+r+YpxvWhzV5GCkG2rprACqVmmGba9SHg6pPFNoZEOYTf0MGMBKHj1KSYKGw5/9QOPLxkS4ZE6S+jvoLFlUesaw+69+ZKZnoHL0VVvYTJUo6iM9h5dHuUvaOT8X/wE5Q/0+IPQTnlmKzYGIYDB1d84TPYgC+yX2CF3nM8SA4EcO7jhBjqbgOgunjeiNxghPAJVHjP3kB4OQpRgn3r1EkS2d9R+TOiTnjE9NpanBCfHuTzUK0AA5/tp0NwlOZDPjXh/pTDXl9S0BXgY6EB/Ji7TSg2NM1fbm4SLLBZbbIUOQc4Uw/D7w+TW7+TS39ed7HMtRO5QOoPLZF7IYdvcNjSQthsZjkdy9nfCTz/vyL7zFXDccqx2PLXuv4ev3Xh4UGV/LN5ZmG7o2qh4pJwPblc7YVM+NSItKGxW853YaREgakdmcLOBMsVTUMYxRoZrogVyRYzFEZZzVAuX3lNAjNKTI/x4g4vGRhHPRPV9eil9Vx7jfR8wzJIW+W9Tl1enUS19Fys00ZD8PDgZ3pLGSmWlb+cliFXXg+1VmlqeRm3w0gUHqJOu81jmejDeLExuD8DcQg7HM5orhNLX1WP2i86TI33FmYRexsXXW5gl4hkUokbcV5cYMPeqh8kPehxWh9f0wcVVyrUeZn0SXDHJXLB2N2p/dkZ4o4VH4gdxYGhCKVGbKb2xRsZH6cLVA+oiVLRP93Mo+ZoPRnsnRV1vhaKHz74RTgF9JwwFhnhpETM93XHd7KDwef6tIyz5Da+WXOtF/By983GWoAiTGP1udWwcm+Fk1P3a2zCQX+bnmeElU8z6lvs4+n4DERmI+jAq115nbdcyIgMicEAymi84O+/Psvk/goqqq9/es4gQRFKPKTGYZQB8aVTW+Ltw8/Izm/jhbEQH7G5yQ037lbjtCE3jJOg0S30XCLRySgTfrEKAvnYK56Y7J9E2F8BwokYlrh3H5Opx3JumvH122RLzKARLxohWRDEDBltubLYWfi5dAVW8qZ4qB0Ar0BxPXgMuUXCst8jrx9o2wKMIw2StHIFe78BniANAMli1NWpnWpqCXKZw1eFQfaRdsYxYzp29H716DrpQs3oPN3jHhAZSRvOxtHiZJ014z6jUyfV+YufeMXYhpfGtZ89GPhCm5Mmtdb4xhfQSY7Ma+vQ9M71tzOQsYBfqPgcfYyTMQnynn0Bo0SwNP3uTfFNS+RIBg2CaU5OzYLOqms1SiR0wZnXQWoU2N927YtitOSPGxQ1cRLdz2Yt2v9gQdC2mk23u31OVX5ecfr2BPR7JYR1bDEbh+ZfRfecGH9EbfJhjt+aLB0EERn9JlWQ3kuIjLPJ+BPZy8MglPt09Jy2Bt77sOZOdh2zEHl0pOmFg+aMmln91/Q6CWlD7UPBtbTrGz41AxjbwFMe2MRAHAh7MdUMT5Xe9hr0ZIN03SwzwBULOoZtuC8f7Vqpe//6Xzj0ihLhgB3NKoBgyLfgM+JzVBDuWxHXltusYADfuZ8/Idm2N9hJPvAiTgVFKxCxM+1CIRAYms5YWGZjXWKtW445Bt6V040vts3ZZTr+Xea4MpYkW2xqLX6EN9dIID4o/aA1HDrW86T7BncdFJaEOsXiXWfJeH9oIx30NjXM7XZoFeSmOveSMOIVRcBrHSV8m+zrTzQP2fKDB0gIJZmCqm3LEXpfDsSLULHad9mO84azanWwqUZ9Wecr59skLnOqwsDf5WNsXGcfMl5S2HfBXiVYAQW2pvMfDsPBgfgkhHiny1VUgN6mxq6Yhfi5ss3blyyOGU/mZ3p1w0yq1SXs8UhnL+UUE+MsVc8XLP45EmiqMQ7u5S/kFtlwLoYHlWbXzrf3IuV8LisLjv9C3Hc0WrBlU80x7+xsEUIN0Y6YqTEf9trOeSN6aeXBb+b8i2vRp8YADkhO3dPxxddblC/qdP2F18LPMcQ++nAre/d5Lii0mUjWFDYa1EGR1rBCoPZcl+jZoPXjDMwICqsrHNUZyb+P9yvN9W/bHHNXCYPFuHW2YXtIegywZDoW7vfRDuMLL7TeOvrDjt5uF8yBA1eAsLeNgjyZZoIYKZvku/O3XqCYkyya+Oi02IE2NWudmRo+gcnxDB6bbzI5L9RYvlDMIFUca2Joa0N+Fnmrv4favhMh8AYPgF5XmZY637258dqz7Vxbp1KoIblE8VkG9oBKU7jGndjEy4csUypcMqeNrd6EiNZv6wXrcjvDkHQZukDSy9CnDraBxg8GWFpAmTHrRVQTSyVDelQkbXhdHHlubb0CvWljILHO3CyRAisDjQbp7N5Fq30IFHTmLpnnSz0QyU3dtWms/2ZmUP9oVITQxmGDLghrbBMnISgMZWvkEovPy5SJuw8SHiMp9YOhtQXHItKH26yK3H3YOK/CeVwQ0YXzS+8BwbiHsgp0nzC+Jjt9RIoi4j7z37nN6oGxCPssh6knYGK3XS3XU3HGlRA2iX5LjYW5LSMu9ulOKdCTTwHnSjNoOGX9nFFdG62SmPDx6iuWainIwSNvo+/LkiwdfCfLS2R+OGRUVwAugYfv9htyvP1FLp3aXeje5Z/S6ajZCR8KAgNWQAL+AWWTaw39jOGJB0YoPiYsTxZ65Pecb4otWkakbQMlNd2r3evgh5TFPd0tvfP/8kfynMwUpuoI5gJ/LFPYC6Yuj6gOAft3Q22lIglFf6PjJRdp0LTUXvFEUSqURw9rbLhOh0eYfke6DhCzyKmIb4EnKP1wP8OZH3Kh7xR+7ygzpchMzT+JW2XZxjABODE4QhmNIPFQxL6i1tu6teuixlawsbUaqbB45WuFMH8tuavpWDEs/tFTWOQpBaTvdRhPEMRmjsvnFldi3XxMYXOeEgsBT+RCk8g/kpyGlynDQsKzEsGG601xp0lLoZ8pjNOfpSVwAFQxwUB0/BesrQOa5mnR1hFQvktIiWGwjP2tqXBUbLjbOUlXcRyfIxOXTQXoeaQDVbvi49kH1p0QVyDE7O/l1ZhgNMBSUU4CuTeAWd5U2Utnqjj176mYwvZFc+qfkiEmDoJG7xm0h+JaFXhkALyUZlf4puwpFD2hHu6Pa5+iGaHRQXYJYNGX3AI3tWsf0osToN0I1+oiUD5WSk8oGUr6Dl4d0hroFENGxRhnfJ8oAIJraRDxtmVT9R+eApy3wOY961JJpCowFWxsxSJejkTYpUUS/dFOL1/dpyvP/p4aa/onulqkl4ABBZL6XkVoujpR/0CBrhpzateNzzWMXvuBsuFvXRUkkGL9Zh5M/V90XrVf8efkn+aBFUPBjWZ1S5WfXTbdYKu1/bQqfx4+F0zbMu19D1P0Ck6qa1Gdej3URxLX6V+DNdHMRGq3opOu5uAh2d0WTF3xE5UBruY4TsuOW+bFNnss7w9XXZa6TX5yLUjcNvz0X+CO4QxbvQoNAL2gYjTJmfcAqJq++wxJQyza4/KPp4HCOHExWtDbXq2xjvLI32UE2XyWNuq/Rvk3jvngVnXj9QXsQcQCAEyOeMox5sBut/o4QOsAH/hB2h+SGxnJsLbahWt51IHCZTBMVHAKTRFh7Z7Y5VkqgW/p4lEtYclJlVVeTJyVQ5IeNylrIQgWECwgKVo0dG/5pzrI6rxJBg/nnQeP5zcyi0ub77jdqiDvQGbzG8PlcWpXMCwNfofXshL2ITVtfiTL1PzLJITkpz9OECGysCcoH4G95A5pmkq2c69E8zczsHc8SkauXC1cKsbWQe8ry+kCsUT2g4PXc1pj1Wfa3rzKw6GKacuv49hAmZgI+oxZmBXI8vjQOKmhQ+qAOTHQtFlqcLqGOCC1lAXV9+o4pocYKEUsHwYdPveyZb/AxSErDdd7zltFYK7UyVaksQNdPE/W1iNrrRfHVhGwv22WSelFyOxj4ZK9t42Hpo2dwkFmHpbXPdOO3KVvQvigW/X2BiaVtECPG7awx7Ja0rVrTCglSkzl9oPtSC7Ri62mkRzGl+TBK2fxr/XALyOUK8Zzzm8IFDDjRUXIweFZtmAKF4eflqu/6fyelDuVwZRUalMDdkj0hTCCwO8CaeBqFqZNz4bKxhSiC3W2V+EqAJUj08cnBsF/DSHca/GJ0OA4Hdt43/IqcQ90bKCICqkJIaxGE3iIFgAlr9iTJfg2n4C/e4cSLY2kjQr+sSvY1HcsFJid3CIbkdHM7RZ7oNaKyQfc9f/mAxModDTanK5BxVZP3xJKF5uy+VgX2xlzYsltBG+uNL8uAV6XO52wM+y3siTldwl7tQBz6JYuAkbz7BFoxKhQuYn8KTOqCT0pvVSg+OwCch/vsgSERCJGlqd9QGkmTXZciBioPlTrsCVInMs5K4rZ2v5qjJSmoY+998h2kBhsf0n2sWDryGQjjFn9gVcPM4NunepGbzy20AB5k42tLid9vdo5jzt8IXNW4o6n9wJ9Bbt7A2lWy9J+Wn4G+tbe4I4dK9Y3KK3KnDUtc6u/OnCN1GWDFcm8Jss9iXJtpiZsLA1oH5HIJywyDWDpdL0NdgBbLDPhoraWtaBeyXb2OsGOeWXMzvUCTvMG3+kuqG6F9K5uokde+NQ75XuX7tz+mGkT6ilKXwWGN9SM8EloopDtpXG83dTF0DAeeAKszzXJwpDOv/VQ334XdXYBVMmO0bzOkK30lLyfUU2cR13tSaWDmoRSZOOs1d/oErlmXUVc79HO9Fg5OsfLcP3DzkWnj2/ETS6QzglavUOVYdp0MtgFN0VZ5bDRApolHIinxyF4z7fVnOEqQxeDLBZ/As6YmRohEp1EovNyDvGKeivRh2jB8sDpcpcFiWEqtAJhYrLTqLoyWnsg5eKWofwvw2fURKDSLJDR223r4NXCa54N7bdzq3ZjTRR84EyhyaAr75oGxElxEJNNwApwUq8j0YkA67aKPc0V0+iPxpHHrn+C9QxHZi5AL/bjNcqLEZg/inbTpY4vwcmVpk9c5nGS+MXxqDq9pdpcWVjtAuK84VHT3qq3j5pCSGvjk+MiiBpPez/iKqPWkygtjIv24OLgfCrLCVqI0riS/Vnq1y0QsV07BLJ2LhxNFUc/h1Iy3Z9z3HBYCGngK/I5gbLBvWmb96QxF4SApQ3kIJfMv9koZi5Lfjiw5v3La887gUW4RCtaWtFpKgbP/ctC4NFXolJ3gpxPfPB6u5jC3uWmRFc5hfPTGeC+z1fgczDRHOFtDHCgg+mM6aaLBExtu8rTdQZJzZ6ljFGQhq+EDRswsbXd6VWQ2m+k0/XvCA9bM9cJfTqdJI57REjPy2jkvPUV6kWc00mEWQO1soxjzelQFpZW4RsC++ijEO0/vOFZTeHX1qYsi7Xv5CjhtYQesJu6detD8W5n3N5zB0NN+TB1NFiuTwi1kRahQkvS54S6mELhS2/O/20QIU4CFBK4PQnc5J4RjGX3gbGFPk4QSEf4BvBUdgx279A0F6Rw1WSGPjxKV3JsUuCrmDCNeOQWr0SVD2ANDoKeYtKNP2zSqEvPUvGaHJs1/+RjW2UPsXmPe57dhduTAvKOE3G0vVOfaT72PeiFbuNqgpfDToR8uc4P/tCzRKuWQrormyYBSmUXordaxz0B8ch6J7F06SYD4zJE/VGT1twBAnV1NuZ2FgAhwNIuWWlKFugEqyvONVuhpvqdEHQwXeJB77yCNKrDasM8XDIq3LcXDO3pQm+4dK5qW3OUsgCqpJh89YAFRTPmJiKfG84FQ6iYCzG9kYkXEyTXVrsRsa2caUw5Qd1WYbpgTonDcOX7UpAkzF5ifL1s2LmQWin7eOsPdwWeoX0jlHCSPFKMRMU6P0nMcGVSPCnNQb0g/AF/2VArk5CmeBNnzYRdCOmdtcGf+04rUuZPQpxSm/y5wWdyeUkXRDFFnVeVCvSYPywcDsK2VSN/Ch83b6xlXm8qoV/OHHVYFUOa7nQ4hVj07OZkAwu5w6TQt6TWLgwjZdOvGOGHmSDnZZHjqh+LY9Ap1xaf1VycVwHOIfmaL1rfA6/rs2YUaQ073NMTwlc/hOZtjW5is/rW2x5cVCy71cWfTnFIDThsqLOjNxYO/kdE1fcpwRFzGpcF35CfmbepIq+B7r00oW8akwnGV1YOeLUjLgLlxB56Og0QONc1hvnXPlBNf8Y/7l9jtCsPM7+fptUPwy/1iZRZ7JA9Aw06NTVkoSlxmoUsKkySsp5obyrIfkoEJjePvql8ixRCTZkK6fRDj6GehEMgSQi3ilnLOR+u2XD5ASxiUZXYvdudbFXO/zFlBO9JycyLCcjA6+TRo3Mh8pmZ0O5TGPN11X4N2qZ+3CA1e51gMm7wC+91ZCry2UxNnlCX+pA0qrgN3AuJxypCcMPDbbwPLk6AMCN4yLKX/OtifjFaJuH+8yD09lwC10T2f410NduYUvTPOlgb1tZKuEpFzygkdCzGqIaSV6sAT/JLYc+ClgawJTU7L4Uv5B4eh/tXFCs0nQk1jDEEiGTedvpLpbNgMGEGqRtd4gsNrTXWK1+0DHWQIlfSB/JNH34nTyaRcN0IDcwuUNbL7Y/OM1aBJiqOiZT662rwjH3bJxlBOPxg8dTGpBqRtgUZhqBkZcIlQoHkMOz+j4hc12uANIGsiMbxRdvuJhLmjIQeACYYUk4XtNY+znNbDBkSNMObY6ATcJJJCrKEj+2lxkiANQfToXd40CwcJspSOC1U7/CiYDRoj3d7HxKzPJDABDDr3gJBh03gXkiODro4Y+zB3zBIz/5S68y/53VstTfWgnrxK6hc5/UkhH+caPrydaZgmrLMl1gu3WDxBNmf+EZe+xNfFSNNPFq9eq6xKwwupuK+0W99rFER60a9zCs5IODkr7e/1hudsgJPWoi0KAuSCmjvNZ0OlyBQpCXTecoOTC5Tgxu4yzzMdFuTVki5T/AeVJVAZNy1LgVsw1se2557SZ9K6eduzlqxEceZTKh/jMHyunNr32NhtjAvcFArcuHe3edZn7ySxaj4hXYsjDMwbmM5sXKmYvNHTglTGQhFq/+1MwPBBJVXra6/0XFhLWqadTEQaIp3uYud4EjWlDellaQN/IBO0O3CGTgzC29zAGmFWAh2R41fHdJhxhn0shid1sw79EnnvaW8dbXFAyZKpPWb/lYzw7oEHp60445N5C07EGoVbU9PoBBUnbeU74KiHj5mWZBQEzUqF5eC6jt2nUGWuG8xoWRBsgQRyj5Oiw2WDBxr+qXn7GMRxSYgi17Qf1zgs1uNKAl69yOPwVXKn/wFAy7JT4K57vyjKdtb8vfBFPgTMw2+FOmGkkz0LHb4itbn1xoG6KvBfIQg+GqgacsAbrsDIB31NSywr5Ph0um1ouJ540LkrQRguIccRM/+fL1QSpBuTat3QslLjsAOUnrHMOiKrc4Y+qOLeySwjlsp5p5kWk786CqAAl2UAKdbZKkO+8e5tfgILxrf7gMlWkPjZBWK+yKToRiIvfqSg15rjXgbAzmral45P1jwO0mzhRYxq0ghyWlvMW4e+cZMxLF+N6F0w0/mWSL0SSYxJIAgAA47BwIOF31JcasPO8Xsvwpm4u9fkt//TsuaZqH/14CLuNk5C4g6EWehwmZHLXIQY97CldYC1E5mK4N5Y6foJ1HjzxjRvurwsDKGrbGd1oVTRl65hZiyfuYzRHi8wtTM/LtF9kV/F+Fr10NZoU2aobeYNTz613zaz9il+TDzR+7L5J6hdO11cjP0jb6BgwOXSz9/BXoMpHhkGmVsVkoF6a8aZG5hK1JzSzFQmYLS0LJATcHKWimc22YPZpL8CYfAF0DsRd/OSe1n1kJQEb9W6CNLt1YlM8iSxNGGLos6CEq7Q6wqEfNFF+vZsc8xaTwWUN0k7f3TQ2dGWJThp/KlSgiYoWeVWbzjKPqrsq9S81MwuZKQTND+tMY+xvvB52i1VzivPmwuQzqtGvFW16W5Simq5eBoWT7HSv/8FolBZw3Hdj/yGwsv/7SEnxqVGzbKXeLoag9G7hRhXwCVFLvwjxi7A1KbYtp7ChbZRHsxBUEoImXlBhApiWr3p2zTSMpaJUtibRo8aI0fbN0oHuCxsc8I0Iw+JvotBBqPv4FXQkGNiPZ/d7Zc9OGBTDEz16Qyz5khCKCE7Boa+8kq8IgaTi96U7KAFGPuqZNPrjFZ6hqT2Fi71pdM5a4K+EAIw2GFN7emWhQw6VzdYFDxATAtHFpLwiKhHHIqz2cLlraevf1CS8lP5gnhXSCp7+aGNerMbApk6aQbsTK2DWBVqN3kApWVg5ZdIr6bb9CGdPVCgVtKYgargx4AEA+tEM6FGPAR6Jmv0n75HXxKH3uKbcaV2oPqI4ixqxDHGJAavmmYF8L6fNr7mu0k6gmf2tNLi+USxxx4S3dj0PlpQHgUa4koXSNNRNrvoVoD6Ot6+Q3UlJMSJwlYHL0mD7GsDgTlmA6EOC1qvnOQ/uSw4Jso15LeFOyX7cgS0cM3OFP5UEq98O7Sg8+/7UC7XehqsKDn059Q++J3osFa5zNZrv4LxP61NlhUGE/zgAQW5/S1N24rk7Y2g18K8J+NASp3jzTYaIFhRelj7DkjgoLD15jJuP9fH3yh+N0Vub+EXbY92j/odd0OFjKRp2mDcIKDY+YhEXkIOw7rK18t4I2qdDLasha3MJXy0zN7XYIM+0WB4ceLBprs6lYQfYC5nw89jqDYgGPdSAaZIn84j3y4F2DblgMCIvZMCKQUe6fOIi8Y7Mi6vooVebeQH8PP8Pf1T+FOwndABy2qgLToV0RWwcRIIDFJpk7IRgGZEXML1dhUY/Ez5gj6zL3o6MQHixyfAVm0HUWXVn7xzi7flSJLrnsER/koNQQgfhXo3wLYfS4Css2oNfK9lXr5tbxkdUuWd4FGWGFvCaHxJpCIPFs9mBTNYo9CnimG6wdukDsfM+R/PvAcFHE07T8F4S7chPA9U816XxP9kJORO7btl0ypz7gRrspedMwbT6EaQIgAt/VTW5L5MIGelqKj5E6z/GYzJRyErOJgB6zJ2cE+hmW5iSD9JYLmbHyLxe3RNPPTxtUlPBAMK3H4uDXmsvWOfLOJUmqm4ae/IBrnFmnYhbHeTWjSv4COZY0OkcsiiF97U/a5uKGUVbLpKe96gwYp5lMljVIn1Bxlm0ILQ1eq5g54V+q4vgWxJ8dI+T9BOxlF2ZHUz4g4gDzrpqwovTCOpCCHuFKg9jP0zDwKKXpPSY7KSNoGR33Bcb/FXP18j4cxllUW83W6HNpOA9FEJIBS4P7ji8gGoy26Bx2CrPxN7kMKhUx6epuyhl6t4b6iZXXMha80yxql5dOFTTuhDeTOF+L1X9E3fVkIDZCAkyYi8MjHjes7ZcQrIkjxCPXePqbMKw+K+y+qP2sBoOTW7ILkpavuyyVOJjnQtVd8JuFUeCr43UWCqSzljz4a3Ree/VjBlVH9Is/dVvj407eul2Q2IUdhA0XJ0uzsDdyIGJWLg+u80pdclu9jSIFNM76RFpnwMmBDApXaAZUdkJjDICF748BRti9uQXlHzncRfo0S7hhwfMQvq/GgWk/EHWgW3m1zYXJW1RVwtzhrBOaf0/rCVbgCuCSFjKGeXmKooEW4wlsbGpDN3exB0sqyC/7Oc6XxZ+Z82vxqSSI0BxhupTopR4BXGhxaCe9re7CRefKGxPNdS/6hL3bpTM87OBFWyryMJyDndNkF10acxPpDc1kUSOCA6NbjdjDB1QGKQkWrMCbGfSWGLmJPdIZ9jmklNSgXvJI+a/eLKphl7uPXgNnXlvUvx/kHjcjufYshXndcEnWy/1mDUImjq6jSiTQHaa1XthRr1zKClvoRr9aLmciGZNf2Qjyti0zLalG3kuk4L1yA0SLeCZlJdbyfOrA/6/ZwlFSXvaKPRgqYJjEI0mrJxs9Jd+A44Xhes+7VVQ5EtbAd+UiQJGXL0Aug5zZZWQXYAkjefN4KNgG6X0zFtYre/uONyxxv5bquv2Srb7XRJPGbEYRDTt6AZwIGellJrpEoi2Q6LnJZ/iJywBvnVFsjoUFOXUmPa+DiIWZH5LkceTWWUhnbhBaN9HNqvD3n8gRGF0mLZnzV7i/kxKbJVtKMB300OjheWiuP7WHW7Qi/m+SNHa95p+3NbjeF+3/bD9AQ0qa77baFGVvCa41TJCRPHryTK6Q3BJ6cs0Yw9Z6EsY1aTYeIZWPZGtB/feav4IUKmQ5+dP7qyT1y63ntSnQOE8bmt6VpphTGxtM77CRnJEU9w/pdv5NeoJ9ltpulX8dDILKHOhSeLjtJyGGY9hNsXMNGh5DjON9QkgQTuaac0JEXZ+jIcEYpjOZNiFLNw6BA+lFVKAFpEUi1d4AXWWRHImNvhrb800sotmd5nMZg9Hyan1tLMfwbM6A2y6vpDhrdABbeO7tubNo6AJT33mRXgN+s5SvVKp8Wj14AxACiLVHYQ+t095M2fg6x7f+UbKrZDRELGHxDZIFHzNTtDkGoMJDyyBg2wC+mbZrEt3krPpltqpr98NKVOajN0PcVS5A6p99krqjX4PsSOmXr6rmmp0Tl8cm53WUDV1DMtYnRisI71lpmuFNPOwSuOBKRot0arxJAcWA6grHpTZpTcRMtdZv9jpYhgLYHHzgzpFrA7jnWMXBDw+av5PzCXTolyC9cRQaeYo/hJe14kTVe+gek7sM9WPGT8rH6ogXJAFjJIuAywVHxi4cCTa84N7LZhT9nTTvZDHICSwi9SHxFl75tD93CEC5fxe3hU/pFQ4PRbFSu2/YXWr6eja2fFGtpSgT48/2jizK7GovuELoVbdkxfvt60Km1JNL4B0y5p1Wm0CkuQnyf/LR4ryQ5BqALpy79kYGhzyUkVk6CgGwna5EHjrY/QOvASZrLLKuhOSPfEyiU6DMVIqtYxiGK2GO/hDvyfj74H8S9a5A8SCTEgBFniBgLJj1bVHHpHMKoegdsCMiF3HRd8T6R9QSeoqopB5KFZmlXXYhLx8SoHHMpTrwP/QO9RY+UWd8n1opHo4kDN/IDjELRFJJ3WmZ8UblU80gPblGFZ5mYhqflKxLYsGTA9pSUj39gUfMkiLmlWMq3bSSLvI7b+S3iu7ZR+4GoN+/J1YOk+nEVrziqy9sB8BpEKsGH3aUuhGU4m1Tc8EulKW0N9f1vfDiE2sAx4Z63jkcN+kTQ1PDw8OsHonej9TO+0SR8M4J8dlTm1JWU7QNDyvC4k3B5J7Dk2w9ifJx78b8vH915YdDSRHIesksyCb3jShIRkADj+FPYP6YqVSaV3w5D8HBVuSmtyLCcTx02FJrZKTCncTZA+xUEbe3UPw+1LHCa1SjhNlk4GlCk/ydXw50n7XrF4XGBE1rKLAI3bb3MhRgnbZNOugQPnU8/gfCBDUUxOreIu3bknIOTk3supnbQDj50XmpbL3x98tBZbXJ6eXALqHNopq/YNdlFtQ6PguQnI3IWnLpkkcfAsB0b9kMCvI3b1TryTmR0+3JEyrlmVm3Ob5viUs1rVTLbPi6T+6+bK87I9ijuojfg2EPrl4HUZMyOy3wP9pybBUe7UeD4/Y9E4Yyk1l+Vb9IZE8wj3YwaFzqN8uWu/naIt0td2uoG7z1eMVrpUF+XW0p8nNs9LdPXAJrqwytsgC0v8h9cNw9e99iIY2mrX0UmRFRPxOY6Jh9VyhCBuqbI0u4LX2Gyv88RLVZkPOkFSFfpcypq31oPPP6FQdGCQc67qB0WanXIcf7yhQFeb1xXGsnJRS7b6V3ktkW1TziqQ3jVDH2Bijo0T1D0kflpI0A0Jf3fBYuU83BBUrK08Ld/H9RncxaIMKZ9yys2GPX2k3S8OECNWxPMnyd1Md+CanOG71kjcrbK3yJD4IfzHnyl4NhxyTTP/ZzNMlHzdZUK/8d7rhD/KNG+WfT/vkVBl7Xz2qCK85ChiEywmE6G7jP2Fqx2HxreE9xGFGMk45reZklliF/DH2p3ge9fwztFrrQbcJEXNx96xwQIyLL3VSlsPTTNcQ4FQ0UGbRJP4jRdYY49HYyEAXK4ytHCsLHBEHzbQWDv69zZUeMcvWqwY3kwAWOaDFVlbMYfUO3K5yuInaO+WhNJsp4FOno3stJ2yBHB7fCn6BMTGqgT0z/l8vM1FFsvRLxh5EOSgpd95UkWjQcPQGEHwTJvNUDKHlUEsBMRTnEzh/8VuqviTOjwtHmWJEBMZvlK57B89QOW9HvH+fB7E0AIuTL0ejC0LS3h956bHxa00WCe5UFSX+lu7qRmSfqHIOQxoAMomgnuIK9VTxr6aZ2B2X67mrOCfj65JiLgrRCGcR4SDMS3qGonwoXIHHJz5f+QW0Eqju2D6/li0E1KMyUqooOkeMvJWJAx8a3SuSZ21SYWgZScykZ6emDeiT7Q7x29J5NHaz9p6bfP+qeNrYXLUwFrg/tQ2KEumE6Dsh0s2njslUBN0ALXomnN0hm8P+fiZR9vrvepQvQSp2ZEi+b8frRy1PYCPilc7D4ynkw2AwbdIwtC6+xB8cn+fXmiiNIQiSY7e0VWCUb110psXv97qzJe5drKNxa+eYi33wZ8I4DnVS8xe9VdXkboDhKi6IlwjxTX853k+XFU4j22dbqStSrkcETibxNcIwJPMXG6IQ4ao9f6oOI1ZKi/ZXOZInjeZ7eNj3R6sMzby/Bq83ouiEtDB5pOBh+4akS6N4cdSowTBU+z8uZfISZE2oBwUDfBslb/YlVo8ucLGn/nI/qJTd9wQgsNErVCp8wrefUsilp7vKxs+WH9uN8vcR3i7rUHZcPczlrCqA4Pc1WwCi5RMHs9BoOK8Ovm0RxqHDlB2pTzLXvWKMqGhRNqZA56ruHVEX4taivihJZ7Ci62pSkKTOBAXqed+bOxr5wwRlRkE5qMhTkBWwooqs21iBX8PzDOiuwdRS7bLIyg+y7DVk8YV6DYxlzoNMWs8EtekmH0UiAzs3Wy9M/HDM7mh98zzdFs59Pn18d65cqOnbuo9XWgIXd3/4k9N+do8CA4I/7mTIaIPmzM7kUhGoPzX7WFCjzzhcZjs4rst+9gBNjieHHHZZwf7uMs/FoJ1kd0o4YlV+ZCBCmA+Zxg+MS9pEDCY/ysrk/UV0DeFzZ2xTTHDt2Qx9o1Rp+/it0RKNV7saW41d7JkjKeVUiHIZ8GwiBMIGD2iO2Il8zfteK18qz5YY2ATPOW6DID4Gn75+gtk2P65G7IA3FA7wfCoV3YavFIjgRIXymbVbvd5OqrwUiHnmCjhc+IZvHAJKiFW+gTKSEwfPRHekprOn2h7C07+AtYgz4hZ12fsH+cegyj95PuOXH5ZFAj13IXpjfXAN346gcO95R81vuqDETBNyCHqBJgbEyG2YQ0eeKvewlhKRGRrtk3Avub5/1r4Vfmp6a+11QsiGceZ0niarsHD+SSDuGZ7dUVymEtwydlojP0SozwngJJR/PRdoTE/6YgzCS/CODVpXEGStlgTJ/qDw79QQUunz+rkkAFtLUujZP5ne1LUmEvRvNvuxcBpw4Ab281K3mrpdvPqBeDcjTWXCYlypMZTRX+RFiMp5pvs74Pl6iQYxUMqx+7F51Kg58lNxFBC0u4fdrk7TMoaCmg573YeALuU288hlgs1m8+WV/K/zKFyz/SgQ+3+jNcUM4BA5K7HRCIpt6L7YFu77zr4vkXqYqA2/PVTd2yOkoWDiBVRDWfRVo/bC9Rw4IxKkx7/an6VXxBrVCM+S7tIZzln3lDXDSIP0Pd1KkRBq7Iu/87m25eBEC9MGgK2KJe9Dvh43L0JdvzIPXn9UALkG6mte7uR92aCJPGKr+42R5lsz13K1kBv+PTKhqCMlR4b/yre9+iGSU4MmV3DFWMJMWBWCzUpTFWeD3dMpjmI39mRlQeFurQwGyy74TsXmE2UFSVbEcN+tKErhqA2hO+yW8zlLqssv8AnkucA2rIChCqn4i5gnOsYAxrVOp3OcxCRDn5BPi9C2MHgdP+NTLMTebsR7wGu7LA4fZGV9QvF9vH5cG/nEwi4lNFJmBhpa7Hxw/hroYU7KpVL4dreUHEWVt74Hx3bj7IplQwErCwEVVHO8vTBBv729oiFM3i0YTv3f20FAZKGVyFW0LOgrSWh6ztmIGg6CtuIpspahlecvzxXU+bP3GvqIE+3W8rCCS+c8HdYrmmtuDV4oYXmrEnA/C9TRXEi2iTOrKuTX7RX+P3fPylCG5ypaqk0imzV8EVFsLUJenrCGI60mppoIbHkDX24TDl+XbGyEIDt//Uv8IleT1yxkqOj8nply4OD8QQrxh+gd4Sd7jtLmnld5+2PlryirrLqZFSwnGXp2suwqlj1pMBqKexZwT11pSPY5KbDYzlcR4RzwimyWV4bHTXspc3HR1TEl+09unB3XErylvCpopr4hIiMb2FSHNOmNy1SJOJzTbPVj9gWPRMbFihRC/obaRNhJ+RZyv32ZAiZ4c6zdTseuquWhRRx/8ubcxcRTK/bZbVajJJw3TUmGUzzDjJ/9dcRRKluPK0ejARP0XOl3qzNTv1XIfIm8ZYBhISax0Iq8DzJOvMySgXrk8PWUdvsriS8MJhRST2H/O+1/VmIgEf9d0SVGNZmnHinChqGtNUHn2qeScBpp7lR8zWppVUcMZhCsdK6waWVXMTCX9eMsVVFg62EgUyRPXPKAT7jbUN7EPnP+EfkRaAJeDq1N3WjuHcs4ZmACYunXWQsz4Cu/a2IrsVBgt1Vni6V68qS0tbGdAyvcYTDNrkeOHNoqg5c552OecOwtuw9Ys5mDZUHkFNdLnxRFRF7enCyQJTrskZtYHK6m0wH7v/ejTbnXqxvX+2JZ+tF7EUH6IKMDpiu0t5VvnoSumiKfyqVJmTFVxxF95qmOaKpBCTT7ejTPnUCgvRwVPKXrmiAnowYm/j+d1Va5cDhshvJxwd7IV0Y0Uc9s1Ge3US9uQ+zN+0rrzIIVA8R59MaS7g5OLzU8Jkva0HcxlxP5hcDvhu6HNtGJWsU7Ne8F2lkwS8puZ6kDqVkheuaalvFtIeOeCOXwss05H8gQse94WTAqOkB+hX8DlODPTI/DqtqVT2pqHo2nB1oKFgvhahg2GbbmxLURPw66M61trfOjKEXpnInYeWpWSPwVLMaqCA/Y/rtjsVJGmBcTPA5Vhnpuc13MwKQYjxIzxlQ8dL6k8q7w9azacZNXHGDRDWO+PGbF5mjYofkfw5XmRNu2qZ3EYpsq3C/StF7mEXZnKBzG56BIOtiCyK0KEscT7uZtbXqcaMsQqE79HpGX5GnxczjIk/cDu35DE20kd/NIEDcIg8XU6OaTDx3to82kPHrr8wlVL2GthOHB/HWIMgylY9Nvg9BFjKkvQBWUFNj+eeArDGFljgfNrHgnj0V0UKi9tlLBhvLEUsOKZ6yd1xpobTvRaCsIXds57kThKc8yTWkhnm2vci8TOqaAN7SvzIs6FXdNzFYTCrHJfQig33QZ0Py+GbWE4HyK+dHSkS9VbwnMF2f4sf2u9THf0GfR4Pt85+gzXzfWJG9suXybSs2o7IYG711MIBUoRZViAMTOglLzoc38Z/2vZpIYyy6E73JEb4ZspGkW8BcdppjBwBu/w2wFEZ/CSnf4wkKMQrvCq31dupqH6s23q369bg1OyOk7RWwjXaRnOA/MT+kHH5EYuG9rwOA8CBwmdG2WI7AFnB7THeDkAJXlH9CbXofld0gHlLHykwZ5hOorAVfTzhtWvyYUYfwrlyZ/fTL4Z8fklaSc++v7nIGmH62Zm0RVjqBzp4nx+Iad6r7WK3LCgCMh5c/Y4Od7yxXKkCzE2+AKhVSzFoG+SDhyD0LNSXx4nDOxxDiKYxEdSgd1udYR27Vs6RkEEhrp0qCt25h6hYWJZgbyTKHKCosHuABWUc5J+z+IemnTVOjdKcV0KRrbjUNFY3eYaXxQZaDTnChCbNpWGIlSdBPIp0dpdPaa9yRdcwMRssnre5oDzv3cTBOTE5ep1Y8hcBfee/I+pv3eBiaxBl+5LlPrgdEyNXvPdKPtb2EGwA4Ds5oXoQTAH+1E+KnosP6PCXfKDZJRIP45gLabXSyrNfgfNLjeAkD2Ak4v4EhnIbCJ0uxCfNGHanM2Bb8dgzawNlg9QksTowBW726CXGjyaSCp5Xa/XPvbia76b6GM5OI/RayJBGpsEp6jf3SmvXWsFtSwYpGmka7Xl4Y/rA/j+DFyR91U0SwgrxqrFmZVlu8JGzoaJi24FmszzLVm2j/tQBq7z92VhNCOPNlWoKRr1JfY14zZ2Gr6nGU6KVcNBVs4a+ZaT4Ig9LRrKcrE9+hLjDUuJsIJ9rApqXUTw/oRdK2YoqGn7s3tLScmij0+kdIe+cixlT8mpqtEdp19GBIAsQNlGS+1QKXFQykJ83/AQ28QjP8PoX9jvJHYPA1/kxzAx3+dJbWKQrwmhVSO7zwiOEZ3KRPhG2J4tqXC/l+3t5oh66t23cwwhRqIb6UjkFIkvSbilnh9WZ9bhgkRVAViilKGnp86nB1bkfRxz563MkNCc8kkCf8VmyIvCpqO+Ikx7VOSeAg5/DEO0zJfX00ymA3JolxPJNp0HKrIPPJnyHBagP1xyugmEBb4HRG0zecvCZGs8InKsdyqQCzTbdejgsUuJDOBMvW6L/d5y9UKpv2++fbx/4S2dLlsj2csQT9sT8Kj890oP39EyD3pQfXETemB0BqKWfrqa3nJQEsKHDWKkFkXMu3Ds+Jbxrn0GIedhLEKoZJEldf1IIdDPNZBj9bgTwDEvzeyhuvtf6F6CrlkPYbmlOACRC1rClu8bISdjup1Qce6Hd/EVTC1Hr6o3PW2g7vy6qiV5iMpU1ZLrBg+VU30oq0GmPhZCYn9VKvgl2VtGz9PU6b1v8pyYz49FEQo/wWm5JYtaiKsiRJQDahLtN0kiVeVANjo39pnrMyMGzdW/XW8M9gh6Mv0fbVYD0pPNxXTXkvySKaMjyiqjal8Fp9wxoO7UjzsxxwC0NWum6JoD1SwwmzdG2MbeLUBFgtOE+H8diQUWeywfoBfAeK8kWXMRB5DKiGIwBrfULuo5AWXq3ZkKyUaTkh0G1GNeHL/S7GD1VQlBhRufuctJOrs7+MZycHIQzXmc9RX6htF5aSM8AcxGcUcqCtntOj0CuVPiVVjpa9wlY7s7rTTh+wNw1DekSrTyIOP9cbW6ipBgjQu41Orp2RORD4weC4qk+i9MoIqPDWMmU1jD9lCtmXzkQKsiWMvn9sHP8K4y5AW/gOeMwCE+tl+pdiZOF2Dngag4ig+AF51+5+990sxEZni3F6r2eQP3RIiUncsvVY2vOT2jxfgKi3iZ43FOaRo00fa++PoZs6LbEbcnz++uy5MutJeKDTw9bFheR/3ObfuO2zxC1fiTmrcZoYlkTs4+QLv/tsJW5yioc6CNu9Yl1z90X9349znX4D56shD3mKdSndOzm1Fyym5WUquu1d27WKftnDZFkDoizHCLWIZSQdyvVExA9aomjYkx7pVNSYWy63iHFLcQdP0C8Zk6ESlTs5tFP9jm5vPaJhtcRyvpBVaW0+7UX5KF8OacHTmqeMZ2D6BQ69jKAqEWV7O5Azp74EzG+aG8ui4aX6rYAhHBcktVq1f/oOsHIxUwqvlD3K6w0545InG7nUfh7FdOXt6ftw+WVz2uPkeYEe3802/nkLMZdtBoadaPciif5U/ElrenhnzTA4e2Tp6xEftkAbDtMziqt6nmFopufVO9UvJOVZjMTHx4OpKIbej8T/dGU9KVtSv8e57AjBS6A/cHNrNKUVKdtXhllhznzrLGUfX3qFsIRQHg1ibyFgx37sUsqwqDvCTQ8KzD8fIaPQKxeX/CIYBtELZJ4LQClintbIViwKREqIzI1rM+KsnFyIxRRBKJaMSEnelExVTYUP3lpm48xc/70oAS44HuSHEHkdz6ZaJAGsJyUX9XZOf5FKOWPJTdp0jL+YslzNvObZuk37qKjTG/ENKwR/81EzNyMvlsEDPeGy5RGyfeDz1gdn7RMJ4gNx/zzf+02eYqCoGIsCKQGrfD5TMgbYGt7g2UQ+0eTjxNC5xiqHOVBvJIyPocbZ7O/eflR2huLp2fx+ettKy0LzNaa+a4nY5VVW4QhkkMHeTbBBoXSy97kTuEaPUtNnOEFeb1OTUgf60IfOcBgb4cYYezVDVssuB4sgBVEjLM3x4DDc5OQ3ehQxZP3eHHoMF9AopYsv+iRNdeO9cF4nFVMKmOIhsJBJxjKTV+56S3XmKa617OHUFXtiIjpokO4qBonJF59I50nZmgyUkpkUtzBQx3YMxeYSTEay+/4OH1oj8fr4qPw6xzbjZpbEnp57LnfjZz7/hHm8muhTn3m2sBP9Y9sVojCHsZuIL4p48vsvu0iscSWj70N32YnRhn/BHjXbOL/7/fN5wsF2t8A6ctbPiDT9Wk60tMYMgcRJs2LUkQmknroBy3ZazWGhII4NR6d+YsWNjwDFn6bmcTWwxCNoc/U6zN9XNed4aIyWhIcLn911xsRXSYkV3Rk3BiK+HH+CWkSIUy26NE6lDA7fZ0Dwcr5hl8b1AlqgPZSoWZD6FYOhDsw1gOL9z2odw7XYs733ebahJ22ZqsbnFS0IV4wYTxmD6LCaru14z0jsy+ezXIy8+xt7eA6cn+kGIl6UB7u6f2E+TB3hcnTdwOdg2DKuT7HOWM8qn7nFw0RPuhpPjAKxFKgXRu7MKFLvloshFXuHZR+r1+SFWHp3tsrebbZypbjg9oksZz0XEwr1MBb4DwbeW1Im5LSqGNJyj7wJpbW4fXPyDdPJm2Jlp+Q6pvNyQMv9PjRRXTxWjx2D1ZFvEvzstua9K6+QeRkA58W1GTj9I+6nETx2TImaXOC5dSINPl/V2QxDppWH44aWHawT5CXMdMabyDVy8DVqd3QBhctm3AubzQhU+Gh+9oaGbwpROPVJh2Tzcucpg9SwyxROkHGlIVZ2WtTHe0JGc5b6IaywtPp7g/RjZWKVM9WBmQP8Ml5epfnjM1b3chag3pnyRefhkRw2toPiNbiUrliG++YgEOem1Qz1HyVYZcTCjlpSVt1JAny333P/dpeb0YP2/kZva+QSbf2e4ZvwMuxzioLOkc/70xXruHRvjKTKHTvz5XVmKTpWO04g6aovfBo6IGnijizAXyxmGSb7RiF0Kbx2ZEWBFtnvh0M2QFo6MQthfdumXnGJJIRI4q172CcXtmXqVOk5mcw5k8+7E2KYYGDMGfLI3HtL39/StcYIxXeTSirxflhq+lg9h+QIeBwlGJ9imWqtGRJlk270vDu0pvYnj1lj7Sb+qYEqnyh7GDbRwpRY7qqIRcUscywMx2/blGBJSC1znCjH02Xwl8MJJwGwv+6PXrGxDgtSheVdRNJQmAUb3BbwJjGOzzKJsgDKnFmVgGetGB4A5VmsZE1FeU0ZW0jb4jFDevdzU7zVVg0uFdk6pAj7xCKkFPGuMB4QJTP6H/p7HW5i9Yvva04JYBtBclbvuRm0DbE2fGjEpSCIKeP3OlFz8ujE+9RzThyAnQ9Um/VOLBuFtrIXH3lNDxLuhThe5m5FXypvETmEGrvcDQJS0PCGRpXFq+yBINACROjVU3vfDhAJr2D0J3HKm1g7XyhcDaCc2K6uSMMmVlwQzsj/7sNXIQCGGv9tYxpFlvSgErm/79eYddbHzRItug92L1M3YO0qq0zz6T54BrMvipE6PA2aP8tQcv0V7yH/jIOklRy29y2XHihAgS3sTnxSxYCrE5eNcC9Ox/d+zbhB/k5wdBQ+FSjHq+w15Bt6VabQn2i72SICWfqAkEYPjdOp5zXNAOzcpLV4pbZMEzTFIfyN0nzIFJs+Pkih8UXWnnTc5N1w43Srbp6BrXuUiwYAr3vqZh1M2TD3NZkjYKq11shasJVgKTRtImneaqIeyFPWc+VemxfD5fhD8L8nPkKGrBS4WfLIU+Qyy2OWnNCv1ecP/LIBezGg6Go0jsQnPMbxdb/Evh8+G163vqA3bfFxY6AWvH88N+9sDYDXm+jfp1VYSGAskDlXbSdGHPn6PcwKzzcJrHtV2iHFGPDoW+mtRYU9A3+7w5XoHdnUxEa0mkrLhLJxxVADj1Xki0Q2ihw9ZERHuRJ4LBWxUabGcMESVQT2RXWPl8zuLE1pQUvDzEvzzCwLSDAKZ7wM+lkqDa4zpcuZxGY2vb/T6+SossYNZIfvwf4iqQ3GfqfZBiJGz6msG468AKCkx1VHGXoI1tolQiPD6Fg/uYIQmO5pafwVZ++NuED9NA3BxwZhCRp60/tvD9cWIqsaJZ2YqLaWKH5PpohEXmQX5Tie2JwIHWtuu2bnPiu4pGa/o5y0Cl1L+Ubwf2jBYeIMsGCqhMztqNO9vll4MNct1+62yYwky5jUvY3OdcC6jFdcNLXXTAMoNCO30rXXR69GWlYmz5ot61ZUWS9ou6eVTuOLyL4nZNBSy+8b7HOl66AE/fZG6zq85GDP/QbErCCAhbqvtCieSdKZpQcMIqepdCeG0rHDHd2+u22nWc9kfFI9+ONElO6iR0R2Ep0f9uzC/wnktUK7nREdPRgCyxIwgSkElAVOjsmjK4URpo2ls9oZqNKY935LmAjzQgwgd5bi8fU7QkzUGzyNrXKTXKtIaCO8xjgjymXomfdGuxNkhHm3N8Pceoz7gHglBggb8MJ6yUIQsXd9UbUOhY4+aaYEWaTD9hxlpbs7vnOVn9rg=="/>
  <p:tag name="MEKKOXMLTAGS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ubs11WMMKQMWY5b07L3krsaT20JD06MnQKD5tJA2hZ0y8eNH59O5xkHMShUFTOWejkJCOFNDkvRytWtY2nQeAHMJk7crZ9UCViyevtYAXbEfMT1Piy4bFREPNuP7C/i/+u4CnnK4evwYEXw6L01A7zxTpDApkvCxdRLW4zGzFJ9EX9s/Sdi/g350QJ+mj4j54MgrdQE7X14v8R0yjeS7/cki7/EKi9dxk+1cy9/gqJSnFrmddDqHCTCiGs09nvKxap1WBo30lhblQaE0La4hx4g3V87KggTlHgQXaxpkty0TL6VqzbP6+6oNtkcA7iPhbfhX4p9iXiT2PCaWZdKEoiTxcM9wKohyhH2SaimelNs4d/BO6L0xWuTmWN95lmSPI838J5PWLTkJN+8Zm30q93y91GHGC7daTaxZgD8uqrQOC/CTYORcHMRBT3XMzg9E0bHYPWG8mRjhMaE3R3G5W2AA+6oJKNYjvu346H5Z8WVn17OBs6kJX6m7MemaZ6PEGz1hSmo0ivV8dJKROJmf6RvAnKx1SAx+7z1kdvSKZQCea+/pgzEIDfWzOlI3Ia2hNfOS7e2q0ukVvFORQjKwn5oS0kJZeCGrGR1/SobOqz80ogrP2bCFIj3jLADKLtXKx9vDRCzFpTjD04p9lT5p3aS/btsFKokrFLjQoc0z5NNBugpbdH1HJxPRReAWjQxMIF3GmNqX8qCkTDTn1hwwMv1cznynm/qaHjjWEprjgPUmhySt+a5JFnqfI2FPvGURU1SWrtxMdCMSrcKnG3Cz1FpCoSmjcVJgvrVi8js+ckWLrso+kENhMI56RJlrluGJJ4zwRt+XI7moEzlcmH2hMNtJJ9k89RDxsuPmnyGWQhWN2EQIOcPk+YeVGyczs65e+8J3JyNJvasMj9CQvVybF3K+eMFpyloqMTtHqGoGc2qtpEcblrgSX2o+m2aOq5eRiTwCTETg6XOBdpbWUQ3G8xGRgN4q/aMFH8cNLaPAVuXC1meLbVU2WjEoX8zDOUJk9D5a0nYm107OGIScJpRPioIQzrjZkLG5bG5wMvVwsi1rVU97ljnNaWD+T3dC35mYG48ZWF81MTPFzH1qX84tNa71NgjBHqcx6UAlu4oNFNDI+YdmuOAeDaGsspOu8f6YUMy2S3OwP64RoCBEN2rEfmRKKcH3qEhlI5IwZHlByyiq152Pki5NV0MiUZ0ZmU10VhanMyiD0I0C9CkUEas49404ueZe/CY4qmnzU0QiT+a/h+vv1Jz52bQCXqOVC1q6ymPLV6Bsp0XzFx13XTIGIBqohBdgheiTYNpn39kEVyHRbX7rLrQ0+0IPoPMTz3KrWeXMbKm9BI0jK4PAzCBeZZ/nDlZdSPpDGSkd5/nC8aKsgHfoKUtydGKnL//Y89pgc8v9aUsjoMzsypfHs00ulnWDE0AfCyhg4BR3ZRfsrrHbYhr1kV2SvNtVGF0jqfRQpFz3KIyde6nqOvSLEwt1ebz55WvvTuRvScE/F6wOoNt0gkuidm15doR9+AdPhW3guZu0VZeXKn3uhn3cCJt1lOOYvZPybeTYohVdJwTLsuSUgvMv/f/3eWh7hDrdjWLoSsZ4jC43KWm42wMxRBWL2eHCdp7cA7zgwuu8BOPtlgK70+awE/hCHDIQDb3Y+PdDJHIdsGt80pWqFXMlo4YnbjAhWahmM/kMcL8HOLKHFd9r9bbik8634KJjrLD5UqLiFQPGgpJ1DHkCKMBGsYhsDUjR4HmwgNASonjhR3590D8dXcWXJmzs3YfEFp09wwVRplGLhb/l70mJu9i2vuxA/C7gZkrKLUd5O6EHq/d320s1gIrduDtqHKpEzWHxRxCIYqoxJr40cZP74Xs52DA2/m2eatBuZrqWR0sGaPwPsjDxoHcWmIqDxmesLwLB2ShVCMOFd+bezUZjnD0SdLRtr2H5bj++yEL4ScTCIrGyzqI9tDpN9LILf8N0+3Z9L7XaHA7wHjVqxWfkn6vn0F1y/9nh71jgP25H9BLVoO79k5zQysTp31hBg+tCWSujgdAE1nNQcUsNeCHzpr9lkvuT7NEHBju2IDAZqiLQryxqRE3YR+7EE9QqDlVjyP0cDJEbkdGRm6rKW6zjrx2F/jxhlkwW/Zsn9nPvunD1oOxfCm/zdf3wXcDSNT89cQNyZAaq1Tu7VDv3JsCz9ew69dKpZMEsrWi9OLKplV7P6B5UUSRY7IEJHDHCw9M3byCydCCtpQb84yFC4qMxslvlrBlwYDE3x/DCjhBYgKZm2pZU0Gd2FKDIEnqnwP6g3VeBFIUoamWWwIVWVsxBWmJpS42Dyve4HMhDDBgKutZ32yjiqhoq6yLxGqqv9QEL5ElCo5noYt4NWn58CdryEUYhLhnNDtYxWpCuT1nE0h/MgrnfTq2XdYssjf65rwGDTsX4xdXgFopKcPBs2R/fqiKGJVrENOc5goiSVco6ax67WSbFtJ9izkZHBfjezQc6mjgEjV42cwVXI99c+78W6KeU8JvtMVY4yU94ys0HVMEbzxdMBbtwF3Eps8VXxPABHYdX3sYPfzOC8qblMDh23wcMjPjawJisMA3Q8hWgXZmFEISrZT3MM73Lb0sSzxOAuTx7DS7CY+ek/EiiaO427QmjuwwiH6EeMjZxRGGn3hzZOIkIQKu5O14AIRYKjbKQhR/5Aew+aaPEidtV3f7McnQlk5IfirnErF72nS/4uuatWyMPY01mnG1MY2WB4P7rDOOefiDasCKdSZzGyAzRHgu7Z73z7luTEiFsYyyQJAKVlc+W3MUFk36VvKd0IP9JItOi5ojW3K1Qg2rUC08y7i6UJptTHn8gLA/gDISBxAcJR8zDbtnim0iuh/Stz8d1bErafk1FXl95qfm8OYh+CzuxIDQAu60GvAUpHDKGN02eYCQu4kuBBczzpwEuE+ckdfKaAIktN027+7GkhkC+pVg7zQ/gLMBBNyHDZziJIUmcRUjVFL3FOXR3onG/vmMCkdFL5hegMgg7A1p1fiMYoFM4OVSlPY1PvNtBcWSoreHGz7CIj3NH+hhbbVMfqqum6jIJMXcEBfh/11LUj7JgTvte4448UIFY5YwCdqAkPW2EgWAg3EFlrO4xIjFglglEcJ3cTr6EZESHpb9D1VIZye5CNnY3ptww9Y+7R0QNTJkDVSlZ5uNHHUlBdxS/F8Q0Avjp/Vuvo5wNcON4JkaAEKmCUsxbwenkekay/WMu7bDyI8H1v+VRz6vFN8DPN+K4w3L12OrvWqv1XwNSBjLD7SVY1Qqidgy+Ra8JTtsfUybSdYDoAkNLCxItQrjAKKhGZ4BTJqS8dmiNICDD7kDrBPeKz1KA1tHob3IHDatrKbqVOZgewItFpy0RLVKesZ/Hs47MqxKS1s+jfam0netg0ZVJx4+zYRSC8R0jt4eQ4ErAlmxUh8gg0CFrjEa3acdd/AxQFcU/CI+VWjC5P9/5mtFCoSEzchC3dumF9zkdogh4PwCOhaQXWyH8+33PX0rlYNXzQ47b+zVCtg3aHr6/6kAYfFJt3RN2UMWNNKyy9bluXWP4jQjA97JQ453cEnEbhDW7rbhovzUaERRepSn5AmtE8McK16bRKkvRpQrnZF+IaAI9c/vwV36CbfJPmeHK8xHOqVJZbB0RUQ3hgoobuTMKmpMRLcdBcXvfQOmIPNjsFl9oHTusfChUrV1Ci5mR/9mFTp7wLg29SaGs/GSVKkSmZMQDf2sXkS4WGSBPk/EDJIyppSuWOPkcNcq+6oW+tQRkl5runNO5l4yKIwIugckbs/CLaLU9oLfHYzDss/FwY+/bOpRPHTq0UK1zBpxSFrkgKnI5iJIYpnNXO78D34xkeMYsDgjk3yNrs4cWOerHAC07dsM4OZ1pznOKbY3aJlK3nstptTTggTz/UkY/7UZcZMtryS+jxwAJqdVZ7p6AePIeMZqwwUUguxkkjyFsT38DRfgS6/sUNgHGc+lZgtobFXHpeWP93/oCZYo4F8EY4YTcJQcgQtL+wDapMtjDvvLXMbcS5ICyPqTiAM4lZBhqxhXvCvaR2AIXdx1WEfdXDfcw9K4DDVdKCtTyBUD1ON/k4NxnrQwlwNVBUbdIJVtpys6uiDPsqMPFt51OCvt/Heq0dpDJJsQVImBrCqVFfLGZ4Y4dBrCuNom4BN3b7B9vb+2E8Q1C+dzJkBX5BZ/id+FEVqAYbnaSn33MY5/p9c0J3HkCoxuBl2bzImQOWTpCW8xMFDQk4xny0Gb8MxJ1CCOcqCzERR2EpkqskN36bTznYJW+TCcAnc4xW68K5lhbXGdDOqSvBh96wiIwdBPfukFpk/XJrO/7vIo28jhaMgWNCHH82llRt1eA+KpVGWt2bc0jAekIB8jJn+txaa9KbcXgl5p9olHIQ2PwqchHmYg/kmos05xKIUxIMddjNGpkduXhkUp3hWPrbuRgftm6mXwBYnYe1fjHa/9Yh5DIGyKc5cDdgd3HW/QIfAfu7rIbmIasKuHWjkC819b7wzyj35MTnyJ0Ih1HgKQLGVVL4PjXCZKLrydEOkE14MLiaF9KMjIISxfDgEKwa8s6lIaHvRKS5iMJbGkv8qTHjO1kMjdyCBX4agcfE4X1v3o4KTyxj5VlSyBwRsdaE03y/cNEsAywVvPQiwcKJke0MdoUlD74kXnsHaLxjYYgqQk6stb0hjsxS+troXGNaTxtbUDWDbNppypily2GpCHK2hOkhrFS/A5AHnEaVdllJQpBkNxjYzEtfZk5ouwqGUVZlyO1thZhFmJq0Vsrgnku+FDzhCYd4T3XLyBs/pGc4RDuhyJhRfNa/sKikrdhH2kxXTiaCZmu5jOheKw7HdH+YxOER6KYpyjQizqhodttnBCQN1wyP2x3C77dACBq96s2wj15jKP2Eq+AlG3gBwfE/JwWb2zj+zUKDuEYUyNG21KZTmlHOXcTL2KoKpNDHZa+9rjwuGmfB8YH7KSI1G/6pOGMf3Wk92znVNz8QjX3Y6WcOOJmXpXxqIXiie/5rbbz6/QjlzM1gvV/SuLa7Bavqdk3QhUX+IiFqsjvuAoFqAYNsWbpGKMEQ4CuQfwDeZtU97k0gPFm19Y5xoo8reFPVLN6CMghOT1/90OJl5FveMmqrF65BqXV2FBSO92Mls2bImNf/vrSiJJxJ2wz4gSzPVYKhdVTrQtufC6RG3ehGhhucYYKivcHcwz2IE9cLvzEaxUE73my3fxjbMw0fJdH7in65+lrwWZh0dA3ghnoPLfznc7IbXPA+gtIKHIzTsVyvewiNz1c9zc3xoe3bFN6b+2bACKO90b7xD3ZDJ+5B6Rf2Z6bUasdAqAXHC26PI/m3cgdFDN6vHv3B9jYdZrnnc0o1DgssyUYpHawODL8MxlCHUTPhfCEPbfq1D4N0CPrI2t6IMjflYRznEz2KAX80PZHrkoyMHY07V36iSJdug6zMHk0ziNmcXsGof21trqjaVAQ86TZtrLm8PRnueOUI9Gk/RbufP3YGtEXYXYbSPyFpNOfedDi2DD7DsK2QHgm7ACJa2OnxxIJ6XFRAGO8ILDkAcpV3ve77fWfqJ93cxkdtEeTX1yxMz4jrTUCJUC6Tawd+rHivThsxLVMj9HPmxNTNkIRiRgiRDX4PoPd1VXE6GTk3GR8TDWwk/Rpo5aKkFDziWA8OX+Ds2gPWgevUmoIm7GgaORgJfEkAUbHhnbRzHP1LxwDQj7GW8j2HMDiP3x+dmNFn/vcUc44n9qFiwXr7vEkpc3Nw6xnXZft6KTapBQ2kuwIoWmWsw629kpv16GMncdT2S8mGWGUOB7SGlaL9SiXPkKsHWGqo+kd91p23K3rRLIkk2V7wm+tJZXTNW/uksZHlW3Zuo3L5un8HNp5zOi2oN1fIQw4vKJ3eqbfxjKmuMSb8PD3pk0C0KjXfYPNcDfMwoMAMaPvUnqgzDq+xYKPoEQAyaiBq4Gke5oJz1qYL9SDR24XdulUcMtPREZcr2amEc2T+387GCR02LpRNi9xS/jM1YQdI93so2/JFAaG1huiide5a2FKaWPDBYGNnIEYDlW6PrbswznHs90CgPJEWMH35p/TA5GKa7jG3VfMhprCvY30v6vcmBj/FUpnCP510Q/4Vs3RRu3owRW6wL4QZWUE9ieQLvRu4YxLhWm5b01pgBlHByxYoPWJsWyrudNLIvohCR1znXw6MDxgd4FrJdNsVMqGA35ZPnMKKTos+fPiCONSNxJ7iimHiE+/pTU00x90qY0XGIZcglK3OoKmorTUG7o+Bgn4hSIjCEL+giIGP1mF47yl8Cmf3at9Ix+DOoqcOAWCgp+SDy1K1t3cIV6cYW7QwKXgaQKVagdiBJI94gsLU1XCh+qSny55ezS410VVaGcmQq5u8dCxQ1IpRC0bvc5S2SkH87l7xn/WuhIhj9JeTR9IkCNwKtIhkQILxro0kzfKS2SLsrLL1P2Cl+t3h81P0Q73z42y6IsOLzuwQXcsNSJcvx9qXg9qLOF2ab+FSxR63GBhPfe6kYmu8Mhw6OFSOzS9EvJNNl5l4uNHSciOCtzAPcEMVBVaMPTz2i2GtuH0Hk/EY+KmH17XSp0BHn2p0W9J0zSbS56JcMfZHEgMBnZK4/B2ufTLQwvh4RBeHSQwMqJDiV8kSFrZYivnO+2DXjgYq21EsOXzcFshnAxwTo2p5QEtghjGMxasMxxnhYx/A2IuCUI0IpXb7bOJokgAgdgP7II/+NknzJoo4ZtAUyiojVV+bt21AbFlAOMD/viQEbVwJy2LfceUgevxu4Aa5FL0TLzygar4AjAAH2aOS1czCqG4jpwALxAVnmiA+ezUCQdwSeqTV1pxImyPhbJrwJnsWZVcMMiHYuodfMgNmqj3MJxguxoJV0ZbYNCobn2iD8fOzwx5FOkPIEjB2cPAFOUy8Xev9GGoQXwOet+dVTvMx5UIuyxp2R9V7o4kqBA0ACaPzJ7bnGrGApMuulOxv204hE1Q+Tx76Wk4OBfjEr/k7Sb6fUnv5Dx6aYalGDIITobk2GFKmw0pjTxwMZI9rbEzuxBQdGSWFsTeSYReDnBFWrXZHFtJHKz1uVkw4DgnrO7tq0XVLBXVf1R4F1tkpTAQOiRh+nQt2MJXE6hT03cPDfCZOWPM0S3aeE3XNsG00406IlqRV/6Yn3Cy9Lurawpeb6vnDxpVxNAVLBwWpglm2Z4HLSGW9b9ENX+LDrTVBxNINrX6BtW6VIrM34l+oxxQzC8dyxYfb7LqhS810rVYLKIWR1nX9QRlT7prj/7gguvYSo8LmXCEsjJabdz5Os6UQrXnklDDUSLEqz9ZuNx0m5Tticb46XS9Gq13kjhNqI15mtUlRNjKQhyeAvPkQQBUTcLLRVme/T4stF059/p237p37mBPpHfz8rLbfCPDoQtd/b0ZZbCYDF/fVT+fXGFErcseIo+Ce73aLpFYaLJ4aeSXpbulwwDuxkb0zFrXfeT+LnNu2WlY7coLf1NajPBzWVxYIUN5Hi/NWGj3OzVh0GDiUNmAzhztb3jj1pKZY8W+xFR4i+Orvc9tbABnoELBjp299NuOELoKDW5c83SxgUUMXEyKJojzntPIy86XPpeHT3wox5SiN+K2Zs6397xP0MxN8J2ZBaQ9/pLImOBuYBIO6BYsxhqrZBuEdNctLEYg5qkNs0DRMIS3/G0aMh25073eP2OMFtpJjspkU/S+v+E/csGmZbPkLhlWLaJOe6G/vaQx5QZIWwH3BNraWTkJFTTXyrXgh9KU89eOSqdGuxGOUsMxuFsyKzi434Srpyx+zRXQLAxurvrfOQIcLv0aOtfB+An/AY8aZdI4ZHeL4kG4qB/UW1UGgH/ShnPXMzKm6iFkP6Q/uE9dHV4/3IoBIJe1EZnHjuHM7o5VBFLfa93ErfcThfmp/ZP0X87OK3+jNNiouij9IFCvAFuTN88kchj072d7ffFTuQvx5SiVUqbAE8Orq+avyUJeYS3sJyGo7dYwQCl7i5sXztziTa6Hh6Fd5XMN+pXe7coZdG0wrHSLH7FIHWSX44XPyngw9zJBlEqEC20YXZPd6rNVawO54Q19bS3im1/u3BziEkquPtJjqFT9kAWIXQ4WD6OcR44rxOUD9fgEx1s9ZWmzACKwLJA4LVm/1PXgZLbQAmLisDQkbASiAJMf7lzAIH/Q87mFw9Q4CEslMHKq7OoVJ0EPDxsG6AQz6gy0KrrdTigratXicnYvFQYOTTNybipsW54cWK8PkxrnFXHgjTh/4SXaRnPc/zx6vNtwo1yh3IuLBCLgV9dBG8vo2LiE/gcu94CBnaVUQziyzGQquyUZt6SrCP0gB6ctm/VPjCaNVSXoHHpqLtpny+v6VdoXez1NN8059bspdjXRV/h8xNc9Nwx6WkML6uuMaauJia7Lq0jVQI0Ygyu0smqkxYhkK8zEIYn1ZM4FDzrJLF9I/g5ZxGzR7dCAGVflyHP7qbCFy1+FZFbgRdQw8Ax5guqznWNf4oXUd1izLLDsL0cSLRCCW02pP+bbC/hgZcKCZWBmqYkAEGTsd6gHdk2lmBw58jIy7scfnWXeJLh3bwgQLKA1iur0XEPFq/EawLIr055O4Cwt+SOAp7WCbvtc+lnKUgfwOQzYs4yciF4FysgpQaWdrKKDCxcLs0jA0E/PiODciPk62l9h6s13l5pF5rtgenbYnEkvMq1/cmPKt1y03Aa/6gJ6B2o9HXj8gsBai3eeEMpAyLZX4OI2KJYGSs5Y95dz2h6XG4+s8D1NFfOhEF/3jzDA2lscUyfbY7dtFNImeigJk8vtlu/2oqjEUR+B9VsJGJFZ14PNx5nbFDxLci4J09C5oUpDm/bL53//MStrJ59Uh39hIK2VvZPeUXE3E1Qzlk1JjHtAQx+IWNyKqt2TmNjHrHdIp14TZpKprQAc095vEnJD/wZEWo0hfyl4Jz7mch1cbewe8/PMdthFJajs5UbvFslpe+/bEenylBakRp+CmRScRSfF18KAmUZVnKGQ4UATOszRh0KAOTCnS3F1QgqEJEWWN80txRdwqa24RhMTa9pDGiBwPwoK5MKzpI2KYJv2z7LXkZh+6UA5pYDPW+8FBAMRDffRxEPRaAw0SOP9jZaZ9iIX97Y0qdPEVrGIMmGjnOQO8BkqmDFYFv9NsbDnXwEA9lYnl9Fj6lRJqpsinDOM9MIoJgl3Qb6SArLONJ8hBum0p8qMLk+AvaG2h/8j9Wk0xD48tfoMS5hv3erMTHLzrWG/YiZmWEIQrmltrWs4X94bQHEtiPMJV9h7s7hbgeKztlzNtNp22PqxDGe/6HbFEAU2z+yxBgsXGuSoSfApNaw6DoxQHwHxt0+QgqDCX1FFWJUl98ZW9Zx4yYb0ptlVr1aJb81iC80lv9yakPHPG1HMq1elDL79H0qluUk+t8olfYa7JgG4yyt/BxYaeEIK2DVMtDoeThGRsCySobOKGYzY6f5DPO9XAq5XdQJ1v+upE9/dT+wk7Xd0ZDk7f6O51n6vr39KM9OB98wu/wnY5tHxxqOdMB7t2aBOp18EmKgFJpoXYeg8N+ABTHg75hUYxAJSvVBtSJbwLOHv8Mh7qpUxwpsUZWVN++mqw16gOLhCGWMc9h46ww0O74rI3tBkhH+RdgojYHX1vYRrPv0edoinliYQHY6Dd1mGUfefZK2evzwHPB9xX/7Z32h9AqnwitAh5EqnBqmBO7UdxwqVAfbjizWmzmXmyR1pz/TE0MzIg+Q5S+xUsjqZD88AJl7KPwPtL2Lg8sI8cI2Krf2kT7L0buSUZ8J+fSraRVMJppe6TXBHUZ6Y7/odfJVA79qXsaQNzrB65y+axcaa456qbctN4m5XG8thhn990nJEv96BZ4TQWIFClhU+QshadhCONr0d7MVmwN54f1srGQFIjWN8ZTc78K0rXz3GUsLNQkzpt8wjoJ37r6kZQYyRiSvLqUd9JPyt9zU/7jBM3J9f0+VS/AygrNc+Yiie6i3JQkHVRh+TaBeJ1NlcAQdQSykkK5ZnO4Op3tyEFRlAA1uUSRQwgK2RLquteUu1YS87HltDJr1LjaPcvn8W1WkeOIJdW9sN+y/uudO9jBxNo5lSFQNBY9k/sALA0EWcTSIAivHxTlxTXG4c9HNvZtEtY+Jj+mfGOAe7NQuJzXIzbg8uoWjU8ereCQggTe+RVRamRS9iQ6plYYgxz/yF00caoq7CKbCTX1mKB0IG2qUan2u9b6ByCj1GNHmHOfVnznwv9JLp7VhB+fCHGSUWPlw6ZkVSreD+xsDw3IRqTN4SvbZCQe7mV5zza2/F3KgZa8oRobawNaRlId5NqKfvvnRXnPElmozBjoWBDr7Ube/dy7QURmCEglivGoiRIatHEXIHUcz3jbpE8ZzMKYxKz90K/FLqcCVxEhxe7qn0ZPaH00tOe02WBlxKZjlLeVP/xe+fhKPS5g2hXmNAE6uAabMnknhP3db/XB6vlFWjNv1en8Rz+hA3uaicsMlMzwujjNhu5gHFGr03Owolw15KgJE7smsBPSiaYPQ38TdAHLnV1qUSuckcuMhciV2QS4ZK3ai8EjzmqC9ez2/NQxznlIEX9btnU53WHfhOgorG/R4q8rdJhld/z9OgS1JG3AmhUIsJumDLGrFC6VRIfh/rG396fyGSn+aarNVCm7i6bYx844Ekq2m74h3cSMEvXF2PuppFJPBW+EvtJ3xp6BjllfubAjRYdjvwucGpp1o1QgxHWnGTrLm7Bxb/pQc2NICk6+RmH2EzWtW+/AH5GDD9Hp+OZN/510vOvWyo715h4IotDX2ENU2hguvQi4lVnwVUNHy5p/BP2SIe4Y6t2TxGo9VfScT5WVYCOiKY5CVEsBm2cqG9XNZKffxlWnJ6UTpcKkiX6w4Wz4kGPjU3vTV7BhpTAF7z7X7+XqVnkDbTM448qxqJ9U5llpyvIhbH5KjUiSmD3bRQL4DO2MGXj809d7D8wqYfHxfLtyCK5CEWXC+iXQtJNYuE0SSNyy8ptpL2dSpMUOxWmydCyM/gpCwOLS7SLPw+imBqs+46jMbAkRN7S6I03k6CIMysqrhuPcqjhKIb2Ofngq0Q7c4l3vT7FzB+F2ZUvwgD3J7pRjPTu7hnZw3jIkfzOXkPGNZ9iMcu1uZB5sbMTrVVn7694NHfY/8i8aq8WaWK0x+mqvbeVxd7+PSMgY/XNSR5j4XT0NAql77/OPou7B2Tgp4eu5CdxNDG6FcemYKZWXuF3X1VFB0lC5odFDmIdEai6DQM4aS+aj587ShlYivs49lCo2SqT+2S6yKYlVIrTGO8vkXNiNhl1U3doIK6FkNVuA6jAl+FtZM1yR49pbonpfDM7n7qnLPM64HJXssmZMWv9BHsBXwO1aAnhHfs5YPMKQ/O+ZdpUDnzFdxlummR3AgNabJG5pRMGXTN3Bh2Ly6dxzm+tAeFzEkuDEG7x+V8lcgHfc/2pRtVK6moOWr68/qcq6Jay3G8eBGx3vMiQn/tplk4JKHcJbt9Vo11MpR9jRo3VBcxZlenUoGw2dZDjR5PyM2mXi3KiC7HSZQPKfqTs/dLwGbO/yWeVWpTAuwGb2JUNsU8OhkpuMwqEuWxTGm+1WZ+Gvt3+skephXPEmxf2il89s5Tyns4fMJ0iM2wpmGtnZTc58WrPst9KLxiWoM4CywOmhipB4riGICNkjo+hGUowBh6BA6qh61VKqYVpIHXDtvlKOXheT4UZ0REXAnfNfAyUar5bp731gEnk5WqnEJfGmj7LBQ/VvatDGviHBsRffzY2SjDzdzvCgmoAmUblX0Qx3WVhhkq/wVLJ9+kKNdvS5LAo4kWTYRdgdwSnAEfkozMx7ypn3OIDsgVNio+5sEyquAHUAV1H592puGwcF14CFZsqw+kLxi2IIW9wpyNH+fcwQj9G23mnniH3W7AkjQrJENH/hVFTTKqqqbiEu+UozM72sP/stNSvqymAToaCvEJjCXd5RIu2k5ekFf+pIXMI1dgbnLwwaut6TdDhSyI6x+us8zr99HIZDzN1n7AIYUSO7CzSdsYtR71tIfQU/m5u3QEbPQxONpMIVjEUgI5VYsmOsf/u0fPVO66M/2eL/szh4e8Bvu4Iow5lrnrte9nhslxlzHB3y6aOR7Hijd+nI+x+b0GC3d5ZLE84gRRdzNxgi/bmVrs1ovCi1/xK4WTYIBdrT/WzrUirRuZ3mFm2KfWY51Qy40BlyIap0eyslcViZLnveyEA2WKW128tIdZKG2cf+91e7jbf+6t49X9Fcw1U80F/IfD6ZLhsh7CdHjtF/b+DSn89p3cOsg9uEsRc0bbQsjQVfl3QHm/hUTW4vNzGkASyIUr9u3dkG84C0zBjTLqwU4VfTIAXggWWZUr+UTKOHiCGO6AmNDO3AITcYdV6v0UTGLXxwppohyQpojjdiFAr44/AQUvlDsekjdOfO8OG7/AvAG4uAU/uFNZJZWgwqu49kiNaA8+m6LPq/R0XvZW3RTlwg2KuhAo5zmPZZo3j43p0jb/6f2h6cspEh0zV+m2L/fzpyY2PXcEufRNSHBBAjbtYge5XxzQ1Sy3HhYICPArPx5D7/XlQaUH+dfxlaMjWEKZx9GtvyV/y5DmYm1Day2jYse+r4LB/vQtle6pkkJa99V3hhgbn7JUPe7T43twhkRv9lG8+8ZfoN8YFpkfMVjJPZNfg0iM0gKJ7W6ZvGetmmN+b239OwP67F72Fk/tEFIh1Xs81Bf8PmLBjnP3rUMrQIhkbjxSZYoInx+EoDos4kNQ1qyi6AiG/zWq41iECim5u8B7FgjZEZFqHdE9S790NdHPD48auOiYu3oCtU7lWqx4Hy7a7+le6uY6riLV9mPzMAXSe2wipAgH767wMWNpU0R0WdX6Qr5WQ2DV/4MnZjzq/VI3VoaxkbMayi093cnAUa8AUQR+n/Syj4Qy3yG2oFuI8eJHo7QWrGJRopwTSVZH3WbspX/1qCVPRofay08ZNr1mmq6Zc5AW62CgSfLqw3GPxqSl2YnkVIyOo/JOEJljRl6R10QeVknh1NwfnyfzmIUlFjvY+0wEuXiwdZyh5NCUlVVAtolons+efX28oE3hnpw81EvdUZ7WXfla/8fNDuKxaTdGzhUYswwFgIyDEV69IibdBWaas98euzWRG2Mk98mX/A/IBsXQh8TzjY29IeNDAk+xQCQDJn1jZAwdi71tXTDLk6QOo8KlFQKuPya/oYVDzAk9UXV1RCn680W0+16QbEPSbl/UgkLLqDKdo7g0KbiJDTwL9TBz6DLxJ/ChLpikHBfAWHenmU9D+sMcAsbnPpnnRKHrmcHkITcPzixDpWKwvhLTfvvBwPcrBm9sNc8FRDeFFtE8sZwCb8hLZ/vGdHCR4Dq5EqkwCkf5c4w0LuJ069B8ZD+BvA6D+lOu6mmOrpbzXDmktIxTIQXVN8vIbYBnS5Z5N+FWde1bDJXVNdzCcGsi2mNmB2xCatx2lw1qLuxe0sB//kGCFKGU6ACeNgnoRpVWAIn/hOLIfuugavSfO3EgITVQkvRoFmkM8A5+L1hZOaSz/d7X4COS7nqMZdcXxGOSI5ANV0HlOvRasBmD4aBKoUad5netbMlFBLWXdnMMza2pQ3ngGFhGO2RR1JVZFGNhUoCiMtzzLhHePkpbqJggt+AwTLBQ1bDK2Vrtwbqg+YoF1XM3UyKwcXSGF1aAxskpYgs4kH1AysJcFVVCfRZtCZPH+9+G0O+kQf5zfbLofJyyDXwKkL4exIAHWdZ5JYM2/Z8bDY1ml0jrKOIkPPoYB9HLGeHwbWzKrphR7x13iX41NLQgsjrq04qLSC0yW3+pnMmKiKno0TMjzbnJmAr+vCNbJnzv+olWrQQj87hE/qwDP0o0N5B5mnWEkXISIf/oVxbJnPCxkr2obMRbbyt4zzwG0FrpMBFP3wbrkkM47O0q9/IL6vp1Bn72mKb3QvvF36GP1uYeEkVvrP5FZbJy69jJbCJebspvstHSeedtxKCyz5yhKgYocjuQ05Rk7wmYx3rSvdJFpidMoI/IkzTSSaIEi9HI9Exqo3QKNx1+cxzFntSChVwhfQXCE6XQcfSnlriCSTfREPhzs5LCWG802ar6q+4thVj25rVCFCfBvDJhkRJiRdNwv/16/QFr4NaYXpdXWeyg1bNS4FrncXKP8/HnHk+sMI5dJxq6eEaptZiUFLa9mSICiEX8gSCW8QswWLiuQnEEPHAa0u6ZBXU+/Th0jaSZV2DXj6pOgexuedGcEOhaKRjCYcVBSpWhKxatJFMa1ptJDOUS9vbe7svqwCPQHOoJbUuoV7vUKhxW0DZnEWr65BJNBXSXq93Lfyr3VWhkwqvemNXfj0c852Ax9z7At26b95DVTN/tiRH8v/+DEvoStyGln1FoPhceJBncVJXUIm1CaYlnMFcNqgZcsZzCDRJM3vzt3cN7zjujGUkiVlGUPtRcFxp6RUUcXjx4zUKPmPNCkwmuEugyndzMso/n52OyWEEeEJkRYR9g43npvpQOqTiJCMYCxDq6NA8Vb36PKYaxFz396MOdM6Cw9GbI1ycGyjL78UDYqxRk3aBJsUVAO3gJwf1FL/uxbruvR/apLn5zx0TnD8P82UIru9rwd20VHB6daV2N+DEUfXXQWJ5ISKMFbi90uqPrANiG/zPhYlMorGq6q1qf5PLPFG14CwDGNSjgWRNVzIF3zla4GFGjxQOUETInekiWWcXnDW73qHdUHtKBvkBZFV+mXOphFOFHkmocKvoSwkTHING3dEkkQZ/IwIPGQV+igbEuoZTbw3HTGJHrWJ5EPvmmo+7rl2iXM73BviIL/BcmuUDdrCqj7sXWcP7Xa5tjMgkGyFge8pyEjnynwSUTOR6jmtwUmsNP6yJnFW8BeirQiJh2LcGHw4ZKusMsjDKgPWdnMgwhe3dfDAxbsmpDfbkEodC3DxgiNg7KWoG7NEs3/oVBTc8LeEvPCAj6tZC/YYvtzknjPlOPbKwUcI9JEHPDV+NEwLKgceXIEK5kQY8CEVIXb/7a0Ug9JBP1F04awI8ZmntrGnuLLJwuboVTCBJPa32NL1eQG7O4A6dUz3uibr8EE739TktjZ5FTPHqKIn3YSzRSl4d36iEABKCpb0DuXEHgixyg3FTHfuUZ0M2bT+8dUAJEkJpEIIbzhvAzSYnTHYesdSE5jxARB/LGBD086e6tsacNHOfCUxAmel4CKjl66XTs3efxqb3y/DvC8460YP/mMQ3Xpijc9XBiwAYKFEsz6DwNf1/zW5Urwe5rpPRLxqXbry3AmQv0iHuCk0LEI2AObbLsMnmNCAEaD5v0HfZ68AY+aV4glr4KRTJy3t4g+YXpu+7r6Y71XRUlcEib7PNVvN80BOKAuQk/YUFbRQUgNtnp41MxnQP2OFk5dgKOUvNC8bgdfFrxrqSsE65reAnwIzIl+s4XxegSnian+9uNyeAgb5jH2ZL3cCOUWSe4Pda5dvak4uiMlGlCYLFgSZuDFBHjJmZWmi4GKD6+TlyyPxYIExTWnO6otVGPI7LTOAMvJk+ubeLdqQl/l3fS88vNv2DQFeJuK6BQXzzHA4nTFFoRAE8pWHNDh8mvaOAQ5q503C7xT2LXB0Ls3D+FBAjxGgBMXnVfb+b9im0t4EOWTBGQL0SAmtLJSAdREJx/o7lyGyYtmAB6ZJAPPWkantvBOXfydEz4qukXggcP6WDItE0tD2TwqXvUL+Lka8N1ZTwq8vWPnJoc62H4iUb7ZMyjiuxmhxdyye1X7rLTGlNbT0ZhHAWvaKKHtz4InN2H9rFx6Map0kPOngerHZbGV81dHsBnKfkj8ygrBwbfl4dxzJnrRCzX9oWoFtNFF2G00ttPNOrsirwWb9AltX2wDJOWu6lIi3lmNA31XGhhRztWHqGmcLHQJyq2m41D4ve94uPQ4qXU2fVABoV5zBNHijkGFiEdSyMmZaCvGiQEbk4pISs+5r/sZcrrJSY2lcRC5Uvh5p1egy72tDVtvKRDJD+/R0QPALa8rYkkPnzbafplTEONj/zEu2Yp9q9BojEoANm+SFBL2PyQsGN4g2djF/K/M7mV7IinW3ldKy+3U4YbsWVDpHM6a8A6w9PjX6qYQHCb7FLM651fzfhDDzdzT787Xam8JuGf7EtE//J3TrZR+jY6pYVwgawrfpOKLVCSUW3tTbOZyVoXfSHwRPQ8CKcQxmT1I9dykr0Mv5jcqA1DmOXBq847Q5cMF2gD3udmLco9mE6LOYQQK7jQbBXRASzVugaujbjrbCcPB2cRuuI6NUnzSLZxA85MpQH0ZQFYW4R9XsTZ6TLSzvRCSWR4w0jm0BvNi9ZZr9+xhmy8CvguI52K8eEvdKcL1GUf42zU1zD8U20afB8FlWi33FjuKdCEq4KygvqbmAvUeMjKOOnibxkX0bi64WiGwiR5HuXwlxMEO3XbvGblhZhtO3/6HRByglmZRQ3Adw1+JFptvcUwaoJl36iDfItJMRszoyeGluXXrnS7JMjyOzGzavdwk4IEF7oKkwzZxvNSBMeHSDpoZ/g7t/q04/Onk6eJFX2sJBjj/skYNIeBlDx4NQHpew7reXWZGN126qoKiPIWUgOnZ6+ga7ys7puoWM4P+WdB0rsWBFkfkYj0fUPumfKPrecoyF5OXOo5OcL6gOxid4IoscmzG7wAX45wJY6043p7Oyo6/6jQvIhIdJkczE81Eul4UemggHJIW5l4QVRvrXWn5y7tnUCe9swUBUipiRmfk1ZrgXVtbVES09JcY+w4EFVdkG9tzp1RM/JJSpODGoEuVIyLjrCS39z4k9OC7+zi8Tht8kSLHK4VShzvkzETi0zz/1Wuap3aUr5+kzhlYiXSmoVtkSTD/PYIfVv0055GPduA5ujenu+5dFNmtu6Ubj15W558RQsBiCa34ust4bdoO3IhbwTImQGM8aCXYwBPFLg5Ay49S3RoX8BlEQ8Vv/CrIuM6Aw9P21NeA7gwTF63B3wbIpcJMRbT81jnJan9aA3uzFQ/wQ93QEo2RBSWOb4zjspgtnUJG5+IJzvOK4C/Pj6Q1ySq39WIm+ZK3ILmcPLa/4w0G2KNXcWpEteCIdBvP8+DKQhiGGhHJGGiGwg9cxhGoOK4g1oZKh3yND/YeCWEzK+PEbvJVOql5Mth2dTt0kqWyQnU/o4EJs6LkEsAESgXEoA7Z63VadIysw0YiEHQW3ivKEX2jW45wlEjJRyCQiILUYBPq2HfQ77cUVUuZCfa4FERiqM7/kpwD5z7mbff0BAiKlUgAuENdnwpoBhB0LZb+O3bn5jZBRmAU94cKwbZ33DPrWBBVLVLjjVZoOCasjoVfpklIzXfsd6JvoidXhGMff4h3YbMMUim3T3DBtpPq64RB3ZL34dZtdnRBAis54OgNIuQ+vZ1Qy3WJTmYNO0eWfEekgV4tWUoal/7Un//kgM2ty8S1dvlanfY2gql5lJE/QJGJy3kpJDkdyU5TchgRTAQgdWKEDBZXkUKdVWV8gRUYyVAMPK7kfuJZ6o5KivJixXly9iatkJH0uaRcKO03gfvB4snUrCARoGcNtsJxqJl5EyBq5wb5n7bPUUbYUdGo+qQdMLkPGNAkVlR2p+qlZ4XbuLIbAGvVb4o+MItmdV29iDQq7uI5IFj6EdDn+YMNVKA//ZHFZBXZmpeDgdPoNTWGLMYxgYkRR4b7TE0s3oMUbrKHsZMZD9IcDrP7ybkamxVbt7UUjzNDyzS1EC/c0mShtrZHsV758BOw/F2DenOAlW6iwscxoRQncS8Zli0LvhXxhjg5k33nPn/cuYmGTh5C9o6daNS8MQFJAF2IwObNryWI30GTfqEbkmZfqn/cPHvT0RO1HGsvUpkyONHWrPBYRgpprf5uWQboOIjtZRNn11xtXFcWthFMCh5e4uSe8hfkfVgtCX9Rc92k1txTmRtI8S5q65p6dd/rhvsnAKOpznju2UmUpkEqfa4OaSTXNiDPNxIiApZz9IZyuN4VlhiOYa8wFztdL9OfujUb6ReY9wVn2k8u9IHow7/2OABw3F/KRAO32xvmL7OhlzxrKbFsCM4IDjcUIChlhY1QhUsYbOOEV5VMA+sAt8dLy8tD9COC49iZn9FW5YbljOFpnFkJR1H7h4ze8Tp6v5ymrvYhzmV3/qsvHOfLg0VWXM+QJ+5GGvZDx68RY+MZlegbyNqzQptuaX3ibuFVchoQTcSGDTdLFGNxi5hZsFPBOPkX96WMOjWf3c9ufJulJcMpDlHnlxRbVn10i58xib2gwthvwNpLcRXgg3L2rJ3WAiT5WrV+RMNAEOIyUBV5uvOTfSOAVrTfg2i634+qz8eETHrYH89hkhOTBnP5ko+K2GkOSpm9DKLodZwXoIBObFvTQlFXTo5k8otfmK+iHy/i0pcJy2pUMg6hSUxO8uLzRLG93kQzzARTUID2NCrJe1SLKT9WCY9eQ0400Jops+ZYknA4LfAM73iq/bEaaAZKfOq7RxrNXWo4zPqHkxuv5wDyzBva/jWaHF12IPzDS/aEl1HD8K7ah3VizS3+I0dQ5oLobh66ew3bg489v5liW9xA+Y8kbDrvgUI55djQ2ugOEERsth2s+6Qr8LQnl6yaCTJT4Da8iJ5HukaTGIZWJ4JVBuVmc6uWk5eQCRjDkWHLIlMba+ShV4tAPIh+LGwhRVeV33SjdM+8eKlntGEMR5dNBnuttuJfbkkEL2GwHYYYTM9e6HP6mcW24eH4df10diI4R0r/G4YsTsHTssKdN+PnclFO/eJCC3CTCq7Xh35HzuodajweqU/j16rZ7p7049Zmy8XEsz7K7zExb44Kmon+x1Itak7Q8iZ8UXjRmyvuBNdKlOZS3UuFvTTq/Ly/PZPmKLVmSxfhvwFT7EejUE2V7N/bOxBV4p4kk5Adi/g1bD3Rg5eJ2WCag8qUu93T+Mw/Zg3CEXXOewyV3qs2qug9XC3jcEnrNnPmIF4i4+3zR6F85N7lXvJ1ISWAB8JmsGXoMj17QPzDcxSLi9ro9vza67Rusur0zj7dhfcXpstjVBohDI5uetvHnQLdH2YIckW8OFhCddOPHmZ8p6xAnT/hYQ8KYC/GBfgFqJ/uJzVbEVffYRt0K1B/3Dlsyr/jp6a8vnKKN+GUJNToyidl1WePbIbUcW1K+JvqHzbweVwoUK2HJKFvhwLnyHnqv90LnlpdG/ZKqjJyamrgPljvDnq8zzvjJYsMQwt8k6oEZYke4CSCeUkmAWo8e5FCe83Gtu/CKzQFAK5F4yZqT00oxQC4vvXaXDQlYusnRmffhKwUgNWvglOG+2rHnsYSCwTMrNBfC9qLVhC+HdwcwAOp3Mf+m6eTfD116GqfkELEtsfbvLllFY7blCYhlJomXYQH15UiSv6qND8J8R9N4xFY6jyUG1Ov0vRQ8svVzkdHbVI4Eh39wGxsjlSZEwFypzxW1P4Nr1ZeOuLY/nJmj8Glx4oKtc5aOlhHh5TFZXaLjke3ed+TimUviZ4YwbFs5xdD2fD12X43gDbewabhF6wgYR1AQ+B4lz/U9xghOFdssM/4Eb5GQQ+9c26YGQFa41zeboxsmD5sdOo1yoAFFGIBvsAO58c+uDUOyqae9BboLUDyjUjV7kCDBsq+9mTeRA0edUHU7k8oMtRGsg820JmnLGMM3M86PwBB+NAzipMZUCffRGIQSJas/HnSMOedxYVXhr8D3rEN3qfu69yHyaMAxwoG6SzO1Hy67vkugvcqUD+O6vh4s4B/c60OVEUv61gpyIoGmdqSmECNMTlWnGbzv3w6XR/GacR4MrxlXj2VnpsI+erLnOGYLM7LBHhMGLYNHxrJS3lbKWB7bjvQG87FQW3ReWPJx41leuvQ4aBHZpUCnFKNno8106HRelSSxDNHIx6Da3bBShGfd/hvZgLS9BPhwkrXslFUb9K4QQ0QiFaQVlgTBCY/MaR+s/M4SWn+THzcB3Fb9wJmU5v+BU1LBhHVDTaCFaGDXAu/qeHi1PXktclIith1Pq6BqFcoYWDOLw1boBIk42e6f8Oc3gFIfbavUiVIXJt5TauDbtAiEuS/FFJbThXB07T1Ebi3RmBSlZNVBRl5Z4+ub4+cj7oRYLerma3GoiKlsUEx1BGQz5cIi/mjnmTCXiSbDVbiE8v3vN7aN9osOPCUaigzXcTy/pNqRr2S/EcmwWEJgcnDljfCBpdjDW9ousA6oSHlYq9NfaxNFXu1fIzF/6DqDxqpYnavnk2ssbh7a5IhjqHIpRmMfQBBiO3AChaH7jI/Uyxo+yD15Z7mIxBgNSSj4x5vdZ0JgalGZ50tiPR0ISVqwSh+a8JSOhQku0HPT8JK18GUX/VCSCv5UgRhwVTonhix72Ooepz/GvF5TRDBOUxayqlfSsJufEVK3vwYP7pxlLrg92VPgZOGZbK9JXdnxOuYdKyE3rFYUHNkhI/WIriRAeneOiIKAjcEFocUxePE9NDn+1ZWR9gSPy1N5pasU3O0w3mARB6onMrJi3rKz/37gFlfry2QbFretItEtt6H3WiWkc0V+CjIZ4pc+9GNRFIHuZSXGMgeVnTIYkAeFLInRR9nFJzYCIDD/b/ZjpzCfkHhnauWL+tcJN3sHhYYs7NDfz3gDjtB4TUsdxrXAQxXbYQljqX5t6f/+li/kgg8pfru+m5qdPzsa9ck4IQ5e+YFCzi3TBH945fsA63kFwmcCwSqLdMFC/g+TkFKkxSJEEYavypma7zjE+rgmzvX+mFhMjUKAFgqvw6IsKNZBLa9SG7QTrCVfPbu2pU5QddNwhImVO/grHjiVmJ62szfi+rixvHJMB4pK3NBM6/qc49JgO8iOTP5u5mlUUfHXjO05/tDJlEufDphogP0SUDrWv0Wq0/UBd/1NsayjGwHhFaL6R4xDJLFAHBnvzSDXLcHsiwhkJRKkbct9idIqPBMTXdMDlrGnAY1VssRNBCj0zp8mp4ZRf6uracHETtBM2F6kov/8uRS+P9nDZ6X//YFCmHyJJA2/jXCAMqy//9CD6dPpl6zXbvD42myZnwapoXs5h8W2VvUDgnl2+iuSxRWiuImcbpCTwv6hCyT2VgU4/lmjaXGuy1oHarBRvcwTF94GKnybD+ZJIz7NtB5HouobR/1jikZrdryIOUDMDgiTC3ebTwpvt1LMYWglOkzeTrZ4fNzVNXKimvk7MGrRjqfpGq6lGgbuwNDvL+Nf/9sQfiDBm2yhOLDdOQ2EWAJqAwT/2PX1aLfcnx9CiK1JaCo1Wr5jN8V8UxlLJGiCtwTv5T0NNK10/pbylSrFM1PyhuOfEXD0E/Jjd3Sruxd6nRORK4F38zHLlEbkIeE7LuzS9mmQazNK3IYDK282g0re00YSJJGhCi6WlilzW+kSsYzAS3+JszYm3dIo0yermhdCNZGTcRqBC8jPrN8eeq4IeV/6QIcd5NUEB/qLyws3RpxivxcQb1vCm9RI5CSNEdqQrpTTq76GvnQv/LZivVOst21mhj8uU9nB3cdzCFw8rLxf3DdVGaySMMrpDZ0EeCWK4Wrvaw4O8UQRI/6jiI2mEX/NfyolI1lRqz06AcKadW1lT2q14yPAe9Cu3OOrcSDNitDDdS0Tgh/NU1heEUhVJhxkd26jDNKlRDemgBColA1yiot6Ru1AVdFXTcjuje/4JMWAFELoqEmpUCGfYuMSfhYDOsk0hMrkSoI0zIkbo2n2kLC07ubEmCovQYCMEivj+GSsEVuYTm2TOYvomHiGQGDBpgj2PHWa+kOopjDpb9/MHOCeD12XhQXL4fRnJ7GDAIwF3FWuMomkMCyH9nCQqbCqGdGl+bI14nR+J5mjF8DK2lVpExG/RYCCcqH62ekX0ESiLYxAQ9aGeslTvKFyJSl4kCJLNdyxAqnZOg0urmjqrbqMU9/Kq3rz6cpAx7L9AkaV4S16G3Wz4NoSi5gtXo/oPohi2whrs32/zC3qq0q7Gd+J6uxBbOrA4t55HGuOAa8lSt3p4qdLiofj+x2Q7bQeIfC7De0qrNxD13iV3+fKll+h8S9vrrs/qXbAAEkL3z0KqYtOdnwyGKXHv5vyr3LDuV1y0Hvbcd8WkM83UbB9QPv85jUXwK8mPv4FwZeOoxtVrIuPf8WU5mY7Q7L9ECK9Vi/BtYky0N6jmLid50vYPAoNPjlKysJzrczrEdkQgZlLUi8lHBj5DwTxZBGlypHorQQ1pSHy6PxyFarJU7SexrTPr+mvpwYobZG8+uFfMHfHAdQYXG7FEqB0rZn3Ko5WrdWF8fuDnD+JiyhTlK2BreYTrZYew1p4KBRzQ17S2ouvflNAr9gJRox9Fk4dqHPiQ0MzTctLAzyHeLuYrVIN0O8QFmUHx6FQabXfO5bvMS15KzqkHd4fzJw7Siw16n53KMM6nlvqtg8wMj7VjihX09qyoYLspKeyx5pbh4Oe9WceEXzlR8wge7asizzTFxXbtFrQmI2z7u271p4EWq5viqlHLStPYZhrIwdI06bckW3no8zbqZ1yevq+1ghZjWT9gP7X8wQhBCZ1pyDfmv/EgED1LDLop8iNs51KfjZVvhooTDmWwTV6LoYPDQVtYhqLAHhwW5gnd+0RZuIILBC6v3u4WFh5VYWQBY8CgiDkrTiPQuFM+NKIZ/mJpUr1rh04GY86pHhMK8jCwf7AGOCx2zTd+ytKFNA+DSrah7Y9SJo/a0B1Ps0mHOebq1OslFpH1SzzxE2w6oSTsFcgH0LBc8A8RYkVdQ07258Ep/st0D8AVVaRyrwSbAdSurdKgaNwbhuyn6eb/2eLw/4jHT++nfI8pQk4cPAaXEBFHPg2UHkhZgEeIHdS6f62drzag5/YTpXUsDHlwdon5CFKFLmfPM50cjznI9MspcX40azUW2Le4ekm6MjFBuurLcSL4p/Oz5AT4V7wmVOADkVsaNECW3ToA7KaH2JmLvMafdJEMbqs22BoMqdn4K7Mtb6XFKzFXkYGyMZjo5IUQ2B3V2nwmRfjY1EToivvLZ79iWeFAP4jyo3yJqdZIve5iNjIMpdgGsKGQg6vKoFEkXPb904cdOq8z+8ZpXntuloeHzj7VeBwkigDwVwnBpKm8jtKfUNdHjOCtvvxZhR/avpSd3Qds26dut1xvRnDB+KjQImCYUcN/YoIDPvQezCyLguPWer9eWAtgUu4hRMnC/XWa1c5ejQRM8h2S+DyNl6V5nwceNaecJD+XXFR8/PuaNIQn/reqHAqZQtO7I3me9s9MjJnBMblGd9QLU9tf70br25gWS8dsIGg2EghbhiG+R4ohGhgpLGyREChg2nwHIqQ53yCZAuiWsbLR3bew4Cxi5P2QfMdFQiUKdLXEv5wVcgM47u57rGKGimayli1LCnmLDa6rIAL9OGkMULwClJc22PRcBSa4xbO1RyKap6FNtjFpKOsA/fISs0Lx5bvKE04akB2OCqaNKxlGG1DMUAyGgUWbAc+RrzreXeENMpiriT7jXgf8sE6OQXv2ukSzfVPxRJ5TcLVkUY08NKKKocs0mehuHmO7aGUYF05NIjINdpe0G7krsuFiK0AUP8pR+pqSZnNKnpw9Ix+G3+v6u+XUrJxm+u8MJBeyNFC7ZUaS9qLc3TLRJl+avW7dbwYKGtayl7gYjCQVVGibka7Pnrje1Ig17A9tA9JmeLOAWFnMAqPOGPo3IrOQjM1qFGXrnM62qerTgmpwsKiuaDs22spqWBW/g9V8Tkn12gf2rNt0NtMp8w+MWfXSwHtW8dd/JRKMbQ2U+9+pUtF6vxljO8qX0mKSopjmlPL4JuiNRyE5jLyqV5h2qaIyEAwcAhsrsDloBqloOQuoD8OED5dCNUNheyUxrOcy8cgPv626xQcXk70rlhJZ+h5pcQKv88g+8A2xszMmx+jaKvZvARjM3ghM1xQbZN5hCwOXB05cTd8f0zDYGgJKsZGV8MBm+F3VlbrotqH4wgFPLO5skRUJIr9CDzFTKrvz3yPLgZkpMfRc36vUJY12IXgWtGaljP4pPNXCF5lh0DMmReb9kHWsP7Yl+Ztc4Aj5yvHYUAsZ166q6T/Zc789NBVujDDqN+sWLVWCK9ND93+FcHnW7+kQmhOngjMZAMbx5d+nSAIClqum2ZR8I4e7tXLfDyIdYWuUo4sahPkjQMahqHLeiYZt2Hp7Tm7bjm/R3PUJKAM7BXlmQtha5YG8FZYz033WkM346PURl3Zk988/oB5b5j3ISYI8ZEyIyHmXENUYQGNLrN/Nf7epbC+qHbU54Be06yFdq457j2+vbbhlqBANkSjDDyHVVcHzG86LfEti48DfXJO0aXjeZ6JjD0nlACj+Fw3S0mJNGpNwEGE5EewCogoN8JBV7L2HNgxQHmnz7bOdl1hlO8t+/55PQNx/OEGn+KRCj/kzP8VfMQW+JNmPUJ0Mz2babgVL2LFhBx217wIHVYiBulGcjDuMKcmfiFEN/ynuXFeLqNNYbSAMM1pz8gOpYdzVCOll0YscyN490Dksr/dUyCt7Z6Gtn6+/Q/R6Gjmuv/SE5A1Sj31GmNZsMVe6vkRKu+gsaNvMVQLGxm7eG6fQpOViO+qquk2RqIf8379hfU/SAe6plQRqrtmR6rljNtGJAd0PdsCSuQP66gE495LYOoKUx/qdZFISY3U1coLLaf8A1Csft85lKo7exrHmJMkyWH15xRSxv/vlc7ydb8LgczX9BopgyRI9Z9IRCTm07sPBJNLMQrdI4EnwYNVJraVegBGUwrXgRXo8AIiVLZUYcVhGOJfGNV3eOlGKges+2bBNFzLbNxQjZyAMgtRVSIKSlE5rmiUFaIVYpKQRvax/VTP56dyCsZLmSthf2ABRCQ2t0nTWw1cL8QO2FzV5Sx7KjU0CXP4V0kcP8eMqwItmRVPLXxY2uewLN/ul6bkdMFzuI8mR2lfZic6bxse2XCnWHQH7y2Tm+qkdBEu1H2uK1gazhmd5VbndlebzAZS185FCNEWeq9SH+dlbWI6mEkB05AhNcWt/rq1lOCUcG7is8ypcPh+TMsc02Fm9ue7JNWGAKY1RCFOr2PVEIS1jw13vFAk05G9eDqDrliOVuRlvw0TeFmIWSdoPkf3Ap5yWFKmfm7CG8UKeKyxxQ9rVS0hj5l/BTTKo4nENnWEja9CUn1NDYCC4S/lxk0y9KmTQLRniTWv1Vaay9DKT45ANgZN84TQyT34wrW23EJIuCezJR0mXWBQqiYA6Ivp2j1yXTG5pMie0U1XTTxfKrqggHCBfHucORMunLKfM3crHaC15BvBUo/rXAL2fii/tFdergy/WfRPveAQhkjIjJ/2oxdb+afngBQaqqqo4Qk0kKZpqr2KYbIcs8mE9DKOiXRG/FfcV1rXv7Oqd1jFh81gXWFzFQ6PvE04PVAyzhaxAooFTPntAzEJf+YiYvcXpauDs1/aws97HHBpsDKSZSoxKRcUnRYtGCmkKg+4dvNjgDWvyLmlLt/nZua6uGFAAfp6PugfcoJcxHACSveiRPbaUWPKbAGOODIYjYXrSrJMALCGNDBd+uu1WCIvvF6BpRr9jOCuvApPEbXU6mXXs6MPCBUIqdu+Q0TdBNQP1m2BcVZix/965tSLXHKj1fhksWRLriIRQYkaZiczRSbc50Antz8FeI8EsilhlMvAZBczTEL77Wx2Yi+4WejsTHuNGMj0HA6MjOmQAP1RBCQB9avCpiTJZMLJw1dlmpN7HlbNtzSzweTfx70/L45wNyzh7QnaauGi+eAL67VB26IlanbN4GBUxSZqRrmtZH0xatBCqfBLUwCsQ6n7NaXVFNHEKKuZ4u/6GtXDJ0m8xbvuJH6t5N7nn3AUWwo9xf2HwZDfJNL9FvWjRum33Kg4Kb4BPhQ/9vZkYmMfJH3Pa/DeQ65gGORjwdHMZl1ZKpUcabAIChv3vq4c3K0lpp/HR49dtZUwMPnFObykSNq+qygwSjac6n++jcBKRly/PtSzU3ph9GQ5U3M7zgXnziiE+SKavAe4e+YTEiGEbPzfWdyUPIxeFr8cKPfpFitMRZlzj5kPXsUANtezyG3nS0LUf1JnlYhKc+jgTv5Gco09SBMWwQiy5K50PxJZBlmpMsBcm3hjU85qWjEUoSTFoudymT+yWM0X99lV0aCX6T68/UPv4c2InDGTPNVIQ+i2ke/cwQTJJ6gVI/GoqRZcZv+SWj1REQUHQrz0LWRphqvbKf4vv/wjVqHL0Ya+EQSRk2TuUb0imXhqu/EqUMhrIJMVTCYsm1cpxibbuv/MkTv9zQ2IQ681ospLTZL75eXTedfHbKONgBl/xUThzPWZ0gloWHR6wDw5KyL66Mh4QSCh/ME78ukDy3hMwEMwqwiwq4KbsfxPmyp13c9AHmPkN1bjYSA5DfSo9VWPVEIxvNCfPVpdAzWSAIGtnXZfQl71EdqwImyqO3JunNHjN7FfS28F60tSKyCCgjY6PlRV0PibqeIaY/TThenoIA637HQRgISdGEu9JAxIOGigytxymn1reaEJfdMKxwuOei7fUfLSW7jkQ6gFh7VZB6s/9UvC2RW2kXjHAu3Icj7fZGPaZWs+3DJ7u6tokCbjyfz1RmOcoayiGYJA5XtDC5Jj6IFKsCN4pWenjtGecQzJnVe/K4ZGdpFYItwhajSvzVA8RB3mwYjwRRy6WWaGdVSUWMuL/WOuqmYKfO9fO2Bf+onGLmZeuD8OJ0nqwujurNmbOU4vkql9633dfaBwznbHJmcURN8IVn/j95aNrywfIpB0nNsPaKkstq+9gUf94bScgjv4VI7s3vpwl80R4oLMubmyGbqZ88tem2nT78BfhNKMFc1oGkGZGWVzspDjVX54HR4t1MfFvTIg3F9cCQ6uz2W/4YTd9nce7PiGj8QwxzwYn9S7iT0j7efbDw01Z7A/W/v1gIkrAydQFuzdrFItPPET65U4fNbrOWCSROx3U2pEd0EiG0RiqWoU6J2O3Cx/XgSMYU8aqjUEE23FcKFNihfcJ/DPckR0x4zZQ9Hgox+jLdh1xd4rm3z+ZlyuftUfD6XYn4VmfQy2O0OqlmvV3pKu0GMwQOrbehoXbFel5nU2P22/udSlnvdPqw9Kp9NwuX8YjNCVPf8FRSk8ygoabRh0QwuX+3+6T7sZGKflINrYPaoi9/iyT59xK9uBNpI3Bsyb6I4+wlTjXt1FpYc/0yI9rv835TigBnXh0mAfOhsyIc0tdGSmbmRA/Zr907vpIRJ089taVdzRA+010TNEM0W+l9D+ssFBTVR8kic9/hG2S2fox3pn/3tsPh07o4iYei4nsZMKGNhQAxBeEds3UxW1eYzfZMbNij2ZpD4V3xIWzBwC0hZ+Rc8TgIwLZF8PErn2fDWhW01GLm06xKnRM9ojRcAldK75ZEes0RZqlmWacWYvsvlbltwa2orqTbhWUGElpZ3jdCck0BD7xxGc+5v1FhlMCfiFl5jE6A7lyxGU5SJxpeysXDvKpUwjGwW2lrNOfm473kX/aiAXnNO7YpHOg+dHOSbelkqlR1yspt17cSbtw5CkLiY9YZGpBf2diNUTMqQ1OkKf3PoS374Bi3W803cCMNHj9AJhhhvkOJLGIQvdK4CUNXACGlDTSBcONX6NwiuBNHRQwxIItfxSTqonpvDTPL5IgGrF/xXUAoUy4LQV6cbem0YeiOtSYnYx8UrbUM981qy1jgd2DzvwH58AZcIsX8ndK/j4q+D1u8jq+IepacwvdpzwE/abUa586ZcySUUjIiJQrC/BoG410Hti2XkhlR3kyZRN/JNKITH+Dfl8X6IlX7leGcfV3RsqSa0Jr7pHQT/eJZxw0N37qpAMG8YuqNZZxO/ToZF8CGQq0ultv+Tx6Hj5J6j6vsd9iFtDxs9rovHBOpwQz8AXuI7wFhKotMDJCr/JLFOQx6EsszoidgREIUTu6FPh3+oJOe8aX4P+TxAszB0EtILe77SB5oQan9ZW9/gcFvnpaUJ5OtR4LcUn0t2qy/lkgQRYVnqGN/rLwG4xq4T83ayBT5h09mHbW/pJWZurOhgdiiB6cXbm0aJsRQteaQlN0u4zxc0iRQBs4eBo9HCfhCkAHKfn8aVB6p3zGvu6XE53XleDG6PamhIHv6nuzpOgF6i/l/sMQes2de3ahwhcvEoj8q8nrQOtV/UnVCmvI7eoAK0ctSq9QTBWbGY2dqQks2GZQSSYdfbUuWQgPcX9SYyww7+T8SoKl9iOQ1zjIiep4RUMGi4IghfMZP6Gs8f02gCzuFzuuriRiimrsjG5nIwrx1DANIHavKJ/7U5BnguiN6LbwFVtR9pZa65AmyTyECIo2uMXuiG/afiAplrhK+5od/CfUVXvBYQo4NwUqwRQWF1FdSE++uRUCuQLxCrGm65GrwoeQn7ZPOtKND/XamuW7UQjpER/k6jiu/sM/sJYbi9nHbetJ9h66s6exqCDSgwur2FicGb49nn41VAh8beKJdN4WvuGpXzo59XFN/5tGT2EDQSddz/6H2k14UdJBSf3f0gJbLbLpPI2NeXSTyKXSvBTZyOOZmXLKrvQaHk10zBHPHEHdGAYr0qhBgR+dGxI+s1L/T5E47K9bm2MGygXncIGAyNS6USu63G9OVnYPAtc4Pm1dCO/78xxNTLI1cGHQwsGLqB6/69420p+miJyfCnpitxXMC8y2j2HnF5zRoUg8i7VTnho3vZlTiPoNi++hUlvn9RVRmbAnSs3d73RZEDLJjBUHmOZqCoXLwLisugap0UyB9sDpMIVMwVX/c89oySH0xAxO5BDVXsQrASlwGpE7iQdyAZJMaBDfi91dU7sD8APYps9ldIbIlaYXWZTmvbF+LWnfXTZqxzbQRlWb0MIJ6DNYVhu3vvItMwQJ8d1Na7ADVpNmfK6pRqha6ObGJ3cGXPWBcUwgog2eRr5+1R0BwByzCHtBkzAY7j4aeRRdxa1IaDEfpTm+Gmy5bkfxatkMK0gmebzZusXBi2AcbzG+v1XuY8IHT/u8o0k8FFeLsUkTixMr3dWM0PTZ4ZEKE2a0ThzFgHEmlGIE0qMQSNDJSzuCtkt2t1ptg9NRWPwuHwdWsMwt5aFaQhgFlp37UALqc3XwsfL+Fo+K4i/ZbCIl9Q2OVZnQC25LmYKVBt0Lyw02nNSDgBoNCFy4sFVNR2xNzgyZ6QBDCwGBZ0cGHd6WSSaFRSXoVeu0OrVthnnhg+dcuWDkVGt6I2QyAaA1oB78+pkaMBTVLCNAdXTd18MBOlOy/BhNxHVeltOHTpx464du/elFI2tH+OhemqPmFFqO0OS2SmPHMG8h+SH1n7UO09XE8K6NBFwa234+4w3oUHDHCdJwltfZfgDjIa7dI2Sm4D9Jq3X1I/nOmYxlcW7sMjAvg9nD8R+/W+cZFZ1Z5WPdmB6mZZ92NTTRxrz3QjbIvdggnL2+acxvBwNgHssjRMEmEKxNjTQKZNJfMevAZqrevztvidn7NZhi/lDqQyX97dPf365Rfj0sxrGPJE3QcY0dAvqQmKMTQpYrqC9pyAQMKYR8XoS1YhMVTmf0cYtUIZT/vx5xi7OqaGb7LEmcy8111XozbBmQXA/8dx9Ljzfaym1CzvFNP0PmjLQIGYAS1ijuktDbBVNagi1DLGPLF+1YKBkXO88MphV/u2HFRljCHEG/PkMeubYXiWjfXSyPlidMUgW7VMEfyTA7VnUvFJ30GTZIY9SMrwgLJbuR8fxySXRtvFtXvaTs3GBdCsE2cKGCKOA13o3nzOhghY/db/r3rDXt5r2EorwLzk7Ge5BBZfsk5jhFJYer1CLYJvC70y1cMrUt/VaSM/oOLjEoLSxvPir9RL8LZGcGmRMtiiP+L5a/LkeERIeEtotquEVzUzJsXYv60PWtm7AFGt4BliGpjwxbkHcs6A9Rn6ffecY7TLniC1phZPTrIUHwzFBm2VK+wcJDwh+Yi6RdJrl5CLoSh8W/uxASR4pUEp2jDWAJ1QV+a27Q9bnamaj0CM1H88DW7wNEaHhRASdM+fI2fKiZLXywxg5FsumAzuAO/WVnzqqEE30aJdRq+wa8QdQn2kYIG0b54U0EdTX+MY1nFIyZDdC93twZKpGwON0foSpvJ0NYMvV40wwZZOrmc61nMKurcJT7VcnWeN82+LINBAmeVLA1OWv8CW+eKBwdKUeoUD2JSWusPb4AXVIW/BV9N3L4fFUJDaisfC6CmIaSbr8pMqKBNfCbpckE7evH7oF/svn9NMhaOAw2hpKuZ0UNu+ArfsT6kdZUQBJ1q/5vE37zCccvNB/YtBCjJ8lWMeQgUx5Xz4RSviUUXPGRAo3oKod6Q9BsnXJhLLwVdlGKXXpz5Ofa/xxeuR2lFh990wiVo1QNTi4bPlUvtsuszjRG/7eEyD5W6c2VZhnEfUGpR8VMaPMUnsBnN6K5iTYKGSdWhvTTxw35PsID+KSeeX1feNic66Acn5gG2mAnAgw27FlIwJx2EmV7OMFPG2Sv33q3K3PSHD5YmaaMUH9/glZtxCTjVhIxR7B8WVx/Ewf6YJMsaFJtlx7f0LTdhH1qPs71ivFnWjaRPVmjYrz2+w6SAGU+wi/txB0vXHY/N6WFRkjlSqC8nya4akRzE4G2GgYUOL1IX3n1KtI4Ng3aQLjZnQzSq1brFMPEGjvF9qu4DKPSsOp0GiOi4TMPQ/BG8n1EMp3ivU09UZ5cHToMDdPaim1zsq3/NwjsAHiQXuMQx0xN+q1nI9Ogu2LDoQzAdx9FDU1vS6BiqBl/id2A7220+tNEMHM/v8TBpmXDAnaKFMl9CTS/pWK7a4CeIjTD9fkkz+2XXKz5RL1MjNNMA1GadLdav/suBQfHneyU4V1QOQu0ufxuZMJ5fzJsXlK8RXRSsZjCuZeokjlhljG7ZNz8YgK9TElMpN4AMESFEcTKQMG8vsGzKqxQe1RUJHWfoTaF2rKmwT01dMQdmpemS0M8cxEhp4+qNtRV2izGatorSdvw3wWO4K2z5jNQ+8DIN6TtJpstLuRd+fDnYtCOltdeaAok1QI/Yvw4W664dCldDI9FSqNKPGsd9jEXdDPnabRmzE2sBwTGFG08Iro5CdGnCJCUGBBKXcVlytIerAyWzKyjv6TA65nP3Td5WBINjfqJvj/CfM1hIvY3lZbMen7E9F3c+cyHkwwEW1MfOs/IlKjer1tXTcoiJjcF+WecuUHz9R7SpnTrIaH5YdtThp4/9GnHOGOQXcP1KrFEsDsvz3By37DE1/C4XSPUw4x1c/JyiCK0GHmy3+JJuNKDd0jI9rQIhGhshED/lYhez+uS3I5hjlh/gQ6CoBz5M2G1Pw7cDWlF7621fdqgZpNWAaC/TMViYe3dnvg+YLBERFLU95D78wxZ/TCj5d/xaD02aSbB8Gn/zztlTO2isTRuIKgdqn8Q1azQt4D+P5+oWnVjhnbaCE8ubGso6GwcdyzLGqumV38pGMRzv/b30exU8B2x662jcELrjosDbcMCvKmNooy2B7hDkhfRVaIvP4E2BAjVXgZVK9gO5FX7FeugvzDXKuGqVb/ROSiVBwupNJsRtOIbsFGJSegQqEBu+uM+IjNBPQWuxlY06EIXYVH7OkSKqbkT972HGUXjjq5QtfmqFjVcbT0El8nWw9djINwtgUxOxDuEFPq9FOcWiNbWC04JnS0kM/Kjg+OapyMHoymQlIO6/AyZHcKwJJoPBYpm29xQxMWJhsz1g8oWtC/0URDh0shus3YGp8ftckJ0MfVF7Sm7ZkxvgZHHtQU/aJMk/5tDkKGngOgJq1r8XxMvbOtWh2N7SnKNaZaNjAOKQ4fEcAgsTqi3GT5XFUvMNdLPjkXX33IHmyTF4jUDD5O1c1wlZKE717OPQx05dwmmIRCPsgzozQD+J7ez5nkKwqblSTwJmGKPA9tvXi9dYwfX2H/z0/C5UwAmM4lvAwDdIm7+YPWVMXlwcoDhmJ0YEd2LU+YdHKprzduw6NDiqnCZf4ObsdoZ3BNLd2J2GQyoRopiM4GcjgROF3vFh92e+jtqhZENQR8SHEfOzaQhMiZdDybqJqvUlrsvah/K9emMhHpt2klcK2foLiWQWQ+3rLaFIjM7OWIrk+E2Rf7M0xr+Q2rwi7jxC8ZrhJizLKZKwuu5G7gKslsLpTY8gOIfKy0oIrGU2hfZTl2qeJ4KYQmgO/Qr1cc437pq8EHYCbCoKB+rJaJuvSOWcsrb+GfodcNnPzd3i8qoRXUsPUfxLb7TmSXI3LbKy1IBvpVDYvyYiuntIRJpK2QYXZNToMpR+NKkBWrmO2Sv4/8d/s19HdVrZRmflAo4cl19f9P3I0qGlLQ7rVRjJKnykRPaz+CNLpCMYWdeTzEGD+7sc5axvIcL9m7/wHh0c9ijapV+7r/kSzdyDvHcDM7N/IIgdo4VNy+W9H13cFr2gbZG/PhxCnuNmwLrr5ImcP7jr5v6F+tZzc23UVpXSfT0NyykRAfO9Ien9xcm8fk4/ysKqvpfoOJSoKf/bpaqHoYkgptcEG2k/aD7VMvNRIuP7MFG4IH+D8GUlkQswUDyRJ/ivO4YCNUihuumKHLoGXOl/ghnpwqMB+8xWKXT8nS/O0y+zToWg3VR4WsIBHPfAZ6oMQ2meRjSUzbBwFIDMPbs181oV4CjBi4YLQ6vX1PCuW4/+3b+LQkRVQ1KHsKW6q2+RoB+DTxl48hZ5krbyLOGvQE+cQo4nT2wyoiYHbEP89YnCTUG/BPrbvnEBatwV3ZkbT1pvPlpdOo+QMHEBjFOgvealTfU0mtyJ/fIM9gjFHgreUmLovJMGf5nR+uxpFQQBGVCWb/uSFcCsM2G9T1fkyXTumVr/30+b+AVWEvzp4heU8fFu7tH6RH9ABG2xaOUTtJLthyDbCL07rHkjZxorml3TGOXGRf9y22RSkm9K1fEPSqcDNXu4snzvuR5NbpWpoef9fvzWE8y/qeaIsJFPrpmzIBDLpssOli5pkkDvPt3MEK2AEkHhw6b4Sr4d7LoWm+wku0S2IRpWcrqvdD0zn0Us20I2rE8gMFABD6YCPmL3vpzF5tD/lkERG2ocQQ7UVTvXKoiwlWE3xDgy543oHZoQfBPll0faOhWB54YxaUFeAt/Thuix8rhUdYOftNzWgd02JkNH1etaGNoxI2bg1XSq+35VfVnj5nfX7LE7UkRAvbQbOFyg0fipnDhP/ze0tlVA8F1/Pb5eHgtHzcSJwA1eRKSYQqJfzJGWWvyXIM5JrjXh/vNO1QBF2etIILTyfW+t9/IbA9JxjTwkftGSfTXQnpx+ycAHbFpJUm64R83B4rPyYRI0IKjdfTiY7R4/H+M/o5S8EeZLjZ18l7DfwokfSNOBblxvjzlpk9rVG2A6T/FsCXUQ/nsX2dDoUNbXGIBJFxSxGamjih2q/+R6uuD1T8OJ3lhzopC9SRYBUkt5z1SS8ghLRD2Ja2baTnPJ8+B/dXTVtRKbet5vAK4DzBAWfjxtoOCNeZtdd5ELH8+oWmBoYa01YgGsTp6uPrfjTUyL5gY5OjcwizJDIadvyvu9NktLuVcJQUd2VEPa+xH7pYuNwBwpJ+Y8L4sB98UuxxTYzy0GdYYn6J41JHp9iTAQsBAaZ1SJwdU7bwQX1AGS6gFLOMQ+kYJgBw7/hbng3nW0Lbf3uf7XJYurfTIiBW3kmEhF+bpUL1FQVEdC7+UCEYRzqnNthucXIywPIKG6bSOBKkagdnPUfydFgy1vbIuHA/rHTwFi3k7Y8OIn6+73kvjJ8GwHsHLCG6dmGNuRaZCkuE8xbHyBYOFrEacBP8aGZOiISK52C7k6WHwctYn5obZnELvJxhTIBIQTSpPw04bsDtb8FWqWPs2CBMg95LEXOGj9fH9ahxBa4GAkCGv7RMQyKw+ekiVySOA4/l77fwE91HCwGICeUVi7bNxzWzdMgiKUfzJn8mgzZJyeo8AVCeT+nWlcNdooldgotsxVndq1ea7xWMfd2yrVbeCciR5vPYm4Hfnxbhs9IUnEbbkufciqmv3HR1mwHt9o11pgT1OoeG6t630gJm1n1llbsknqeJGKpgu1C84OLW0JzA15BZz+YaS6u2e1z/UxzBuO86daAqPB3lFPPu3AOkhhN9vLq+Ut/Xl9Cj8HYyV39mVV9l6uiPCNPRwq8HilsBbr+fSUPT4ULlgFCappPfeHKgppWuIjYZ2Lns2J4nNKwVxcZnyQkmmX01fhjvfYcpS7MJtbpsm0RBiDrV00F7Uli4BlFwTAeInds6qJ6/P6l+Tt4bGsCd8cQsffCapSgcqr8QP/QAng3y1NZvivhakCF1CoGDj54nRfk/EzGvaFtKBkcbnNWzkco+6OT+QcAeYps9rVQQD0SNez9r1ggLJMn5iNm1gzDt0LlNFUZ2g3guIf72xhLbkMmDmnmEim4QpTtr0xz/xHhi9L/oC+GD5LyYjl8uAdccRCKSmXAD/FumPzeTO8VdBn4SF5Y4KWUB3IMJco98KDlwOADZg+79T0f1+vlgzAWOkapEjRLSe39m7wGvd0tmU1LpYaF+EIM6GrROTrwyImUb3JsDekmEnbeBrmvEGDMORUt1G3GCKOCTS9lyo9bk5hkGxIZZp3vSZbAi7sYt2aakzzZh93JB994ddw2OTgSszUY5rGcDso4D5UK2YIZz+UN8/kPXWejRc9HN9tSf+fED09YuQK7pn/j6xOjuvh4r4i5WrSZ5ikO19npUblsoXSCmIkl/wCgn77Tgrc5bvRwmeAYQ3k9JUILALtnW5UWycmt44r+v9JjXBqDwJB27Yt0+HhCsCxafi5wKLcCRe6ALHP0SQxkzEIM/QD3xwRI0szW0mFHWSKON0f37DWAhURCbpEZ/g380TQ9Wc8vuc1uLH9KnjG30eIHzym6I0CXXtNBYMD16IAfefliByQPeMs7l/wMq1FtoKxyyoWmASocD5GqoUChPVn/p0dCLHDcrHuxr+zZICy7mQ9G/i377iOCIDXsgIfHIB0bvmeb45btPnYZ3XKrfGnu3rwDsb3yqLFHdr0QaP4ohpXnFEuAqhW53H/mShpSrfVO7+V5XINBN910cxDN7ZCv+WdSj+TfVXOv/K/gnKw0MvHeMR3CEuOePyyXCB/1gLFxmaZxPQMsSxkrafI+9JtAeYhfMt1Uds0V2V9EkeGboyPpgUgcq/O6hiJ8TASJqj3uBFPry/2Pwndx2YDWTq2cm3HqAhM/fab4tsXC1FviUrgY9+USZqA53Sw+1i+PZSiRMXK/Rlajxu4TNa7K5GGJ1sddHQYLU2RNeBoAy96jNnASXNVi7j/rXPXcsaL54xm60G/w5AXcLbNsHMScKp/I9AUoYQrIRuzXiXMXQ5UR9HF3yaNddBnt3IxdbYkEL4LpNZRhW4sSCm9qyKPcIImolxIpp+6SEF69yEXsFu9gSIy2S+7EMgiqCP+8SlO1vXa6J3l7LfoK6/iU36Fqb5Tq9dgLx9BCUBv800PqUuEob6GVp8pMBJ14strd9xlp8m3yBwz6oRGAlydn3ifzVVhd17a/tRlPKq1s+rysYEPaYv37parsK+eqbi9S7cqUXaQfT6WhvOzb/eTYylFfjzs024qeaGOoSJ3/mB54yQ06ymPa19ffp60dcJwAci8YH7Tj6vZ/A4ao7sLLtZZeJq8ENrfmoc6reaghmbLZqmDQHIXd4Nc9u2MaMWfzkrBHqthNbIlJN4PJGZoGyec88aAJGwC0u5HUtAMF/+DunRgnk/w3OIrGhkdS7uFMbcdDMdYNU2hQSniab157zZGVecn8YaZAVewH0wdDsNDxVklgDMZpDOd0ca4Y8B0tbM99jv8uV845kMoij740AygPeHTra/NHq3oLd8b6XWLlqVmopMGpdlNUYpF4mrCdPICb3DfU8fjdRrqZQdkdnBoMkHBLjtQ02nBcKoakiNyiS3nqJ5l1OiM4uarMmBtG+wlUbsHhplQrcA8vLu3+giK8DfMMXBzAO6DlSKmZk1AooeEHu0A7Q7T/zoIp/bpr6ykCDIaW62CuHh2qqKKSQhpMfNtO1o3YpbVmhbmy44+2Z/+43BgZn/mx/mAxi+lL3w/q9H/rR7Dg54i8GJ6V7dmChHXXPJTj6qn0lI7++dzN9OiEM0ALSKjmP3JoP23TFgdeRZvH1kIK1xS2N4RCPu4XA2VPfOgyyLtpZ+HSStJ3ND+FDgjYYCIM6rJsRITOnX48JayGh17MeVgH7YeP6iptc9jCoEKaBzJ9Yx9VDFR9xCTj5tUjX6HG69mpCPHrZZJronyGTAkhomUub7dh8c83G6le9gvy8MX6OSiTW9trXAhVoan9eotyZ3dQNfRhkWsU9HnQ7brabUywQYp/E/ptj+MYCuMW8/xRfPEtSA1i50mlPQhlMSv5Tk2yovoZU82d8RNARuVXw14oO7g5kzb8ezof1Fr+CZSWv51Ujrug6frww86nzb25NDVc51dyMUeIDlkkVyI5eihm6jm7Qaq3K115QLMMUdBwrzMDETct/gv65jfiajqO2K7xZ5jmTDKT1EdE7WzvShzncL2aAWG74bU9iZesyw+2HyM3CtFc43/wWrrNv07Z4bP9p30fEQcwURapIgK1WvDknPj/jCOlWJuEIyjfiDMemBAmZ3pbjsAS3r2Y2vPwX7gqIb2+M9NyaqdPdyMNoYBteFDq8yXwuIcGD/c/BB61ec2LNni5dSEudxr4IMd17ilSHSCA/q1P4XKdLVzv4/FPksDvQJrYPXSUfWs9Oph+32pZ0G4ELVu3poro+96TltvRPMWUvNBttSB6rbd1KFJJAP4D6sbmskD/I03hdwrdt0PDPNMRPPmYcBacX4+fYg55de7HMPTgu+eZFCUy0cc2aZiCxuQbmPcsJy/roFpwkNu2eFxXqsh74FJdnuyLsygNYSIgmQ/XMZ846lsaAJekFmFapug9F5NurpzbOQPDITC6v/a2fhvv/dxaE0TFUL6lKJ9gBsNGmUDdfIB9E6VSeBZVtWpt+5AZIZi7GLMC1XzHaQW09j+bqLepfjYXqKSJEsGqHOn6xtWZ7dAII3C7UdsI+cR+0yLMyco5BslwsUmzYdIpX84F5oWbJQm5UL+mAz7VhFso1eCe46+9sfFW5IzisjFsbKwSiqwNuZzTb4KylktCJzHnSIhF0XP65JvB6ad7BpDY4V9Yy7+0ud2mbuVwa4S4cn6+Os8DCve5+SDxtcOLVJP9gpis7Tr5BGqhAIhfS1pz/RDNc3wKutn8wIgXHPob/uSRikKP4ZGBjZYi5Vd6XbQMM/0yrXWCjHLh51fOvth2fToADKM43sIE4Yxm63qCKtak9I5nwxleymBpmq2PXeXOXA4zaUOfYIv3lrPrtNfEOVqrl5a14tWUL9/5rC/yQzaLQ403dV1Oozeq2wF3SSpQMlFCeOttfdxAaP7xBXQIJbTUe5BJyF04TbMADmb/pI0DJ1n7WUYf7YLtNmCXX8BN4lL8rPsXSVAgkRMyMI2uBuD4awWdtjt6CxM5kTHSOrAMeG5LlWf+T5K1aeLpFYztDKjM0cIE8pN21Lakhrjkdte7p/TdF7sUnyrheRJXBod3po3QcVfpGt4nyC85sAY48FRhiD7u/8mkHY2/kIdo6jl2knKbW+k2f2K68rXqQxtMnwrFfkA5ZLZxASh81ukBzx9DXpgSbIGOgr+8tKc7z8WS1CTgc926RSUqeFb4Ek88IN2RSvbUHuGdSjLlB3Eq4CCQie/qKYOScze/+sS4ksRAR3C+0/MKUQLtHA2yocHEiWdyCQFlSmdlsV95lPn0Lxz+TygrcrAQ494n0wAZqcAjMmLo7z5FxlOtz2SkZQPLqIuU1O8EB+aASId1/X8bLkryP2QwJfbYNp9f+bgFBK6EGSIxhaFRTtTLwIYN9Gd6azLrCVzb5KuTttGi+6odnRXsvAS1p3gN34k6pS7g/RxVoM2VpTp4Adk+kQDcL0tScUjoImmhMour5VCriOBgPT0liKry171u6CeipW3zBWDizqH83hjbgaW+cB2FJ1YLFZTgBAAU5Rgu3ISdhg7PEwpnS6BhGjZJeWrSIY89DBSMI7ycFgL/II4+lzHWQS6VHAgC168ncVCJF42yHaVp+XIWGocYCWiz71eBkHxn7lJfyHSkqXm8ADYaJBrEVLw9ig6u3IRv64cTQL9X+ntJCQD2UGXnqRMf4pE5tGsolPVw0k17sC8rAa1g4UQ3xJ9kZvZvxuvP7laUYmS2Y8x7m7WagHVQ2+uc3krTM7uSrgfGuVciFrWkxSyNMS7UJpq26RRP+jGRjVWq/hO4bcnL/R0zfEPqTOuHIfUOFFllam6sM3Iy4t4+Yi/tyfemBFSIbYAkN88BUkz3NASvOHNHJHu9fZTi+zqwm2FT/qclRgqrMid2XfwcbF/z8ZP/QlalrCyJPQLpQ1bIhUQsAGApAWoxWLoTYF1N9pfMJQ1IzB0IjqcWBreYwxAzsjAn13P+reStWmYdkDTwLyjiMovyHayPYBrsbwyA5nIbdS9CVCoAOjX4XzCmrXIRypKHrUIJRDharuGRLSvNa9XwKDWfms4qAx1Hr3PojgGuPtvwBDyP+b0RZUfcZwIBcjJ/oEoBWlkNsn631VzPuQ/AASg9pKQKQoM390equHxIArD3I5FJdiP7YSLSia188ilrpUEbWclGAsPnhtL9XhSSgPLm0GO0QV1UnLeyZ2r2j97PQfo3KeLPiBEN3XfH/6bxxZzHtxFhuInWMTP9V2gK/t1IxWZzDJb/i5NUkCNmcFZiYt+1KLLTz0kvxzWejU9aZguKpmG5isfLV8rW4OFoplAiBQta2sSxgY7Pz+Fyxc4g6FfHLh9J8scdHT4mJmp/rg7SMKv6VhNLVzrDdfxwTG96oYx9UsGJ3AgvcbzRInFiT8ee6i5h2E6Rex33OFHXUIP2O4sw84pa9sqaNzXHxfUwtkjGqxgqnXtgu7ERU+DvFz8FJgeNSH0ITNl6pc4lYqDSmZht4MdpegUzBOP0v2UbOZako6fuzVEVxPJ24BnUk0Sart3UAC8JtftsRatE3Jt1/C4SHHUCdf9wKNQMAv8HRWzlKXKvJqkrhtJzog0eGkTY3wh0Pco2KhkS94jkme6Vb+CzNCiaxyGvlvKmSwRY63L4xrW1PpaLEKvLtiFFn9ZGEsnf7xF42ebRzRK46EB2hoMqKyFqPipGmu95jQhwNeqTk0VFnDDID984HtnefZjt9Icd9bkDTEGlMXhhfrNHLRxNyBQevPp58eJnEjOEyGc3KGoogMixRWO/e4IDPckVTwAzV3Vo2cTeJFzjpuC3r1IRYRSND1NrKK5GC9WB1jip3VcLnhB88wrpbQjSzyFCUdIOTIcQ6aJGyN190Np18GvhGKal9rKy4qWj71O/mGIYFvi+zq7+monq5UoJGdEEdR7bk6yf8pqxi3xRc2KBm825hwcBM5zdogz4Fnpa+WyDUxT0qrK3iE1y5gpQY2qNv9HsDgqbNQcZpRYhYkHj4cteAjsD4bI1mhiQbeqhkvh7r/iFxQ7Pyw9UbFJGtyKye4nG6el65oUXZNjsaUefnnqViUcoUQyRmpFicicadjBpLbOUTmHrZ5Z9Vn07RtfxGJxG4gHeyazimJtn8vwBb/x4Ju9jfMCjzlDqmdXn4u93hMratNAWTpUIDmHWzYAK5Uu5fioihMYDA5NtPLDntho1yuH80NDTfInKBysdBegiBOVNy98fQmKPEWvpITlM3O4Tx6EQW4aYS6WKt8ZiGLSEGI+XZuytxdc6lwZLgA2TiF3ZuCskcQJlvz/osXPhDIB2E/0qlzVv/1+iyU+PFTN7bmGkkTD1HrPthcykcLf1GcJoQsilFQq2T/SYfLbBPKvaN4etvu2RDDbaM1ZThodS4a6nnqcJuUlnoMkfJQLSkKU8uTqBaNMfB6hPfRx61fHLDro8TDEosmDxBNCS4rxraHuDXQra5ENDG8MngFKkS3H+8FxyuAR0ze04ocXmaHR4yOAv4dRav3vsBZ2PRRE5YtTuDWFkdsdQkAjk81KeMpKHfeako/AU+FQfIlUJz/bpveK3RjlqIjBn71HHVgL1G16onlWc/KatvaK+4uY2eY6EYKwDLpkOC9zaxU6p/KRBJA78LNCpNTf8rx0TSUhb7aVrOGM8x+lr3YrnPjcBF/l5WYbwyWik3Jkz49y9iTRos9nxJXyphmiqqjMLtR70+uhPYz+uBYNlhX4Zhyxnqv3IPI3bO0R/SX3/lpi6eUfE8Ax8UdOEIvSUHpHhRCGUSe1Hs6NLzUusLeCDuGp31Yo8m3Js7SZPjHpBz5eHq1khe4MQtIsNE6O6sEhAzyfgZRg/hdJ2HPVP7m6Ii+/po/v+6prPcdK0rZN81OIdbRk2hj5U/9J2iwsBsWtkMZ7VluYdxI9QQOQx0MpdK1Zvi1i298jOMylgHuFyfrR0xwFdm0f84RAfokoknNJGFteDltHARPh5JG//EkXtS8hlauTkW/Q5s0tzgeJPFL9y9EKIXkOdB1sFexoUbhRbURiyibknHHdGYoQu2yMGrFHuMTD/T550+f+TjcZ0uUcfWVfxzuYluVGAnSDl8v0ufiJKWKRz0HARFzmS5DzRIO0SsLcAQ6b+vZ5Laq4Bbu9Jp+hYv0txAXuOfkTjPzt3OoPm38kLzQuBmjYelBPdGO/EXeMUD+K8XoU+XNG/Kj7Iwp0GqIbIDhvr63Kw6q52kCaguxm6I0awmrKMOjSvJ10EvT5I8Yqup8Ks/KhSZcpn/i9GK3HzxS/bmLaVsmYjx6yAEcB/bu5FEqOqUKt4lfMYDqSPgx6wrcPLYVyhGuRTEkbI5gO7xAYmvLhAlhWVYdMNa8KP09Y5E/KlK2ekq+Ouses31Qv9oU4PgTcCBsA18q4NvpQWTNTg+L0tAh7izl563E3VRSSw44Ujp1VR07U9Eh2fnFMJfyKBx9PGUfgqj0v2rg6oNeS+t7BCM7erTYPlDXzjxn8R6WM4QrVwsgjWjvGqUVyheu/+lIaOvYEknuSJIdcinVTxSCJGhT4T6or+rQ012qwlva7ADN+dO4lhEpRTWp7wcHH8tq7BetS"/>
  <p:tag name="MEKKOXMLTAGS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ubs11WMMKQMWY5b07L3krsaT20JD06MnQKD5tJA2hZ0y8eNH59O5xkHMShUFTOWejkJCOFNDkvRytWtY2nQeAAepWuOKBP6wrgnRYunVhNm/kp/EOUTLkqzvL0HqFGhnn63pir6p6kUERCzjzjrxn56RTQxbmgSZXF7m1Rj5kBfdFvOdxOfBkDS3Y6mWG/WkCZAtA6o+mFSv5QnNV4nixF7q/s43KbtQZ2e6qYmUzQyxNavIaq+uj5eqO0efZ41Fj1PJePrt1WRqP8S9/Dj0/iveIp7Ng3Guy2YZcYB0EusWHAulsXtCvSAUWDcWrQLYOkEhF1NxIEw6SANDvyoZgC91apXttmW2274miCwJxaeL/4jnYA1YDQZ9GzrVArLlpHkv78Ml/UROFWsGUxemnXtKllh+f++6gO3kmfSDLtTLwzVKJD/6sYH2M1OydHHHOmGdnvQwIAY4cAduLs2Eir48sevalPplfGZGZxVo0qhbRh/aw14uh+bHeBJbQbMsVTjc2ifHN32m5Ak8AX4J84qCWns1uBHqqrenPUeVohyprmTWPD9KEce1TdACSBueya9s35swzotTYsV0S3peCM0GzfW+53l9GKZP4NEUZ1VNwajPjLHIj4uO/HmbtLyEL4ZgugKJbzpt2VrzoJyPUFcl634OoE+BSTZuZJBEY/DXZuHSPmLMEZtOvkNQ77o/NiXROu+7l0i/HrR43oVyZWdihz7cOsiIPB7g7QUg9sgTvfZtqoZ9Gvu/+qlpeOrY79dG2H8u/ef76Z3aS+IcBVK+WO8r9QEta8nAQPAyg/0X1fXK5OxtkpQagvx2Fnb1N27hRkGa/8MDis481KkQww10P/QTHOCgc1p3bZyHSffdbeqst7zKlAUqpyzQyqQ4yaCu6+0JBhIM+34xZBlUM7wJN8wLi9jIjpTACy7+k8WYo7dUgqXoCh8nW5YKoBW6jmjPrE0MKnerg8ZOzdKuw16iCrcZcGDq2gHBx1TAyE32o1MI+v53WoSoHh2T6be6izrCSrXwf4rYE3arL42dENsfSnSrCBd10o1palhU0SeNd5M7Wrtq992fLMtcfQD/ioO07YY0PhhnqsRE7dH2OMn74RfmtJnF5k1s/nWRv1ZGThnygcAqc+Im+QJ9wS83UTlgbjq+ScKkQuSFdV8Eg8E2y7tYp7Yn7b9ju0F7vm9SsYlOROjMKWInvocVbmWEXq19Ke3Q5LiOfjjJnestwB+etpHHUrpimPGopoSClfDzGipit6Ost+kXbBLh9M7v1oS2FZuyV4Qh5yl/S3fItZEF88EtMGRRSUbo0C+8BBLr5AsANoiH5VaCrewL3aWLOphuuHJ9lMSN5Scq7W37hyj8LNkXMKzr0fR1E1z0ZdgUsMr2Dt3iYBoitPrOKWZgYTVNq3tKjUc3htC6GD8PEStCBvewNE6mn44CT4zq5V33X0nDScrZ7+BCse38IrJAFIevgbS/pLdqCvYiXKo028uLaRT8+XaIlfTuYM9ACeTzp/AQb0BGCC4RRPkQ6xZbLv0/BNQG0cI5vwP1jNLOiG1e3+pbojcKvIpV350UTQCGwco/kOaP8Nk8yL+hI7+WvnlSjs6M0lV0Ix0R+v5HvQ4XOrRr+dDMJFKTwsMwZHPM5GgG9DkizRR9WYOsdj37d3o3/wBFUg16rHDvnAVCsvH3eCKlHjNwjzzJj7Mtbs7Rb/lKrQVzpOyGZxHOVOnrYvqLL15d98ZQLclBcWaTCuffjKxoASae0Is5+J2hODVb0zbfP8DYxCz5C9lwFgC1rhOuR4BIhFZwtVkU86qYuB2bIj4BpINxVaxykjG7XYVi+sOLVZrh/uxXLo+x0hvBxYKWaR64A2J+StEft39twUh7P8gF0EUNGPYw6UB4zjtIF2UTojwuTemt2Gf7vN77HYP3ArlD+SV8BJGHBOr4mYaJkpTdlW1tMcDwnnpBAynepInNXGTfoP/QdPrfYFq/W6Q3La+83wjgcGZ7TaKXTa3qk4PbfHAShWFKWkpN+q+vRkpjIgVwDg/P5IM81KiSqVE5Qlkpol6HbHtSvSd4oY3hHmOuoT6hlniHClHIsRrGMp1A5pRbJ8o4CjUHKFpbLIrjX2qoEoDENUox55qWq0eI4J+6U+loZIdN4iN+MlhhKCk0L9tptdDtbBjfU4Bm7i42uFNA9QbOWHUPhs+dYq8OQ18HjQK/XiuQqul9vy1wXQfjPfuE9mtWW2ye6zW3SI4yawQdGwyhiWfAKNsHn+wu1ni95p480ls+jdcJ9OlBuCik+JgfTB0HArDeiV82RU3hnlzEx0IO5rp5bWKFbCyxGWtSPCv8OblfKnYZ66qGRWffwn6bNoijoqfF1GAlFFANhKAfNyvNxx6owEKsHr42Axz/Lp+ahXnBAXvB9LqDSExbvfuJ0ZKkC1HWXn7DssMiiBQk0Or09erqsa+TbmMMZ0cMmz84OVQ93BgSuB4nsbmOBPWIqGJhok5liCoehkguiIhhMp+cIp5rERJBQpgV6BwvA4qiZgDmlfAMHztsTU02FU/qydnJkERQLGF7diKps0zc+OcSdCtc/hFvtCx0M+Yc3hkpWlFkMym79NbVVExrlxZjc072BLKEgO7aCtWeeeu4pWclDAgiUQZmtbkygyU889dUu/xAp4s+EOZEhTM8cRXKZK4G8MoQOLtkPtHJ+XypPBr0t6sqNRH4YoP/OAvp7fvrbhHEh8QCKeOegxxzH68pjsHcsXUQsdqr6FOr+Py3NyGQJExOaQQ7OiS3ghWSl/AdOW5PpHjoRBgcUbiw6pgLz8ox8z+VdYl8YVo3vM4LMcEUZDG73z9bY33e7ybA6InCW8l8f9ZbVIbMvkJInloqToQorwaWMuyyA8Jr8FdGHRoByWXeRebE6FRbDI67llYO94D6wpqNOh9mr/YkVHBe+eCgR7m/3gY/U+pKXz/cGPLQHqfIPAZGjXQ556/zpHPDAgv9jVzOt7tOU0WHuh4bZjL5BCKhl07mZHc0Sb7+nJ3mdz5YtkrNUt2o65WjR39tnE+iG0qT/YQJly8dkLJ+hr0dXQoy5CmpBktgFzJUsh6casDn/PPolW8co8RIq40lfTEw97h8t67iQ+zAJywAf7JWIOA4IMDiPrqxOJ1bc3rA16m4OISlpZQc4fFLkqDk0vZLf/JrKlOZ06iwLscG9WktuhyuDEnlHs20bD5MJ139D+kuOvcRwJQ6VTd6kvfVkCTCor6OE5MxhHR6s3D9438RDpzeSDL1w8l/De/iN5Z37m17FSEcUEx1l2V2gqFp+NKbGzmSbsDDPjV0c0D626E5UzacUbeA4inVPsSbW7KUWbjscKfaeSDeiYOTSExapxxawJJEeeqJEvXzdbAwCYVwaMjMpHOXvKIKo2/BJpWhYaMC7gnj7TIkOeuY7kA1rK2np/PX0pmGgAwwEaUNlorcHuEXNcJ3/k6El6UK+sT+a9EcJMi9HtiiWqEvcwXmSdZ/TvbFFNmFAIrjRzJJUBoB7Tjsf5Tz8bDVTLUdFQpXOrE7xN7BKY49Mux1AXVHCQyW6cw2kpq3OU74zbRLfrFIywhR6AzyPb0L0X4Hf5ZX2ao219c0/KmsziliXzlu6gmLLCDy81i5ZXDtav5s/nYOaKT4i6rDdg4jmPgxwvuCvqBZL8g7GAGkcxuhauejsrcd9LDy3EjKrznmOghe2geUlE3KXIUcBURHXTH7gUmqnrYknV9TFm+14jKKgEbV1S24UhI7XktOrxE/cjp5REo+DplhBZLAAU7IB62OjpWgJgfWhhqqcMrseAFMBqOzwoQ0nuay3cvZypH8p+RiE2t12E+7OQ4CDGj1WZRJL/tE4rFtLf81sdjQzEUfQn2Qsk3tSPmwkn6uh9gyKSBvCoAEcsZKiz5NRc4kTinmV0/zBILUM50GX7v+Xy+uWqbipEZ6VWwl7oWcEQG+tLgs8P7cOkUxKAgHNbzveOFriIrlRR8TQnDCMjRoyR/bGaXKfHYqKBzcgT72vudeRXBsORlpWV9J7ylQgSz0Gh8WqqnrCUQtNNNseZZrOtmzjp3BTeX3Gb4x3y1ovApZqJ9/utT5pi2aGEsWbGwbKtRxYikjMt1xfTPNFf1ga6Qvj1jjPahV8jpRKrn8UDDhGcIkNPTYUbtcaB3NlwxbuXdh7JBr+50ZJtyvn3UP/TTU3OBxb1GRqFMtYPg/9y4uGyW2kHuLoHqNE4O2vqvO46oy11ND0rEfQP/GOQfE091qtKl/d5GBzxc4Xx4wnL5+Qzq/9I/6kWNOPgGkZ6GfCh5W9awsAN2V/JELgGn4iuh1xd34h69zDvGCzoLMTHO40zn5hC+yzoPDbLxct/NB4l1UP3Vr1GSzqtVH/+53Cbt6gbMjryH+YM6SnHPRWUclbJM3X/aQ5ZZtBd0cDfnsLTKPxqNrtQHyq99AjL5BEf2SBaEY7jMvULml9qDiykzUyX6wSD+sa97JvXfXG/o7tHk9f/KwjGy0zvOHIwjATYBATQjRvg5vkc/EixmALWKWvC9cNZlW1Q0YqjMGSsZMSfbfRM02PpnXH7W90bRSXFmwJPggKop+K46/n2MKDbWitJWTdfIO4F8vD/xQ3YVX9ljviu8q7D0KuG0EEcg2EhMQm51nKcgZ5c3UZFwOBsnZ6eR3wSquPo1H683Bc04igXqzI4TBHiWqN59bbzXtx6hOSOfYCkV2l8lCGAkzSAlNNM5FphrZxSBS1PtCAqNNFMgPtTo+x4LopVUqsOz1JsnzjZGT1LtB8o1VXp6uA0wgW2NiwaNZlvCsn9xwK8X0Z/yRg1ucRSsXAqNa2sTji6DIIVt60DnibBl4Pf3AQoqb5I94yM8KspVvYMAhUWBPa6ys45uHSlugatMJF+q+BjbPCgWYbkx8Mr/J0JfMbNgXe0vUqA/3C5BuEKQywqJGc/ClqDchcDIWSYPb72Vlw7X6y49wTQ+kAAt2lNdt2H6S8RabiVvIpqdfik9xUfgPxuQ18jN0qhIkNnrDkIDzsKgcgt7WX+4SXTIz604tUTL8qdy8FpW5X1p5LcaxotWQUvs8ErU3GmC2P6KCqtWRzhE1CJ4YXZx/4xYkceTtV2lZ4rQjPiPS/BpzjN/SEGpAAdRY4myPbrslbkMPC1JefMY5Kq+1moNcw+FMwerVUgIq/lhDSJ7F7lN5QBoIxNtnh0z/mOKXeUhZlmYiATnXNEXG16ffUgegvElHT0N5qWORBHmR8j6I1e29WVP1Cd77OQWkyH+bz2O3dx+N923ybw9xmJQnh7MpYKosQ0uYrpLEjBTOI3sQg+SoDk/Ud1iB85jYsbYLwOljF/BcDUlk3WRDGawQIVokX8WfDmxCvz4z5JXX1zBTnWyMI/VAR0z4h1TQxo7XZBBdB9Khpn8WyB4RV8trUhpjqGOnsgZoGQBbz8y1Qys1L74f9bQxh7mU7d/noFkYCORx8C84j+Oimdbh00ayzmtZaepR/57P5ZkCRdnGu6Ptr6/EyQvUx+sitp+oKgJlxTlSzA126bvd53vo7zIa2eYxNeF1DVGXkBUXby8AoP/cSYX2DIfp+MdI+BKcWdP3VnchO/8YEjeNmVNYD+AzJy4pI3htB0E5nIlJSUcG5V1XMn3bFgDc/3xACHOJZH7nFc81zVJTxOTBg1d67RX252vznMn0ltHtnp9TqNZUfwaNZI1qKZl9IuZWjchGzuTzyxA4qXNhYlQAOFqReh81an+xuglcxtM3CSlAAdzdYwx16XIuN3beBU66YTjty5MFI7hlwyYfjuq4rjVa5sxBIsEJJE7wEuhHMbKqoxi1sGvYRjf5zyGZ/5PgfL2MgtVBHuj2ILtfu/6/EWFKFhFNOSfCh/z2Y+cpItWiIb7NsdzJVy1BRmJgLnTgna+DGhV7sCj5N/oBDjeBNy9FlJPO9dXwsghyCT5LV+n2pV2tnYlI9KbwfSaz/SABJ2d8PzwqofsM8sRDSBeAwkXWu8t+rwoignt1e7Do3l9vbZzpesmaaqMvEGNdcn0CQpoX3vAOpGe/xieCq6EqITsAPeWbIqoawa6UwIz1hAuUoh1hFyq+bUM7j3VMtnj67QfsXbuY6RqF8pZHymZzOfkKktNsLhA79fwJthWoCdC7PUv09tiOrZMBrZrX/hQoXGDkjp89iAAdmuRzp5n/PopgwGxMm17xu/UZNb9wtnYOrImt/jXgUyB5svI1RhpDZTHAVyuQh+CgdOCk5P39dEDXwEHi/gOVTKMOfLCoStDkkGZwvFa8cAi00pd4PKGWwUJa7MgjKbE38hVobl56rclxxnZb4XpP03gPigQk3IwQ3aGZEhsgS31870sLl9Y0JFWCPrdeUFrK/1V9n/WMoo2ZwiZWW+4Tz+hiQf5sOfxJY0u6HcVURKQXokXcX3ZODbVKWChPdYZmj9R7DOVYxyy+0dTAcf5qCVjlVyUgnnMbwxLRE0fhs58RcqYUXx2q7KkMhQkMjzvYdN4TiahO8ao8JRebfvCuezn3jHR0ug5uOozvhtwU/HkJUIYMJJI6Zy4iRCplxiScTc/5K0aNCm4ORD0y7dX6G4kYN5zqpMZXWHIiwW2Yqb8/k27k1gdkG4mkjwiiQXteFfcq1NTzioqDM2g/JNDGYlloDsAQui+Zujeov+x5AV4tKVgIR++JupppzF1jEt9Ps8tT1by8NK+ud44hkJka+KpEHUkJHdc2zQWinu0fBhRh17ZHx4XmT/2XbiX31zqvyarf1UvE5ZcXDoLVcfq1F6MIh+r+TRWro5iswVNHAiaASt1xQmnWc0jMnhfJdSm1H/KOxY70Dqk2JeVoRV1cPHLgboKboyQIsRWsW0y2HVdYUoBGH3qnuXNKjYh3X9L+BlNd8tzGF27IwoJSIghX0FlYDuN+GgrQGQdYzKzU4SvWmeLHUyKIzwAtkhxM/E1AZdtTI+Ptm3Lu96GA2+nPYxSo4ytzmk6qjwpGm6TqgcwtLAF/kw9ORjHywM8tazZna9LFt+NVDH71bF7Us9cSmX8+wrYclVZWbTxdjMlMi3Xqi122R14lhmrQ5Rns38KSkGovEOZJOAbMZ/z+9EgJwWdwRXuFgeVbl0cmp+Z7XaMzPKNSO517d2mCG+wXGCJmYeVNUN7TcXbX1WTDNG/c+MJrusiYV5aPNEdeRG6Ys0XmKNMBO2nclvF3B7s4p27VIHU3JvXP213cqyDp4vuIbze1dk8W50TDEPdVKG+ac2yZ8uQxmfV4Ee9rlL7sgQBfA8PR+Z5DOdIqwWo3bS3DxmaYbfFHlEIDZHgM1gbClgEP0vJhdwm9xeHAqpJYKgE1z3dxC5sJhAl9cqcAbrEvi8VxYsAWAG18KFXMiRMiPFPz0MPEQ4Wyl2cjq1KlmBiHHYw/z+fimUnqTyNjzLAIGECQKe9lh0qw8tw1gIoD5/40C17JW/FJ//2DJYkB1y1MjPlqkMoTOu/rfeAkD3heBKdSI/nAb+IiAIJ+C0LsOxs1Qw1ayt6yfRZNiTJJD2xCGr5zBzVNcXKV9vaPD8uGHcd2kYbCbOak5M9DRM2ykC/+ySgjGIy+TpHFHKBiJ34F5In+VCCbC3nb0Zt3/1QVYBzLkmRTVYSNGWdeemKLHtw/pa1+wxtUFLRgk5B92CxlNAVTHEsB3GNMVDGVbvOOJWnE9muvTwMh0i0+m5trAN0s4bUdMZtkAqU2jfawjvsdCFPYMXiL+DH4dk0O5FGtB/azTN4Npxujm9VvOFt/VLNdUZBX/vzfac643kt7MIXPZm5hB6cSKGoextBoxNk06wWB+MRWA4NDP6uHymm3+upF1nyrPAaOH3aemxdVbvrt6N7GlsZ98KriA6l1Qxh4gUgkpT++C20DLRCRJpbmjY+GrnSFRQJ15m8o6MywhToc+bt9oeM/lKFw0sGArZZfFL2qo0k7qLTPdObBgDPlzhGEeHWh1R6xObhjyCVysoG7o+DrVz56bmNoL7ymYG9XxpQ5kCp7ziF1wRb8p6hmWTbjgTcC7BxLJKxM5wFSP5IRvebP+TczPYu2xLkg+tlVoj9anvQuuB0EuWCzU20VPRg0xUSh7B+3aN8Sj6pxwrNifA5a0kn5UCRrIDqdzO9WM1EZKvTr++eTm9j6eR8yX22bCaTXE6d1++y3Rzoh+3tFJJS2UqjyMW5vGOC3fdIPOo2fJqmFtDwP608tkD3RKocUgG2M3/4kiuWGXXcCcnKWH+i847NrvqR5yzbDRWDkrlnLSSBQq+r73iPT2YhatoY1em66VG3iRN+sjZM94YFnbN9/5Ehg0WQiOOp0EtwxIcF3mL39OjJIKruuAzGlzeqNe3Vm7B1eha0FoGdrUwNhxfHchhZvWHvb0E5vWOuoT6lLclt8RL3DzFg3M1rjCevLo1G6OCjlHn838FXn1JgMrWDLSvVE5jed0TlTQhfSjsmtOhb5dE7NvvfUU/i45BjewPsAolVvCskc/TER2X3YNU5i1VV+kVdiPrMFzF2htR4ZAf0g/sq9o/HwvHU8o8PakkGbXXhscy8Bt2SRiDo87AJLSLkRfTSxpQSBSTKUZ4zQutTUqGQR/DxV6hI5Dtjhw+qgNqhkel7CIItlYGotakuPv0CEuJLjQLMQzI7Jbn2oVbNMetc5wFbPhpQsyYxTDqXaSY9ynd/6T0NAvMT+bBRfVxvlA99mmQyiqYJ+b6biNWkBRGVxlvD6NlVtHSvusaD+RO3u0rKF4VMN5VOmzKOmAUpaBquywIi+Gli8/nI2fbSh1IBKYxkdgfvXO1h1LHNDA8crFkvGj9DxBzV+z8sJFnQmIcXDNdR+tBSuB/8up1YarkbaxrD6WHcCl4S1OyXEPfFl0Z/94WaT10fUdSeNsH3eUkOvE+OEKr1VBCBxx5Wkl+eLQdONqpvSp4b/d4+kV1MZcT1NYMYHcydAFg4UKRPEV8ZpwXLfSs5Te3rxUzMyFk0bh8CmgwdtaqtfQONt5uS7hcIS55soBV/otxoEgLlThSpUDyoV6IsI3Qbgjo53cND14dohWu6WaZxBmjEXMXkcFEJ/a4PM5hbheqrHon0dDC9As7k1FBrclvI20JXL6WZI7rUV/p6Q3Edoqc5icyozYwsUJIv6XIludK6X1O1x1ajWsCzDL5a5Idb+rXbzYYx3s1oENIsI38r/wfCOWN62KtiGRTL8zzAW+sC1W7T1Dl/okn+JacUfAIE/afXMMLjL5KvTkkSnzcmqsOTxqcJ9mUfiIX8+lZhp0KiBIUyEFpVLNfdBmryVHI9TXdOfeLXoPpH9WjvTu+rhnGoiuTgut59YMG+n9CIs0B3gg2/SrT3yrtsJ3roUtLH/GyngM6Yc3GS8km5u5Nuc5WxWZkk8m7jZAiWC7f8DMLepUTlPq/Be9CHeZ+5ZqQgD7dOLcq4K0p6D8lIa6r3H47oIIvEpLOjHDJsOJyDkHT/CxEGj0n1TF7/tfNp8dfy9xih1iHieqeClgr51KDXW7uJBSlAgRiWuZVxIvohlqM58hJfHvqo3vvImR4vJYsWNs3hs2K+ZdkNI4lXnobz2pSF39RjlWlOiRHe3LuW+QdAe7Jb7K7q6P3ylLZOAlclz7BwFhbXtuWTTMr4IUxRQzAozhYHIW0VqLkRkGkQA/ClUAFhoONOWP7MbvmAs73kV130lr84rP9rufaf1USAT0kLjfAQ0rGlr+OcXXU3Lx8Sl2zAv6NoBFzlCqGm1VlSaOQFSofqdL+7m9fiI6Y3HfVDncOFEmJmrqmQAhbWnxbHiVDIWbcP61Tp0HCnbALz2u5fkRyQZb1HJIBEVCY6nHOQVTUjPe3O/Onwr30OXG9RsxMWayGTRMpZjj+LSItl7eMGWTXLe5WGvFEdLKFgnmRpp9w/K3zkN2kwoQOwGVMsBRT1i49z4N7FxsoUkxIVKhedYwjC+AUEIJIEI6dFaFExnjL7SyTdM1JO4tV/gRgK5iOif3b070IRjQvwGlwMTsK/QngbMtzciAVabYgDapqc3j0sMwmiAYUlUr3KJ4QCx6yNFYU3CZN8qG+PLaXB/lZBKA/eDKgg8GU0CKnepl4vA0NQc3Nuwg/hRZkfTvbggApAflni8LzFLZXTUC+4MLZwtxsjSTP9roibANOJSxbgd0C6aCwGo0HPeXFSI7+oyZGPE4y3xuXf9tfpyJ9GBaV5rezqiB9ajDCflTbjLxyJvmWCXXVBEmUKZEtUD0DjSnjkQbEa5lvBUzq648VIBJp4LUgF69n6OjtxoH2ZTmFdfD/aPsnY5fGCsA+TyAJoXTUR9emlyVaOIACoKlbSW4y1y5qzk+2tE39zmZdyTkPkks/n/w3fNppZpHvK+7o2/bsDot47eDeUoQxKTh2WY8GGk3bT50BIiNrdrk84SIsq2yBj7ioRdzvOffyW5xab2mpFiR+2LOqWOxPyfIwzfJ18xti9fZzy9gpw7wwxdg9PadlDyd8EtgJuCBO9JlzSXTGNiHp0JB04hfjRmri7kzFKz7y+8wB7nNVscH2NjRUvsShQA0oRXgNjBRAVE54vLP/RRcHRMPkAMN4nXRKVjEGX5S76Zvw4gsFVIli0q8BPqUlELNWZMTjXoKx/scrPP794QATL8Tra+Y4lSDDVVt/7SWGLHvDbeswOzkTnxx7/usWLTBUgBDoCJT1lAZwYWsakGBk0+pjF0xLKXdQNrBq98M7BJJILl7A38sAxIOMHbB3jGrnO//wmEmGwq0QpuRYZqscDYRZLUXctETBNtxaSCroZfEs7B5Ly++Q7XULQEkhWeGDEQCBJnBKqcGWyMkyTdr8yF8KnLEsKSYeAqmHcAsLogOLBwb92eHRms/8dshEzdEx3GPTG6CtywoIrAlnEsxC52wxYYI2xRRqC3PQyhYAmTd8yc8WdHLiLTYzxW0aEO4/8D/rghVfUA05YyZmxH0vX2FIf+zvrWftPctQlcdYfWPv3saNPaOZKIF4fupIbOITYCfzFHvINMsfPx8HZjvJTKr5Qb24HZ/AzH9T0n1KdR7zga0Kjjpw3wWefrIaUTsHWp9DbmKGtQkfZc2YKkkd95ae6FmBach7JhFqCnAonTdWihqLCuB/geykPnLPXw7xQSwKXZW04f28Jiqu+YBut+thk07ifck1Ny3GABLiLACTEVKcVqZdyhiAlIwAFep/mB5vw5orQylWOucurRs3JCQPVyUm3RVYLrmDCXumx9fomRSV9VAK7L4Gl/apDeOtCmERy+RpaiFwO+SXrt5lmh9eOSqj4iFvLF1VHqh4bZZBuNC+EM53ursBp6KEHwO7vbEBdZUM9dBnz6JoGjKD9pfG57gUN4oDtdct/TGBSBw2DpfrH4JnTJTzyVfFV+UWhmWGdekq6wnfpatZmJ6FBImMY3Zuikr0UZCelbIVj2z084IWN0cksHyj/i1dmavWjywxMY34YR56dPAo3xDWK5+IznzmD28XRUavOH41AkXzNbs6MWgOFocFkdORLUqezuItBMdmMFl9m9AdTmFfczxqJeibdxbO+UMzR9jLl6k7rB5fHvs+h0vXzu0IMyGm0v2ROgmShK+1SkRhDQK6bUxhJMP7OZLrPBJNvoQRJWfqjHXOJHuTQIni3DYJs4aKxvLOudAdg6YEkDqYDROi2JzfbKqL8SrBBTG8hUiF+Oi8+dzbF07ncQqf/Ki9oWGJQpjoYQV0dAczN4zFVEsU5ARO+IkeA/dwsmd5UztT5/Avy3a/vEh0nuaHyVl5gWClPAyyPMtsw1OyL6IEwggrXzdnrUHNIOmsDxCeHIyT/zr/zkZLLP83ZC6CEI4KbJvwUyp+rknWz0BlHfX0Hx3E+uMJY1jSQKih/DKzF9+5bZWnz2Y+RmQfEpD3VEv6nZ/xrEJ/fZei9iWOB6FKTL4np+DDbivrhxUJPv+EBQfbXV0C5MhLxD9J+fKpS8J0Jk+y121Iqhsnzsl68j5M5hTi5VF015MyQIKnFknxqGTQn9LJH+fZDbKCfHgFzBzPGZ/mXIlWVDujDE6RR3TvfQGS1ydxlbFkhxs8TuKks/nBWK7JxHfPwEdvWCD/c2b3erl6uJmAReN998WpaFVY5XKFYBG5x+LiR9ccbuR22AMkXJviFlWeiaO+UfbHzZJ6hIgytoXNpR2pY92fkbT25RzPNS5ZBwdjwvFcEha/K032qmhs0E0KauhDNh0DLv6xdpxCGshWieYLvZEr43GYDE+gVvURc/WPZ5UbTsvUpr4ijwb9YlIuxIAfQGub/hFHWMVkuqkP5GdQKEnTJO9XTUq/hE1yXV9hM8dFdqXFwE0/qSTwnTb22t7DBHYiAt9LPBdSSpeny66EpEpmUC/3R+HJ29uRMxEwcrhkBq5MyyMq67X0QZKlZdcmG+yuV5bDtQIaATIv/CMyvReRvFhigR12ofPyOzTE8aEM4IPoYiVQ4TekKwLXeGgx88MVvfW555ezmz03LWKp4HppAxpocnjKly5B3MLFsnDsIZ2XscKjm1Lux7k8i+3whwuKjoNN+i7rVHm2vSDdN5IoGQC9Ezfeb1SxmBMRZnvBsLR2B3JTgAbymDtnUWHtE5XOPpd98Lew/iCqqsl6Pnfb8x5IWRHMro/8ImMyhRiewtujbw9bV4hHMgJz0ObyqDZF7OvlaVSvzbFU22CPS8jI7GazMDfh22heJctJj3Gcqoz0YDwI09hzZ1vBkI4D9nqID9Zvt0GonDyNrB/QlJaqGA9kfiZpQaWZ45yOv6j2YOTsAHFX5AWQrf+vuVr7ex79pQjRLGW+2rkvBkM1YjyfdKeQg1wnQmdx3hMz/3xP+JUz1ul8QLxY0juP4asOmMgry5aFNz+5CL3bpnabu+R3nqbVvQwoUG05MeFqXR0zYnHkKPRXjSxlELecJXoCElgK7b1nljG85BPzk6AuQWBH7FCpjrfasOIyYbH9zIMk7rv+rPhfVdZamareTj61PZ/4t8R48a9jDDKywKT1Nf9h1Q1JDczT6xawuYd8rger5H76xMGE+9csYuRBZ/6rY0aFaZ6fXriZ7Iri2f9Y+YK+luogrWWCIqzohGyiZb52OFmWcyb7bLeMYp5zaEhTXcq4bPv7XHl4dv0QyzgK9NTuzbGZrUiEs6Fr7lNWpoIBh5kPX0SQh7svMsnsUqa+AOtWmnVOoMKOmq9RiYzMm1vp83DiTwwr0kfT9snbw3b15imfdEFcHFHYvjMJbCdNPxLnan4rSVzlUA1ee5FHWY2jFeEkAuHW8OQaidZymijCE9nfy3aUXqCt18rtx3vDaar6eOl6t/1c09aETzvjj7ld8grZqhNH5w31CQ05Hw6JKMASt4DBFrXA32TxA8suI+mLxVVkCczz0/+gZYzBA+l3J42syWEiWPhSSJDy5LBRgTfK7K35Fsc5/qWJ2kP0PcAQNCQH76EajafAR9wcjPNysofRAIiaKPUCez9kEtVW1sztiBw2RrDqRoazstp7BdqqxsxgjyLI6rvHzWPVS6PHb74yEoLngV5gnaTVNu0SK5CFmoSCTILk36+ZPncYzy8KqsJko42Hu7KHX6cA6ky69xc5m/vquC9bYyx4VdjraXpbLaodyoDr9cFn9hQdOJSBS/h2d3zbFqKam9IG5N6Z0Q8TNjKvBdgon+/Y6DncYidMi0h4wd13bv3UgnDJPeg+JYudcvR4OQkENcGqp6lmpspKhDqL0+g/oYwVN5ERiOpp2TrIVFgWmXMPaRfjTUajVz2ZnVlD1li9CLBZFA3WmOA/M30UtqWIQLuLQgGOdWoJ85C857B5xP5D1KAuK3zzHNmbpAytgHPouPDhXO+9UHY7XfDA5PW5oYgwsUB/9gOv1JrDQ10QAMLJte+S6DApDR5GACh/hxV01zCnDXwqYxputOZUdpLdXHpo3jcTdmu0fiq5hQ+EzxZDPm9ocRBBWuiL/YuDQ7azHfhPaP/3mMY5TC2j71hssyR6otMN0/biJIndcQXBHMeeeTMzeAhZOroSoctKo3ngJIUIyFjLvBrWbs+8zYd4qa0l9pEnorBnmod8VPcvjrSTBotlXE8kATvickZbPCasEpraDwT1iEjJYiOwKawaVAq1L5jVoVur3UfhNqDkXxX01ioejNflKfnNTpvqr0g9vRLx3/5gwTHDBE4Flf7dwnyP5rhwGqOCeRrvQqYDnPIctrHYoyYHFCm+fsNgW/ccZKUwAeYcaf82qpd1o+AxldB0PVaHZzUuc25RUq6X0/y+wppZOZ2ies+XMvcRCUPtXjBFCEp5iF9Piy2htYXt/iNVYlBMGSwUITp00cGVs7U/PAQYcWQ1rxzaMB945rG+02OXhoMF2g8lQUmR9XlJ1x3sq8rfvaN3z0mKoytsci10M5UIXlzf71iN9LOX5KmtC4uhJQlgnwwLOhdQ9hltsS0SKu3XAeeCmslOj/ARp+zN9cuM8jKEmy84Xj0E5axFtDzwelTNkWvdNPxm5QKM/eGUpelEVNjopgLVXJsSD5quhn0t79I6wYDB6miY5s/TXhlJQFMegSg1J0KtR/Cnf2dsUyHJG34Ua2iomabE1vu0yozKWIYWf3AV5BTuzHK1I2rgKgkUmCcHG4S/XC9zb1LaUjze8DH+6ND0foA0/8vmxeWGsnD/ERhwY7Gf/ZIBgu+dBsrznoYV1ZlncBvxwC9a8mgX2KLFQ3Sbp1KWF6zbq8Oqfo2SOtwUPSQQ/VsEQ8WhHJisgpxCtuqtHQt3nIXSjFZnBPiaghXLR9RcWOi6dQMv4ZTZLbtprkeecDVMtRLE7C2M9pVO+ENjbLJ59rSqnUSCKNrcPJu1sMcv10d1zPzzsN2Udx/VpAroCwcs5gO+cIuif9rI6bO71dZRIhnwdOo8J9FnZynbUKryjVepEJdiS9777gO7GqKzuEx8CV7JBXeCMZmegvagdxJRmHmoiQP8q26kNCn2GjEfsrRuR7GHSfdU56ZYjg1YokGDE+lr3Cchz5FPswafXweFGc/3tGx6EkDzKdcxqQqy6uRro5gLV2znRNHByJ6e9zp6ITjMXG4sS0dMfwSfy8xjBeqXs5melpFcI+U/5qVb6iydl810MjMYVl7rq2XQjtXViW7Y8Mbp1YT5V8vIsrMNMtUZwPk6VpWYezdIsg2wfZVcb2wH4U5C/RLy/zOTajAAd9YwrnMwwwxveVAEyZzdZvI3LHTery+0iW1w+Lg751NBoENoIe0Ae1JrLhFgZnTem1MEDhCgz4MTcELUQ3pd2RSyIta/HrMHqTh4uEtqJ0TNRYUIW+GFev/MOwgtBLNhkTwfZ5Ly/WKHAhq76Frg18PYyrGboUBY7rlqw2LZlu2V48J6/JBkfoQTBbsH1lXXhKK4Zfpaz9UbxkytRZ2vVspz2IudbQHYHrc8rf2CMyJycJ2plxr4IzRogZ9T/z6KQhWjcLIGgRDZm+mbv7SkXJwP863je0OjtHzUDAtfwLCQz1CyF1ESwhO9GvXvYp6X2q0tpbexXaLB28bErJZHclfNPXIvKcwr5A8o9num3SlQC82pnSa9z76ZBlviMuUZctkk8YGe79iHOX+ZS6G64fDDL8r9bDRALBDSqNDT4oPWa5708xNktQp2hPaUY7wWeEJsN5Rxb2Ag6aLV/2hydRStihJehjIko1kYb7LWgBeHn2J5HYc27AOBuh2YDklXJjkwGQ/YhiiUsycJIkdYJ1gwdVY5T2Gr5R/o5X2qGRKEqE8D63vLefup6lWeoaTa+L/N8ldteboij/mU+2/ff26mI4klwKtsqa2cKEsl20u9fkKBO503begb0O201u67a58zV2yCwWdL1dWUI9x6lhqfkuSvFVB+xzIwyVaZIf8VsMVM87SzETkySrHxd/Z/CSZIRZXbth0ZRlUDJUaJP5zkTXOWiBc8E/s0apZRVRmmp9sBVp3i2jqFb+GalSiBHT4q98Z4mMUk+H0KPu/53rUsTwu9yd/5yHOzB48gsP1p7Sb/65cGfzkIjpWJXsspkMWMesAwWPJjWULM78+sViD4CpO30aoTdmd8eudqsmf1wu+aoNi1xciXb+ZSfTtk9qTJRR2OYw7D4q7zzNz0YD8lVrcDWQJqTycmwjQed+/5hdP32aaxc3BpRjRZTa4v2zFhXRwlQPEmMAVRW0mULuK3iZRk1X/OqXkxf/toN28QrF2hrX8utOTZusXK+8KvrpGU5sWY/KfEqtAugkZfB6NhctYOHsovlkLKwmrkCzQtrNraaZN4k2poo7pHwfEb4ng1esG8vMHprrG7MZXsRHSo6yBsfjrvPjqBwUDKz43UtJRgn92QFI/R79WgVUgK6vhnp0lYvWjB6hMAavhWumJQj3vs0k3ZyrKJoV735c+/1CXARG2IVPGf1Db0z3DqpfgDfKLhQfewbj46aqLUMiTMl2VKyGFvbhX3fB5oKPG0EgqOMLhXU3PAVIGrBPZ9TC5esS90sQSM3FoidEkLtEO8GP30UrO87I2acjWcEgrImvlbnlFPw1snwaCBPeYPBnsjoSx3YBPZJBsDH9GPmkiAgdAOKwrXfbuz0UZoLJfSc4x43At4Y5W5S/GmKq8pg3E60vrfzmbbrGhpNvMWdoFvF4CYw8nFsSbc6YRxl+ftL8jCfPORA3vk2rIJsR6yrfQ0CsJPCU212Mw0K+tnsvoiwWl4zognOhvziCWYW0ai2WAx8ycsfcRAXEA9Lu+wvMv+w1o4u+uc4EWJFHweVzVloZ8ZYiFfEVHCsG3aj9eeqOhWMO6gmkRHS9Hu1CX/x2Rb8rrj6UGdpTkidphPJEUuYGQir91hWURp8lHlDONhNi2XwBMzo+I+3NEY+Ns9WDb4k3QMkGNtLMY54gIh25HKCWswGdyDo7wPy4JnGCeeSq8sC3DmXr0/37Ym80gza5HMFDpnM8gedWmJ3dIlDrjy3P2oe3FM3Je9iQKXbaDsP71a44SKIxpx1Fr1SzmFq1M9K5yhEKqWcFeOa2psxhbVzMbykstl7nhmzEpzITL7F3nvrrxF0XIbsQPBTW0LrTH+/FB3TBf8xr3NnXaCabiZ3kFqJA1G8da1mwDGa6cxxSgZuM3dA+Q7PqVsHpanTrzxtCsIWFlHfDRliFgMFKEiRlXKn3/OEzvIaf/r6xCSY+yyhjxqx6MRN5RbgWgqP03FY2Ddelzf8o3a+jkXupCYlK8Axl8BUkBQDShmZzZL0jhR1hjyGWYSMMsS2ZifXPid1m9rctUHT+LI2k4Z6z+kdCtxR40dNrzmIB0xEV/bJwmWHmaMTOmYvS2H6miP6x7IZ3B4QIfdgUQq8FDJTbjUJrXeUw8zMbEq0Zu131J8p37BwGWPddoOpqce73jAG4cDit4u9LSgvIsy29ArtKeI48Ilo+oHHX78oKJOLltwVPBcpJnaz4wtR6xc5TnoThoOG/aI//LU9hgvUgyFfiZde0DHydJOscsm4rVZnKFdVbjy3+QZ/8VFO64+pToKM8ITgwvXoUB0OW8/Vr1odNb0nfWR7KQoJ6Pm8t7r1eh4PwHfNHCtFMt+HohCroOtMmyuwOptguEcgWtcsHIjjPsfAvW2IKvFonrYYgiIaXNqxmLAM9x8QTRhEia4KspBKpmLR9MW1jaOsTpoN/sgclQB1+LrNyuKBxZ0IQdGS0Caozb+B2VjIIRTb2E2LDRxYNr0ipFm0yTiLupP12XFHuYGaYFSAfMmoI2/InS/pSnrPSi/hYO97IWl5xU1690+kagbcBaRwlcdRaw54yMr/Pm6vVBx26EvAUDrpgL/BYryXSSNuYZ0dNNQROeuK4OAC2WJWbyvOrdH9u9rcs3oMY36T9RSwQ2vRXMNEB8guSWPEIj2wzDAckS1UIr+xEutQwGezjUp9GC4EPSX5hOwL6OJI6ap5e+bZ5mdbRYmK6d+D7J/wkh2jtnF5NuxZ4LHDT/eAJ9J4DaAPeLiXQJIgqhGOAtUNJdXB9pI+JaOVleFvRfJjhUK/itvQu28F2Sah65+9FTBd07ydBAwRfcyncVgJSj+3eeYy8l2s8YLmA73BtQPwSytAZdC7nVOIooVKMJ5AY5SM6rFT4lkExr35uG9gh9mABDr/YNw5vRLM+B59+hqWKda/2YKy585PGaxussvaz7huusPdHLwonIqwmvh9FpDQzWhld3DQUt/KReWRkgz9z0g/Qac4vaUS7sGCHhBY5AQYzkACXWNam8IcGHV5Rlho0+vxi9jqtZ9xrAWw+Am4vPZ9WfNuoJSB9KaGVNB7COZoEEz0B3/DAJsuwR+x2m+3wOM7/EqeveZfjF+0xXaR4/odPl0UPWh+0MUfMLQUWKdFS6IEtTb2VFfTlwSwNXKILyF1v0VErLRjonCaKRn/Q8HjA5qTIjv7aFp0f2LCld0cy5PdS8bfs+VyNdLB/8IiWG7DQdP8x/69Zz1eu0bD2dFSZgtBC/pf5/NRzIs+nM118Xa94zHoIYBbzEyaAHLO7biInkBgJHnfaiJ2I0d8h8eNvNAnXTFa3FVcZlxvfaXPHNOrvC2JcnN3PWWuux0B4kGhAy8+C6pT8SfsHrGtKl9bio5u8Mn7iC+uWGhproBxFO5SQZQvvUq+bFUkeWkoyZsHqnAk0ZClIcPKPyamGVjA6B/1StablMEAUHzdXHC1TVhLqJqdlKR3MBkAutGsRRyerUDRHjgJ/2tULZbn1n3Tn16F2SmjCz6hmfI6skIdJVD03DERYX2lr4X6D5m9ilozNNNwUjZ/8+kWzI3kAqbXkfCL2w+7KclpwN3Q0hAf5W42A6iFnx1pdhA688oUT1qXRoDPcStbBpOyUl7F6ig8pHH9LslMttNIBRH/c4DOcUwUnuxmT9N4djhlXGjGdpcDb/GchtXyvzaXdNHOxnOpvFzq2jEQZ3BbHgQhC+gJnGfOYWI/i7GnV4UoH25STfyzpKp20wn7L5LXIVj2UIBV9alQrF0Lpwf7xl54BJe9oQQlLgD8JvldG4UorHv0ps1Z/qxxutqBpktScvQGEgvvs+m8VwNPqBcE9aRQ0fupKFjflVKuuTbt8hLmyo0QeCyVbSVkNLlU3qa+CLAGjYUGdZK+IB94PYxK54buQfHL3In+IzcQuTCT8ntVRJ9wXsaB3aiyk4Ow/D4B/QC/texMJa8qaVS7KKi6/mSBCjX4LcEAedyqQdpVfVOlAHIcJu3KEK7Xn0Kvvg70KvDTFrXYOV+GYLv6p2f2luImTngvqrW4ztlddeRQjQZgjy/yA9r1Ub7jdmawEVPMBOPr6Zqo7bNDPT87Af267sGSMBQTBkZn9mtQuId4nodJUvkqFFfMQFyRh1uo6sJ0z+VkGCqlvMkJcGkkwwJRKQoYHu9P2pwzppzby7RuwrX5XN9xYhTg0ftnTLMNr5sloO0XYlwdB6QQrMjnP0I1uSJc7Brynajw30k+71CfZhgctc61uG8HmjEsm8Y+cquJIp6xpNE/u+xHlC9AqMKwMJPF7yYkklfD5PhiJr9cvtDsO/0qztORnG8/OpxlUp/w2CuukxOeB3iMemMf1mDhee9F5mmDragg1g+6HDRFoxpd22eYN+ExIXwkBc8I/SJdnrMl+qXJVEJmJnyFS69VEsCKCUdjjS35WHeXjuARuhYSKCMI90lOdHD0pA5by+XBnkF4AuhizppSxIeE0Ld4Arm+ZFYJZRjoYsC2WYbysprW/T4X/g0gDZcEGhffsalvSURxTowbI1OITqux3FovPJ49HBVT0OkQvtDuEAf0vgH86rx5D8Un22xXt35ot29vYiuAW97MdcwbiTU3eudyleuqb3sNsGevENsjAC5G1yUsV/7AmjjrYbxdpQDzt8G9i6L7Dsl7rtPGnMjDJpUzCAAgyWYSqc1sWnApSms8yuX+a6cPTbi2kpH/PGQ4Wotg++n4ytN4MzjyQvri5n82VCELyINBet5EG7aNxM+fAlh7ko8FJDqV1DtoD7yC7V0/gSVel8pRW8ybiMhv4orqX7/hduGfAgG/6yil7BC6wUqfs7VrLZXoVyZ6Ml//T7ZZDyO2hTyDX4nYMEMJ+aHKInSwj2jB53ukd8zIm7XROqzoDN33ZWWL8E6H5QaIDJwjEsGCJUMkpNAOuhjnvaxaQqQRj1y92M3WvIR9B6Xdvg+pgs++qCkHAFHk3u2LPRo0cHFUYWcMPXQrvntbKy624QJjVihFcOB86HlXclMQ+OFDMVBq4mAY3JZ2VpatL2/gVWhFrXMaPs/V3rzXeXDDeXBS4peFBHEX3U9/XS3BXuNM6GSB2oBGDlXY2FcDiPFsYwtf3IlebEjCoyvUeexfN7mJQfp8aigThzqswuSRxKxcqb2JXwJfcSUvJif9kTWPb2+7iI4Xes8v3F8LLCb0ihCLBjoMauMJ7TdjoIxDb/ZibtomFld0jHiSPWRcUOkk3F25DhBcp7QJvP63eivrKleBIVrOrkNoOMZZj0B/96VMIk7vuomq/7LAPguULgQwWeK1Iw/pfrI0bgbR/A4JPpBlJf6qADqVzo5pXojB+dFQqxsWBIhDwrSWQM119vP2zvbCojV0BiDPXYUX2B4DAWuzQV5Ym6m4LtaDrk5vx7GfJ0SPSyMwak2on1rDEVZTI+6hWtmmMYB2fxlp1zjeIQdOZKLTdGMYDuWa4Ui2KHIuuA1AUB6aEtLWVG9wepkj2S1FmnQIMeV2mSpfIIG8hwWRRA3W92Xi727Hlb5vIUe44cEUaD9unmQh4ciNW+3o3URKJ+rf4P+fUNxGynxnt4t71nSpHuX0volqjoNU0+8ExO4Rg+L7ybFWj9NcL5xJ1lpbxkaezj38kdc3cmq5krq9K7PCK3mr6rFPp1SWIpJn4iViw3hpqKjinxaLm+MSwFWRY5gc8N7Q7XApwElnRXItGnAXzvtouXoyO3aZIlkD+ONgGoAdgwox/VyO/IRXPhh8i9Q0skpwtCF8gH9ms9VSsLOT+HRG2LU8tpZpTSPCozTWaQOjBx/0EYu47n1LdqDjMdCVzesSMiqoA7dFvNHftoP6KKNBOEdb8xNhL5/jI/HlMTtwCCOyh6kITzJW9dyhpzk/kbLtZMfh6Um7u1HwlWgjbreTVWScdXdrk+Ae79ZDuv9tYitzIHbzDkFbq4BUBbJD6P5B+AFtYKXnjDT1Tykid15y1Sg+w4WmWg+WEPIGof1fQPANgedcJzwlCQmo1jOj9UK6Nqr83f/go4OuO633REOvPOCL8mYHLkfv5eop3XZH6aeNTVKtZ4I7B032qlSLptC9DDKaKoQ/2vt11j+KNVbLAiOb+jLYorpUhVpaiJcUVvQ260BKfXq+lMOiFbKU0thgZqhVz5TafvKdf3lsddbMkwNsHTfX1DZnO51zR8i+kBmlaSMMr38gsAmgOTodDRqod0IPBGhyH0HOFIjlAELSxucu0nlgQ/BnLfDag/rNsqc/X2lfJzfHldNNJfRqpmXc5oc10QEgwBZWVwIWPUg7YrEtFlNgbBvn8qXgMg8rtevMP9YgC0NVxjPS7tos1+uCvNgKbvoXXIKPWTHNkueHvX5TFVghDwwvyhjL17v+cwYu4UkwZvRPgFirlSTKtX30FJ83SUSzsvggcaqe/8OhMCsv6lJoXfxegUMfyNjJtz3N+sYH+3pjA2dgHuztT9o1qj+c/phZr6c6WEMqAREJSHW0Yb4gf9q7nocw+JyzjoMcyIFUe0M45OOREEgalZYMuTNgqP16E4MLL91uao4s+eRT9OSaS2/k+GpqNvOdp9v+2ZSFfzeCG6ijfBY7icX8xNhAJZ+JhGyxxGyOOX1DY4ikssgWmM+ICsvWy1ksvIA3ywJNyMs2oqqyZLOYtMBCqYLvxS32zcikOvhB/ME4g9yPBF/TZd9XxHU33xagESeT0u74VrJASDtT6z09tAyfSlxaQKQr3nYWTrXRThHXRgTDo6ug2v9iMaoZHPY1g456q6996riatBiN/CWAt8mBZLXlKglcenLNOJ5zo0+O/cljyG1zEDBJ7MQ/BLL09ESaTNkeYgUubOJzV3/w4YgEZFzZejs9Xx/FMy6MSh5ZJLpdissOZirJ4DQQQs+YahmJGbzx/eBuPjbX+61PkMl+bKRcKXM8Mxi+O5mAAcQwjEWePHRuArw5CBk9EKOpYy6Zuc7wjRJstdhbepKMBCeoz0Y4/aVOrCWPuKHRbLoFOCr8yh5+A1xUlqEwvTA273OygSmBLuXBp4ylqe2wyhazpcd6qt/f4KvdCaMyDqTDyrK/ZlzuxLgd35hhMdUy6qyO0wIriEoEijjHvrrNPAzyPVT/xwsR0eEda3VK7KomfuasSz2+TCOdozNvyTXZ9Dey5+LH2o1Ur0jqjgpQCHwa8Rv5ek05wLSVd3T4GRm2zJTZKo52aliz+6DOMkgCMT3+hCm/JTabit9sDWUT99dxMsMNpaZv6Y3B88SwfjHogqGSTBBEpHZrfmK+9/BqvYE723RT58h8ldMGsp00gvEfcvCYUZStG7kw/5AHO6jLozlTKE2ymzfqcy9seWCuuVdO9EQlkMtBeQ6GyVR5pZI/O2rvuNOf1bfP31TRiW8RmW63kPKT8ISqKSqcStNqBNkbPrDjlIuyydJBuT52po8hmqzFm5URXxqIAGVL7CpmS8IlbUZHacUYHm2hMgsXF4MKMO6mmZz7CMbbVkypm5inz6B3IHCRB3UeDBnFOSL/9N+9u+a0U4tK36KMUfcHqTGjhhACD+gHeyiWM4C8hUOrObYbiCm5yLDdpuuN9zjaUe6EQ/UtnmoO7xK1vGQeT4p0WvVjWqsBuiq6+BbF+RzwiFLblcTE06/Xm3efdcV6E+UOvGdAsPoA8rhgR4Pv1t1PB/odYQ/BElOzUGr+WTHfBizEPYandEUZlMaPYI2z9Vu+nSOVninJV26B5sX0Zl1cQr4kHSLWGd73XqWkQKlUxPxc5jmHIV/jg18cOtsLfDQvUTWY6rqZcO8ZU7QXOZYVlOqfWR7xztbMBK0YDHEY5+MrDQZyDBLpuR1La1bHg8PCUmx6B/jaB8ndx6ejFXr3LtfJH3Qxx/c+7dJg6Q8oNgrVn6nlp87gBbC3VX5T+Bc8/xkrUtrPV0YHi1sfkQroejLPovN6/5zo9YIljO0wkecyCKzn8j0z5hTgyrFpaY52s2lUylao7Ylnx6LThhcU9fBbZNOdfOyhWfjRzGxKw3X8F2UKwsRig1G1Rc1K6wyqaYy+cd1qTRYFKIjjp6oyTcnUxHX2mPDGsH9j3XzS8uxsppZrNeW0fJIWDEwJL5Bd/lWNHelGxOSYa10NdAEsbKiFLIC/TiEbpANic+9QU22DcC9xeTvN6lsB2t6iCc8362MVnZ0XwtQ/7Zq0KQ4RU4OZra6YmN03zD2OWZ9ye5fgPqe+qZGG/WbdrCCyV7x+ZaD43Im4xieB3HA8++HtoY08Y/NTVCTWyYYnXo7FPKx3tMCp11w/Utd124PCrGhpSZlX1+VH/ccg1M85yY3v/o9dYQUvWA0qtPTfLYE2gQqQg7C8RJhCWrwmSt9Lr+Q/pw0BhOoIaEMHDta+rpehYXpsgKe9jx5+0cXVrm5xcGstlTKZmbCnkTE5wm/znm/dhhbg7yvBGvYPR6LPK8xMgQ1VChU12zDY0vej4cuaxJynbWA354X80849HiWwoVakAMRxGWCKfQalOLeoIevZjwo8a8dLx0O0nQyKoyHo9QE/KUg/FQTthXpfGJoQwMjl+y2mqRMFODjhCt2rBmyCEczRO36icChaQL9/1BHrIdMrf3sHY80xPamAV3YvSk70kjp7xYJqXQpYH/8/I4NEz7jnCp3KGDKZ/2DXg3ZLrgjfc2DWKyg9qMb/PUdXgSWRmPACd0ZxMqyudogEAhwSe5nlMWLv1Sa7HCfEJv21mLFOU11yPR23Eu+sGLFsnmC5N4CxCMaX2pfN2aaMMYDa29q7sJg8rCyMGuELZEDwcpIAAuaoXVbCgE6djd006XowI9Ryl1cG26v6AmRsUJisX1ZKqUJk0tnlBHEwh+XSAup1rF/E59VjoPH1HXUfstdylzF1DpgOzo+30Eqc6zuQyCS45QkrJvzBCzQOK35ZRu1tOR2CRQszSiIZsVCox1vGToH1VU2mKyC7nibed2DD/Oo+Fo/ny8NxYU+xdggi81MYK8eSMrfM3jxZopf8Ky6V/by0teeDs5BzTl2TkLH56EVLGEhptvfcyVPS99vHT1LPFKrBOK8n9UfBP8fnzYEm0C7Zh8UkR1jxGRpwKQoZOC60S5z08Rve2vAJtcB06fkO6dj/7/y6/ao4YABeqAbij4GMwdissfGP0z3g1Hp7A6D8o/RzbGS67CRbEhOp170rVrlqWDKg41/b3cqOHgaRrY/abrH4WkhsBkDObbuVWRXCtzpuJRyLL7/05LxKqWx+/F2l8m/M09ccLP0ebmmjrj12CVXoMMO7kD41RfVOigt/EEUOVgRq8/LG93lolxL1I5jgU+wVLti8zfgtjSGN2dnPY6nn6ja06BwApPYPUVR58OcWqq9b/1G1r25FQ6EUwexlvVDwcRr1py6yBEsmw8oOJBDraiDEI2flwkKgX7BPR0hvTJFXkwDMiexB6PQxvScjw8hLRZ05sWPESPl34CwP7adWQe4DQi/rcrfTIQwCl6DSF7TUE9Sigcm5+IfZFPmG0zYSu3LBeyPI/ac5XQuPa7IH+h++Vi1joh2gwwO3YdCs9wFcvZ3VSdzFarSEtbv8FHnUyXAGfjoEmyDljCsYLf1tPgH+vxPZ1vwMGdgUeypRor1GfhNbDOqq/ZWZWnM9Blvy+ADyztn6+CTt8sZmGE6w+a/4fvncWMWPuFRZb+OWaou1ahMxUi7aZuFOtOVHC9+amWhWTFJd/r9DCL0E3p4E5un1QC2EMhAUTbJC8iVLBjHp4K7wy0yzDfxpgI5R8Tb2vefhoe3GtYKYSG0j47AVfhIna+7y+Mq2+wunVsSxsoAfQ4tMQIiczghLv/mAU7JvxGxY8RpbF1nH+lYAaqjqZO4vakqZkua3IRm+gjSYVxGIYUcZ2IDwc5xDKTzvvACt1ArEJK5Wrep/hX//XheUh1GxbqpKeyH5F8RsFZ3MQhHjy+rBUgDPCiKiP3MI8qWhnsDrkEOCZzIIKRlyCZMMoBXZoI9xajLZEKu2ImncAmtm6HoAzz2mpgH9U415WQk6vivIqnUrTynIG30hMUgTaJxd733281JYkvYN8O7gXj9mvvYXEwGjPSo4bwdPgc5cRGIYZSo7SOfYfGzs5Z2NPe9+GpGWpnTbhVQIrtN32xHExTV2UFXCl/YkjV43LhGQ4L1+QIxAvNIRmWm0jhh1LZVkdBtXSVGLgXQIPQzpQCVSuhbaBgJ9ITzcpZBYoIcZ0oTuKYMM659P/nHOgL/BgQpqAazLt7HpR18Him/e/FNExRE94bn9XzLB4mIirN67ZKr2J+3223RqIDtCLDm1VHJwtiFdp99NbWaX7xF4H5FZRFzRZgoDejKELLAOHGHsOWaEPm2UZAsJy23wS41AQcHzMzwJk0Ot0VL52LAEV1HOUfyOJc2xa5HZrNRb2dVpZca9DxEU4Xs5ZCHPjKkkuqQlfOBb2trbsNPL0L7BeLp/1hzoACBUWjntSmXbiP0yeQ8fN4ahbb6VrSTkz0S7LaD17B8+AmKuTR309cneSWK3Q4ikSA6wJFx8qdHwCeIRXv7KfdXEcqIJakyWkmZCy9MV6rDiCJ+vsr1YdRvJRZyZH5HZl2VkXD6gK6GwJamVXQnQ81vEXXmDERTEMS+oxOeI+IcNMoHbHM3G8Yj4gWbZBSdFdYShvW6DSgAS+MNDxQbbUWe5A6vY1PVBqFdbaE4jSfCLT7X+awQJlZj/m6a95Pr9j3LljIkdnqF9FvznhTZr8qNasOf5IE7QZ5YbqznUrSHKsppyMwxD8Jn9Y2y8Lf7xRkc3wQViQG87b2BCQVDoZUZyz4AbdnGjSnM+SoEyCHdBHbDJLfLEtUTT8vD3NfSbR46BfWXnQuLU10WBpwXw/nkrsmDqvstN5g3MSrJAPYmsvKOlX+0uHq1SHDYKfodPP5FXj6txTqkD2mcAXRAT5BIfmVHydsNKoT6XuWxRnocIo27NKmnnDvtwP1D4M0/Px8+RA91ed6d0ygL2VOy0aCPmbUCZL9EBHfdlY/bW1QDlU37JEFYPWPKI1AbRsL+DSE46rmlR18Z8gmjVDFCmgNKhCKmT9j7dvyrxJwy5WyJKNkZ92bWLMyG/Z/i0nT8IyNKkj6HgatdBrhgQrygpZCkuvkUSWgNzA0HuxLn99RXK7OW5UvmUlxJWLg0JjVl5HbQEoLN4rd0XHv8Ay62VgJTUTbjzfQnc4JbIn7waxrldScLwCJue3E4s/d2J0OionCgRKHsUTXwYwnGIoxoPOBzzsFR/y3p+HLT35e1AWxv0gO1p20EvHoyfQjjF2Qfe+jv050GgPtn8txe6+Fs4ULgyhRV0GD0YoQQ7B05kj2PmUAulnNLuS2EumdNm1E01bbNsfP/6piyFdn3n3kXVq9HL0CLX1qF/eXGMdY5lh6rQWvE5ScmrQO7b4UYjZSs35srZ/3sklsSKyuSbI7wI1x1XlzV4W070/42ttDJJ6vMhiy6wp5jvaQN0Un+k3aJ+Pw7K9qKMoMifDjpRz90WN84bgAIAeFKmTL4tx0XSbUhtDHBsSPpPJG74D2becs4XwgM3BS5mUu+uh2HkGyUD496ZJ3IkR5DpmNiUcWOBwBGQKrd9Uvd/JiA81kulhm21itLb5F+EUdKMYmSmPzNfpEfOE8RU+7iFUiESax5iLoT6DbO3HQDq9Anl8hCfmi4YE5uH2j1iRewjhUi4craqPxHjYmNH/UlPqKLnBmT0T/nqg3DbgkVXYumDZsRmMioqn4ud7pH0PNMjpRYIzSMsJqhuUrtDFr5O8kKzWqHRL3PEw0YbN1QHmz0rzQi74FUCyZS7+HBeyFD191ZHvqxwTFCrrRLH+vSkUJKcfc/SBfQ4m4Pv10OlZGGCycbi1TQK86IW3RjKTnatr6bB6eVjIxcmS3WqtSkRm2tHEzENwQcPQRg3oqXqo1AQqLtUVeSxSwa+yy+S5sCoAkWLWyBgsbGrvLSftx0UVTzNUfEKm6PqGMguJuzUWv0KRuG2V1mfnCn9hoKpYouVnINBxsRjcb3o4jSWPtW9ET/Nwe/0UjoixsB179RBhWR3imHnqmLrlaO280lshG6+nJgTe+DhskIt6+zstIu9ZTaDNSw55CJgnBvtuxB1EIr+Z4srRgE3cE/jz2W4P5uyl7U/UD6SqaAoO/Ox4RvNzf4JMwMwz/nB5CLkFUqUiJgjS4VqKyBJ+NIZE7A7nTfTa5EaE7WFhKwaBAxcmPI9p0UZGmRL4m74jPuOzZRdNBY3xlzILnHUrqEVzJ4+LVkJNDX8kkd9cgy7d5vBxl0IUGilwcGaNqXdQD0X2NOiF6oGEmjPe82i8F5wAIb8n0shDuiHxtb/TUUmeroLWGHXS72hZeIdmiebQyFKFufXZ54snQZjHY+TODs/owr7R8QZMUhQtxCLBvIsem2yPuN8AxwKJw6bq8/Zr71UUJkBzCmAz4iTi3vIDwvvu7SmwZYBkPiGoWw1i6Jz8XWiQ+IRrJMkQZpRF8zigZEzXz/tVcQ2MCUfv2Ggd8OnPVYWq9xVlVJSuJwr2kwlrCJDS+2R8njN6UyNjIFQsBXRP6YW/52GPh9XV+SvPY3wSADMPUJeR3qmhnZl+FpztdsDnaJqL/6GPxiYk4nIbKhbv+OsLlbYOE6mZ6+UuMmknJZdNWMNyxdoS1PipVKd7jb3uHEOlLtBK884vdN0mINsLLgJHe3T36Rb1vWF2kwqcsrqqMJaHKq+Fdk+K8u1hpqe5ahXvpHPg3JOkVO9Low1ybASdRTs1f77hjDMfT8gMw0XtFV/aa4tymxo8iMAZReMcfYQl8pJRrl3J1UyeiWUJDmds/B2AUSpi/HwXzart3fdeI14PV4JUw7IZEWEU22JhEFjV/1WirYAecRYOsLNmmo+nhYO7+Tb7CO3bZPQ3yzw5/FKcFn+vld/3o3mvkIJew1j6XG9kQwQwtlYa6LGPdUtGQnLdrZdx+SKgr6GA4RzW7Zlq2QCI9YA4TY0nPo48oQxmwyI0qxWXth1xevTeW0kAY3pYvSjKbI6wzNjjwiutYKldOOgDZN4+ikjMFfRMBsXu4HP78VcLoA6dTcc7er98maO3wE3m+w0YoZA1HFezJd13Ut4/gyY1yzGfHfi8lU6ijW4Ou0Rsx4ksSYdZVJg+ljN9xK9nTOY7R7FpUOuZBxN94tyY8iMo7vYNxGPnsupax4/OVGjYnJLyBFFUqxMU02VIQGepge3abcfx4qGnngl3GDK6GPKwwqzTD/BPO+zAvYY5r47dI5bF7glWZCR8AtXB1nsrkLULtK7/gfW9jwzI+RHLb40zyHU36yQ02QqdI/r6AgqhL6yz7IR86icQ456a/UwMEGxcUKOHukfeRwgkD6ztQ7DD7c3ovmYCDxbNmKHMGzMMuqJ/nkLEsOmkxJcfutq8f7DXVktPsPmovbmRsuuo7PReAjxukU8lHQ/mdCLnuETbn1IxsyOJZ3aRqvh5Jalhh9EQLu0TJjOUQ8Ga4CQKN0y643FNACEv9IKS0SwsIvO/F9hNA16z7z/lReGdw4Sij8NRcHu9Fq07kT5KpS7sgX1i1cxtp+yTbOhmxW4f/KjEJy0FqOZavBwQ64icmTjHbPBfNDv9ltiuKus1pZ8gPUKCJGWFHTo0YD2yNJITbES4X3xYUDEDCXEL4xcB7BOSNTeosKyKOOCVqPyurEz+m4Opym0xMeSmDQUatlnoE1EQJe+yqEsBSjJOt7xlBdCVZqxFIuiS/iokCcCCf64thY/2P3EhdF+ZBWEyA9OTUi1ZAZ8632NRSI0zKvHd0CxssRPb21ND+3atBJLW9LIbyKozwsAr4ZVzVyVOLUTx+EjoWwLgImDj1TkkgJ7pyhY4tJRA1TcA0axLg7O9M6dvd1ErTetpUaXXBBu8HqrfPJiXpy34iKAvRIjT14tHjnCiqIyvx4SVaBjqalbIBpwIx7sTg8Zw0aj1a77BtXcvezS3NBijwhfeCqkLMMbdrizH6nBWVvz4gsVpJ5Y18nzHgIwcr13QUsWrMcQHseAWVxfoxvcKKZept6TXWCFfzbIIKNtpYdGiG5JCKNAj+MwKicxq/bRgvZdR8Zf5aoDmT5LOamQNVssphNgeI6ZgHzCSAUTPoAkqGENsSK4whTBdqx8iueGq4A+3MLzGt6eAaR9FEHaJNP4EE6mWVBcBJ+8me6PnBA6yLIeINFMXyCmB91GdEfN/aOWVNGOpz++kAmLYtir/DtiVUWfpfii83n76rfQ70GIbHq0mkENWEhsiC1sKow3cV5v5YPfOxLzeVLvZjljn1EYsX2sUDssp9kT050c4NQEAbUYluCltCxRuc5XTRVJX4h2+fSY7/gwR27rAbRsfE8Jq5YJOS0xerV+22iFXZFom1kyFAgMfcm2CHJe1mznNzZs1Dr+RGarHyhMvdy8oL6hHrbkOG53z7nm9vFHSzSgieagTdUsXZp+dXiNu2CIXowJnzhSqd5IrMqkscijk0gEgMdxIjZxbsAX4S8qD379cNhcZLiy5I1WKv7GbF5AUJQyUWmAsh4XJQA1O4M2elKqF9lxf30tKyjMMqSplpGK8uSbcJ3Zg0nJsKUIx0mfPwTMS3iC5M5NxtKshVc9NFxEemD0eVW9XJODisUtdCB8ZXNnnhrnW4Ex/RGS4QpIvGh2teEka+zngq3U9PRnGJUOLHbuCMFNzSrlg0dyI/9Fb96Y6vEqWdG4sCM+ggwIzjAYQjZ/1LJs7jMyRn8JQHlfpVeXFZruUWKi118G0FamsyjPKXuw5iFTmEmePTJCO23BVKpD3DWg1zZNiR1zE0df8nDZX6flQp1CArqN225qDZTndRcGI1KSLCm4Aj6HZckhPt4iZc1tGQhA3no1e47mNmi0P+rg1ZxtadZf33JJDY3dtJYU3RrKKHdDMhPHDU3jPk95JjqC36QTIEKlCJWzrTOQNeCq2765KNsP5rBVfZEUk2SXtZBcaMI/svbPqDa1WcimUUMtILDDCHBIqK/Uwnq0xGe8L0BjUFkC699zpXimZW3IAQ7D78xtFxFAAJrtY49VXKabZUDXuFpWoIzIs/ZGu0QBEP5AQSkSYoUpo6JELIBAjC3UfdpqzilmVGBtgUoQl1Oc/7j3MN3nQQJU8pm5sJN38oqj32rgV4rB6nwc+Fe94Xw4/lXuHKxBCObcXHifGZzehvmy7/zGFTk9vNBDtpggJzr5DDX8OOvwnRJNkC8vEW68ToTniVF2vRb7UYCFpRK0nesHBe1N1ltGj3/3ZiszibOTY8kCWDR/FauB2HUaucaW63Xo42x232j5RHhMZLMc+t5Jphw8XETAIbHIdqhTQb2j23hFjPPHD7x7dWNSEEkiWJzgtCfP7rKMxDAdazJaSieXTtzP8c6OJxpeMPo7Z4RJJZ5WVvTFy7MIpIna0OuFwDV+9lxJkfb3W+UZy8e1nyx0PzoqKWiDlcuhw8QqazKNJEb3/1po0S9hwqJ1IM9/tIsqzwAbef5hZ4XZrxbd1hH288uwvm2C5m+ayzFUcPPPf4SYSdg2oe9LvnpcO0Offx7Qs0Ft0t+xUeFOl1xsZ52kVyw+J8eVA1LPSm9dx13snFviTuZlJ5HEdyn2BxrpHJO2vacfGjbA03Kyr463LQa843iXWh3KAJTwGlsVppfFqZB4hjPWCfSSzBfFknuQkmFz+aXgplYnp3wQT1KbRIY+O3F6jlI9HlmlZGUMmckH0nXkKKNW984we/EcCVkKbaGzBiEw6RCOhh8o+7vLRQ4wlTEimNsohl0jvdhtWiByiSL22ake/rKmEXu1aEdAO0guCrzweDZdUYJK6Ph+fEj0/FA5U/epr2AxcwIL9i8JQuIJ7suTWSA4A0cGTJlkK12Chav6l7OhO/Ab+T3e5660JmfbccvS3JZm1Fwno7mczhPlvcqFH6kuV/w5IuMZQsVGnpBA8AnS07xIKl0mv6IV6oJJARutCSYConP9lWOB9NDMpM/1pAqmonC0Q2vVR/hszJV2UUuYrwsfmlyLzOZfOLY4yrofPELozy+WkyFHXdUFnMzgcPzt8PB1QqnwUomUgciFDGEzUy3pT2iITucBiP91ajiQj5NjFeT3ATfC+67rJqtb0XBqNhSBYEZRfc5bH89PBZVr1bHFZdC0stNkGqYiXhTIL7qZahxaK+UPnLrfAdnVzS0E4qxUYYXu28u4XVJDVmTstfg9au51F9HHT/TMgcfsS8Aq1whDDIfZA2c2GgQBheKnluV5wRQrZuq3sWWObdqP9BWQGDhMgSDIcI6pRu7X/k3BvtYLgmvALqkA2CwV5DUYGby7tGG1GzK6KM7hUMtKprWA38VsWtIjnsxb+90eJVpYf6TOLUw5kDDV8Bz9gMcbfjWqBEezaF90HlcjVU4FJn3UziZUEFp3tNDPocgBV2bdzNHzxOqBmxhJuV4UBP/xs2CLw/jPuP7hfNK2+FvjKCS+hQ7h36i+oQuS4FOAhNPfSiRrFZU+KpJqazmmSMBQ70XNLBT8gVzCFQDM+XnAGhKofbdLaD14yhd69nLX0DQXV50W/Z5Nf/uOfOhfA2NoCs4mAjwjMkdfYtUA5mCW3PfJRtC7lx4IyV18fqgt2jIravjv1t/NPb0ztUCFb8kpPaCA2+PewYklFJprcIasoycTc04I8GRXbcVSSwrCuqMsNMsuHAnoE2lpYVwyT1fRVtyJlRHbfZ/zi3/i/F+0W733wAXT94lZbD7UCxP2NxmOmKJ7HBnuzp80J1c/a0J1pcgsLx0iVQt0kgZvoPlpBh2bukX8m+ZmLvy1kuM1twpj0WK/GzldGGt2y5eWM4yFYtnKUwOMUu0hSmDgOg3OG4V0CCghUHz5Nn/HkaqiqVg2e6K/lXQ/vk2aYYlMKoe7ncDbpAIJoCgTA/Mo8LY9c5sG+Rj2yN1Da6bp1dHp+enV7xC8LrvdFQUqdRuRx1Qvt9/2ZIs4FPl3ZczP9oV9SKqFwqzpf8CV50/s+6GtWrTX0wj/L4XEWtP4ftcph+6xfHKVS8+2RIAQr45z7hX+Cc4/PAYxDMtT6br+qfSgpFa3ACS2/+NNGsIajb2jAGpIVssCbviNvbEg/bzNkbYItEmiEE00WeLtI8r6XSWDKnxzdIetQVcvIthsXKxhYrphdT0LPMCFdzc4ugLGRojgtDgThiPthiClz2KmAo0QxyJNDNeG/Bh6kkG25VVKX2lv7bWRYtZQCenf9mXhhpqQfvSe0UIM+k13vTgVu8ZH7vntyGlhpRNQ2tsxZeYmHqIWFtWG6MJiitJbSWMVtZGC3X8mG+w67EXVcN7NnaTLVWDs1LWNbRkG1OYy9GmL31M16Q8gcKkHbDm+DYltqBOzvP5a0mZjrnTEPLxflO3MkbXsYpBhs3rrfTzyp6QbaySVTqGaBah+ctUyel6BmSB8TXR2injIBKm57CzhDL3RutyMK+bJolE+UGMW/23jX0aqKV0MTqWEvT6fh88wA8Xaf2AIsRS00dg/reTP5pV19fP+lkKX9javyYZi/kosUxz5EIopS0EseDnKbH/XjaJBuush1t6cl/UB8244i8oXl6xlEeR5MlNpWTP8DIAmfMl3hqq2bhP/YpPO4XaLc8XQLcbd+A1xWdiWxhawyWQ0QW49Medq7YZ5MhOJ09COyZjoyw7GXq5bQN/qVFy+1Zb+418aA702eJcXRSGpq6JdZAD12h826vF0tjmCuD8liQ7/BYTGUiaVtSz6y34syhCbgfwTeNk1q4A0/EWcvItw3WIfDH+/BhiIA6GO6LcpYaS68WLwZWKdY28lqdG8WVYNr5IRjGsFh8QUGBaI45kquPQ7EV4JYch1lez5KMfe/DU+F29xRfBPFb7A06OqzZkCVhPbsuZ8HQ4+JpsftWu0VgXZylbvAzR5BxsPJ9WkVowTFZ8t3sLV/jsvqr+3mQHIoyhgHqAa4HD33AjgOLpeq4BhXJ/WsS2pJR+fphLRRZEd2PWCIEwTXMjaR3/AAIxd5sSezdCxwCkB+4Ovh7rEOYhxinMQEbirRmBVnKf5fNp8FFsCgLAfSdYVx2aBkwKjCXydgXCbyN4TQZ9hTaXYmg3B2SovDaoQNzNqcx/1L8lx3vUyqvQ1hkineMVjvJU2GfLOR3QN56XUZQRLHK7zr6fq6GPQsoChfvHXBve9xD8NLTmL67zq6A13r1w7qfFsESVIRuwxIfnEx4IYfhfmdqnF3xGjlMpm0tHb2y94LVK+7G4SYZyLSUyqB5jhLBxJkckXFCB+KY9f3/9HcHrVJPibtJfQnPM49sfa3gU/XPYQdIaugwOjSVCzzBILURvR5bU12o+y5x6eRyGM5TImxEUIJRh9wB6b5+Xg7j/DCeHs8g4bIF/aEoS2M4nvV60eMLWgv5xSdRHm9WzuQirTDhtOp1iXOiG/Ghw0kqAtP0nKt+aTERub+6uNDc+t0HMhSf6LhjKyY0rs99PnnEr6ZzQUbca1yJc/Paah9pZb6ZJ7QoameEbr4ARAOmwijYIpTVb13wKQ5AD1gaCHI8JEdyEhkSBHUuVJyFJal5bn5y6Py5Z2wdJrWrOOR2aQY1lgf8MLb6kM5a6UNaZtn/PDOTwV0PIKRsM+Z7nJvlufdWyDv5Ei9iIX/QGc4rH6uBmVsRrHmdawQNKC+vFBDYLG8i30qQa+Wmf+VazCVame2leKAmeq+i2yYAIbOcXJWtOGRpoI629wloBXWSByh6Jtwtzh2dNpj//hDDYs1/mqAU6oL/DAV/PoyHL1GY1b7ESE5b57FN68oHuZQWQfDZjQ/p7lwvYcH7v+TuWzammj+SPsQI+pVVJpaqPAxDkrpS3vIBrIfAF85wYtBRryeXz82GwSnssQkV8z6O15v5CAum86JvKGJrzOreb9d2nE75c9lnE5xfH0M6Rca2ZTbcQjeNCeHwFW26kqQazom/r2n2gv49t1IVuJtfzvsAvJm9YDAX4HU8wtNCxw2dDKJEZnL5DBF5k700qjsjuh6c7dMOzzzLQit3U82R9DIzqcVmlZNX3QtT6CyZcgyMxZIJlBBJ9sVoCFMIgIH1EKK8ertIK8ACn9u6fYLn2BfJ1nv7jQwwe2Yq/7U581nULw1Byq/1nXL5DDltiqoZuBAsWbWRb8KIQHTM5lrunk5ngM0DVnLQwJWwWFBwVfbNTPoxfvGqqB+vFkHsRI94rB8kGIjxIRYkxSQkVPVKmlJyTrhGeUVFxmWZ19dXU14ammkljU9Qu7R4Y7ye0vFAzsDINp6r3vWC0tSVt7NEkgus3U0aj/eh+QcsPbITBoH2lq0wmc0qEIWarrNcBk4P+TVg/yPwx2irmRImuFNUl9gL3ySSHI16U1d4jj1shKObIUFvvZ46Pzo3okkJPIPKktAp/une2eQVdmpSl0eP84oIerKKmUAy1DA/EgIgdKjkHw12p2ye6KQgyi/rrTOz7gfBuRyBfSadbnY4smbAkJNnZ33xOxQhBDjPA6pfiIiCOcCyoP1yr5AjzgWjVptWyr0VH2HZbAvMqgLxwjkJgjWoAsvkk8bAfZwNt6R/KOA4NQUejlFdSrCgkF07X+yNPSkxpEyZZtTUES92rueDmsGxB1OcsSZWbP+F1j8y5y+Io+Tsp87bB0fy4ULxuSoV2HxBUh7/HrvQQGT1UBVVJ5n1lCY1xIPQmCMzqXlVIitU1FK05/1Tk+kGrA4wqDklPcCqCJMpgAf9E/0KA5M1bOT8g4x4hFesTV9qb1dIrpV57cF0eUbJ8j9+KklCC1+Rvmoa9Bkpi2e4fBILtMftY1r4X8fDJiP8ECtfMLWE1VQKnpowejl4mxoMWKlcTiAJ2Mi8ozMOwCj3RZkXE4fsmInV6fkIGdKOKur5vqA/EGAq2eUUOizV4wpJA2phllBx9hZ5mU0Nu9346qYYku3WVGAtCvdsy2Ge08hizMFRDbxkQxVtmMgLcY1GXu0k4DZQDF1akLbMmM9sL0WiCM+H9dtg4AnYDH4gqC4SjbzH4B9ji3dGKseKK9hbMdmyxLc+6Dx820dpz/dQ0qs76PzL0CyqNsH8y7c3MEHZ5HnLhJuYFf3t8tfaDaIC7x1QDcHC46LDD0MFK+VdDccHNMNg+RcCRPQTj58WbgN3yhCjNQdyUkZkza983TZLJ9YnQXXsoUcfUMzFxbmUg7pk1Nx1KGJegaVjvnvTRVZRoSMMX3OZElpJ8Rgsv59Sq7DlakS9veP2zqyYPkvroA2K/AYuSr9hIKzfGm0GR1KkqAACegcDanMoolnVYzhZnma8GSG7V7mv9n3Iz1h5w5oZ4Md3Z6zWZtTea/8kiXm2EmdFdoSk1WkZ0FUN5HR8nltTm5zQigYPXze2NfhqrBJ6LPovtk9ZAX9f/PTPgC4Z3jlaQO5v25b4EZYmTjwAO36bzPQwEfd0J0/Mf9bdx4FNFyl80oPZ7uhm/8xajQwmJjxllfPO/1EH1m3qYyOwkUpDE9V5PcNoFiH0CvV0u+msyJ5Qxb3goK9CbFQG+RPy+uObrNTsM5GxiXDr4UZ9kId/ECjrpTLZWPo7yDf3dHMXTeV2oRR8qiBJPZkdInO6+yizL3aSIy7ftgPD0ayiE6hFAv3YArXjqJCWMqFA2tWEC5vNjPXh4kfogZjPAAA0+fz0m2g1O35nmo/98yNpuGn0jmqtLcWjCJKr9y8r3ai7hvRhv21gI3iEeEwapn6KX1uHhh6tPY+nUFoBTzXrSHjp7iPOB/GsBclvA0eBnlUzut7gYsxhxp1LOdXtFlGQq/cKaeHPHGN38724dsRG9FM9TaYNtK7oHhTmwgRbg5UMkXF3kdqiF5nsDSEba0Rpk5fhaAQtxkR40Cr4ZIZoVS+ce2RVZDQDeBA4GkUxZSApv0v3juHtLdHWWPVBaVixFjwueN6C55QyGIiOUmazyw9+3Mt4pkURlf7dU9/xnP9bs89xo9sFDj2A1Cm8WjY5ibS81VvMcSsDTAupmEiWbhgIJdUOBvB/HF67Ek2jMq9TXu1yBLn5QRZPixk2u7sjOhpY2/0dms7/T4/egSlP73Hyl78i+SqEGATkuN4D/Wu+4WXS3zsNfasyIg5xkm3d65EsRPurS1XDhggGvbQxItZeqP93w++xv7AM7NVNYvzyHx9/TEpAoaOaFNiIYH/bu0XAP+jwutWosw6Gjymgm7iSvHdkuwTQclLknm9jT3meUqnInV8YQuWyEGx3hNZtKRXEDvFtPncVG19xNGyDZSRBR1ctTQb1l9nlxXjxJKVhb0uXa5OjxBxEwhUEl1OZKB+piWeeZ0YIiqgyFsxlfAkqSDh0gYLlKvOw3uT3kYm5x+NX7F6iSxOqy8A/Z52hOJlVKqBHh56O5X5cLSvK46+/IotAgOBPHatFxdF6yHy9inXA/KPjxgizyvRTL5MHY5DSIs38zfyZtDkxc+0ZnTSZGG9nzbSa6dUhR8zuP9vyj9IhPcoE0cS9JCRUNXpY48NvBCs2rCqy1T5rY9XeJNySo64+Ta7L7ENtkc/OWZSy4zAdRIG1Vb3g47LFgIQlAcnKYdbqEgLSc/AtUbrGuS/4WKFR8rX49yaYN5BK3GffqTu6U2ls0YsE5Ls1Q5LkVK56J01sIml0DkV8c1w03HAKttUQ55QGmbsiIb62KlUMiIH/Cs7bj5ht15cMXYXzkEpRgSSvUD0r2V2jTq1mvxyPX5F2ZdscoVJQkvk01rAYfSFtoi/1APmAHzXAabPJLYatuE4oqn7x+cbCnvuYdFHkwWk+e/6RQ7W0z4eEbcJvUrcEtmpq9FfkpxOotWy2kGOHORCoWFVCP3K4WOzYgA2YzOszK4FrDZmd/VEFAU8RPALMhfrwk+ECJI5SwSrasC2uATo5pnljxKm0jjtbKs8NLDbdnmOzooQdHjycdE8xzF1bCYiiatF1ASQzPRYYPZocUtE+UKroKX4+X5Cr9ZLpFS+ufi2gwKrqKU5DhBuesLzJbBeISJtyK6ljZfPVZgdNLF8aEx2Mlq/8Bdid16ubyIYeo4vEVPQGKu940zT4dKxbZ706rcJ8V5HgSA2FFnyItk7sp9eU2E0C55KzJthR6USBhE+k8t4YzB4+EOJsHuqqnyJfwMmNyJNwYTeGMPngof+winmAiFryEAbj/0MpyhAKsr2ITxHiBErfQRlsIncCHK+0eixBOsiMUFFmH5tCKqvcWSM9QDqRNSPFq/oL2gWaeTOH1/SOS1lZLrrYFTFr64bzU+dGdh4IBotxNaT+eJ7fJ+h2p7iemSRRe0rUgunViUQg+urpt6PwerQQONpam77ArFLGRIoFuP/ls8br+jVb3d/XiOU63X26pEsX1/eIVAHHUN7CT5nklOMbo7qHeL+qtfWyl4yUa/0lZ3Q2Q7PwRqaUdk0gZTZokm8T0AEN4po4yrtK5+UMsjEXaxXghYsSxagxQ31F3NvOLPNHm+gNjFynx6Ld+MKI8mIiseZctEtcxM9+4hEW9jbOAMgXntwRPplJQKxZuOpNBDeG2x40qvmv8HCOrM86GT6mTDLGBbcqiOtySXwB2xm7jkL8QDDCeK5utglQwlCTUOnhUwyYN+EJSL0L1KzCkUWFPIPFy5EBZC2jcRZPNHr2Vq+BQVkGKR9J/19Id2OfJagfdHjB5+4k5BneWKdod/qBdbByfSqbvn328SlK/uwo6swuNGevtaxr+RMUwe+OCwS7henpkevRauZhPVjlp9mqgLKdu6DsST2mrrP70lESbklu7xjtsqkl+bW45ImThh2ST1jimCW7We50uwzeNeSK3Inb1YkALTaHDPZ+ULhT2vb/fVLd1+RAIwTTYr7aP9aq2AyeTOtOfT1lw+VCN6S5XLx5Lw3ZvAyhtb/Cc3yT8M6f+F63VuGJkhwq3X5F8fiP+HuN2LKq/ZERTh+N1jiFh3EpMNQNysKjeUFQpPKxQ7QNEs+IQYvluS3WQ2m2DbTGLJdsS6cRcnSfc1DTLIQb6fX/HlLb+Gk4LHrjryxMXM1uDwEkyZsZJRalG9Ujf8Djq9l9QWBZJFVjv6qE0gc1bfUAOIKq1zQTEgoCc/slksdFZobFgO2R7afQ1ChpKmer8oxWpXXVj6Fry4XY8AH0Ig1kTE2POzXtnKCxkwhXPFCrZagaIzaYoY9YMEbousOTcB+WwMfxrViy4dRWNmluZUejv2P98FM9zM4UnSLZAkvSer26rfhhsP08JjiTrsF7eCZBuNxlIzILlWefcUrA1xLdy+726dDcW3hufaYN6HEYHEUuyx2VdgF/jbAQCc3ulUTZD+RnwbyylCtDoSU8InQitVj2AvE+Fnl0/VyUmjP4Bz3u5WxvKm6MOW7w//XqXAnAIbZQ+xlyVxsgxaY1Jbutc3zyuvElpONSrZF8M9VvVeBxlbdH2qDaDxyCrV53IJDnStUXWDKVjfE03v7i53PjMYxYmZkAWaAdTfxVo/Jf7Iz/GSMP3mWeFYrBYsMQZOAF4T6BSrQZBI22VZPJ/h7sfRQLH1p9BgiICARRisAb9ZPy7ROj1iQIoJIKoirGV2+rM0OaqneYMusEtNoiZPYS25tObj+Z8qR/MJBGK6xXjr5sDBV5yMXIgH2PST9rOHOUNtjDhvbagrLhTHp6GN8dZsAbGkUsPs20zEf2kV8SMdIirBqBBMKDkRF7S41l7q2ChFMad5C36n8diehskmRlkPzaM1RCoOI2AU6nXLrG8TDYDgRhbkvNVx7C9dM3o0YYDC6JtfLX3J//IvUj4aPeisdg+31Mk9Pbe5zSvCSGdIzDPrMvgSbGuwH+boyo07WnMScmrSYm8PI069bZJleoJK+c2PJnGSi/aiwDZZw9sH3QOWI/VsWWaCM4rfpDNe6ztW7VX8iXIZxSiEDlYgV05eujY8fp++lDMRm2VamNuKpGM2ac+/Gy/PcYcOCq4bt+Oxner29IGk1K/sjTV8vq7SlMDrsgPwgj5gPV3ci1Te5UWPI+0h9rWCJxjJ5Xx8U0Uy4LhUQ2sFKw1brwYmLwa0CM2+w5m/IEylWcZ4SoqmDEVrhOrcpS2HTGOB8ljbrONJWrJcS5S/JTdGkAEW0mNmXNyCdHxVb/t3rOUiDSV6VlHQMFEMlSQfO8IybsfakgiXdw75p86nLrI56z3ir9uNEyZSatvO/yBMXqdqP/R2k0zwO72IN+cskD2VaEmnzt47OuLZW/jCxlfwahXJNNQoHaAV4ok57IbyBMZRT7oOfP/9Bpn5tCRZQCWejqzxjgXg5/iveaxV9WsheAmgJocoNfNc7oejnLjNCpUA6BdkX31RL3bM8P4rE+SuCUGvftAJWtNDQwcNHxQIIpzB6U1IHO4XF5lchUGstn7hsjuaPbk3Snj7HaMil7pPCwbsS68GShQy6rHZKFmOJyi0yRCRPhrbd342zdCr0d+tlcvu6K9dHzuEJ/iu0xCJu2ErkdiIHGUmw/PRnbMoY5s3RChH+HG6gC0GtQPXRoVEvYiRz2xbZxW+I0R1CC8hcakcOIXfiz/ZngAzpFJQJw9CbqcslHuuZTbRyauvjQUr2nOagmCEsFMw47rezPX5aQ3wGinhoMTzX7ecakKThE3hcHNkiI+nnZZnIyLTeZlCa9DHF1BDeG+F44WIBaoTgXGQgAOfQ/BFq1ClaEoE5epz5klBGZ2aLUvbys1L2jVK2+8Al7ABhVr/SS0CZEb8AGjax6FDbIe4JqVIF9OJE1DuMr2SUuxbKS4qO4Zq7Neuyet4N0ONL+Neds1KCM9Zi73iJgiTZSLYpx4ZyvfkyOgQvsCc0CWPzQ7FRBd3HgDUlC5JlWtfF1pg4hYrfXFFUmTOIiSaG+kRMxSH2xRYHyoVK1kmZyHqWD9sp9TA3iK20PvdxPY8uE5XrqdJ8C7V/RjPGoJMofOXVREXAWSgQf6aIdr0etPoAGqWfAMsOXxbCo07dFEIT++5MgwJ8kjk1uYJggA9/TxC9zYwLe6PiXfID+7GLnBpRxN4EdxTSL3dzvlqyq+M9KgTUOSQrLCzYuuhbRirC5mS9f4SYjrXJGJgx7XVieQ7NfqM5yYLzIQM4s0ZO0go/VeiMj4uMyWpVp7weNCF/4e/H6B49HZwrma28MfjCnzY0WZuFAbDDvnmDQaSz6six7SnsyyAEo/Umms1B0Zzrx7hosKLajb53m7T7EM95B6oTuIOxgYsl+t6vRBAvSCGmokHdx26JD7OLIoICHCPu3kvZM/+Q4uU8wRSAa6x1trFnR1VQ6VYlaAQ3Hi6xSh91f6TE/JsaMxV8ZrXLbJY0dlYM4lTT3e3Is75KQWpNfsxJKTMUNwigx48UXX7R/Xtljmazns3Q+y3hUlCJIJJMcqx+iZRFtMpi2xBHqQGcHMV+wm9kfDVs61oGqrF0dCiMF5Sy9vPTyj5kp0dieORqHy6NMRQ5SsVbqhipACAsCYtdaPPhxDQNEAlYQVMiIowTeeMtSXhmV22fO2tIcpCnBqg1mqBMPpG+hElB+fcGI/3Z+ibbTNZt+IZ5mMkmrbbvJtMXjm2C2c+7tBIcC7I0lrbIJJKHfPjxWowAeSFIxVPD6QeaY+JFrKaVy/4jhtwfgHgxpKwtUCVXGxx5kddiBriUDJTJsnpFO4J8cx236QU45UA8qRmCo11O4Y2xGBYTCnj7xCQ+ey/uSozTP0Qd9PEfATv2YRBUccHQcXkuJLiLj3YfKEqzIqw9HNpHtrLIZQFkxs8vNchBu7f6cuc7cB8KHwdtmpGfra2LGHMXC5P3R9FgOdiP0MyF1Ie6gVN4YgqX8px4JwnjnmF5DVqg17q33i5ofIUB1TbA5ofGlSBFX0JOHS2HSIq34GMx9Hw4cnyVdajO7b16O4nXhln7OoU9qpaNyCLsVTel7cUl4BJMoKL6Zf3rY0Kd4AysDR2TvzBvxXuDYy6GTJ6hVXX/U6a25iRWz1pRyFR5v9OMn6zIhKyLQyzcaOrL3YyQ+TbZdfvPnnT4JV9FJnfMRypXI1r09I19GZl8tU+pg+4Zuxg0sbIoF+yjwUtunznEspCUhHc85j+REY9wY6oRS6yQEd9K2KcZJmeeeLf/ahgy0JixHSyIJOp3Dt00p2r1rqWahMs6K5rNA0YnXlRFknfF+69t6uEMUaguxr5XtAudblDGCkt+z4mP+6aG0DruGWQ1c/AXtrpUD1IFE3QS7egEaKNasETjqTel4RTs9QXev/hCwYbFa4Tu2Q8apk6l02fUjyXaiIau+JLjL9dQLg0HEQuhU25OARGT+a0uYmheQt0r0xhebRVeYWZWCu2gZd536R3QzOpshMn7ZuLSy7paN0NBGARl8unNcrhoUUgthilgxcXZJT/8PxS4+XKSwPpfgoYOJXywp6tC7KmSXmIXouZvJcKNsWg5h934echmg/JyrApWy2B5nZP5QA6AcL0M4aWknuI0vV2lRecIxoElRazfkip/1IWJsjg1gu+yCIFBeM+AlEpj16+qDDNMNMGswO2k5jvgE2qiyrJ1y0N+d0KBBmWSqFffs/p+ZJ5MfmNRBbkDn4IHTt+CjNs7vImVQrBYCVzxIqMuGaDXLOcKpiA9+WtZf1wvRtjCd1DpzMiZX9bl91aZNJoKJrB5YFKEJrrmdQ6wOmC0YO3Ciy49vqGDdFEjgah8oscKCEmzZ2PuhEVl0OCxfLucGxhQ25oGm3irpLoVc+SuJM98M66b+ExAzFep1JA1Rao0biYVnCzewt2aBlbJ6KyTKupXpTlkXiDnNvVAQjkfTfl2DZushQRMKtmxOvBsGkW1T1TvhvU8TZqtpWlO3Q1XA54Ncbu0iDDh6Z3D00thBmzH74oNlXXygD9Cq9HLUde4uiqBslOE97/IU0odn0Awx1WP6xwA23UNokkcVfN1HRTTMN9KqSSEhe0ZuUa+tVr1AjXvAI6kCj6wg1NgXLAslzLfNxAqhoxMC9tasO/aOtX7NPkUbQ2XqrVRZWyDJJIe8tCGwNLDGkvr0agBiaL1qnpF1GKjSatW6lntL94RO/ZJlFOcfSNLW/BEjxwAHWq/313Ho6MWf4AgsKYA1ULgDGsop/khGbgSAvxpSlRg2jizpF1XxuGUyg/l4xQd/S4Ltb3TC+3MKrbellrJNREY8USQT/0SwFRgmltJmEqrexaeq+e7Dsi9KFVZW49jksXIyLEu10i83jeK6ZVtOuZJU3KLHXHuL8ZCpHAwPn32pRR92IATD05oo+RWGkVMg5/aOaA+f5qC/quKfwfDIyt7TcE26u60Vmc1avZsXsPmWTZrWcrxydG0okT9we42XUpa6sWhCcV+xeopBybvLrYqiVLjVS/JYO5Zjs9V4ajSkAaNGDqC7znSJJV2ZlhGSRbNon2i4P5sa+1kJIdPXQSoTCedwAkSt1ZvJE1xpulVwQdyl9ajxAWSIdZ7QEizgz+6BDlJrnm9zDt+r4WeuEsYkIMV1JAi8J7xEqTjki6HTLUjXUg+UdXFVRZqBDemiHDXzoTwaTjnSth/6zL4VexomZnoziNqknMzKFdhg8pRZ6BsLVKBl7ac46ZN4Aefi6jrX9VO1+JuZLlv7fR6jpmbiiaRZpy1tDWvuU6tqw1Of1eFtI2xADvj2l1I/a9gEaPdYGd4nknKjnhoLm/ddHwqZWK/a8hanbUa8OUZKfq97pOaSu3GPd/sD7WRQ9vbZTzOrFXJdOBMUrtb0aN8dEpXxLXDIsri2mR2BUfEfR9PtEogmCjl1vKXO/WIKzbuW6pievMxZHJUgjRdyukE9OHgxFaSL27O7cNi/TSstgCA1gwPi/6uXYQztEjKXh8Ajfbg1g6fHda083lEn0VOif3F77VqGijq3hPcH2wL6RWskt2M3lUWpIlJcfqkpQOzbAHQZ/TCOYx5dxZuSWk5RwRqXy3gqhB19cd0guB5X55ieDE/mDIRfURgudjM/26slSTpaV+kYwA9IFx9JOLca6ZSh00cGqsxSwEddw6DZBG1c8ihGvsr+msWvSwKOpgIGOe7RaML5CBtSzs2pa73s/CyR7SGwqZwLS6dmh5pDVWPOEk+OMXywlJC06RUmVH326BZbAWtSLak9dMNqqcIW8ogBFmA1PXxY24ZBZfyckr1PFmOGZgvYfJWfaZzEGo5jon7eEE52rawCjDKWtdV0fYfwAKyB2jQw9JwgO0Id6BJucdWNkIa73p9wmJpkm6UN5fN6kKFOubVbvK6z45Of5GaSeQmhM+Sh+zXCl1JvgLcFErWQeuC32k3WjgBY+TQpb2GyWSicZhTYrv3vE8VK3IFK7/3n6BsI40UE5+vVRMHum0f/QbUhY0URLqRwgIeN7MRPGQJWQUmshw7L8Lz/66eQ0rgqAmSsguOiCz0Vxpj+10XmwyPMENiCvrpBy9+RB5sMJwwd1S758AikpKZ4UN+2HS7IxsAMJvk8lttkTWGOLKlIg/EYAWC1POiKt9oCBDWMY7NBqrmeO12ApwZRexRmYqT8jA7KJFbrfsFXVs/hpM2SyuFoSTrcexqgRSbOtkydJfDLpg1mdrEIO3DjMZa3NZs6A80tfR24QFGvr19lIoz5zfAr61k1yhgS3kX/+yg8z/bQN3GBR+/YOZEOqqRJ1Gheu+i+wTJcY5eYOrgMJrTqnBSBUwoVimXej9GmECWcc1NRvhpba0GoW+l7S1z83uNEthyjgKYQvUUCsOwvrZwQaVR4eVbZB4BHg3PXDZhSN+0+gG8wNHFeXgnHndEhzFEKSf4MFMp8kTDUqvLqvq/rbnlOvlhP792u6+INIoe7XLmjpuBjEBflOerVGUnXdrVlhiWRjmUr3vm7bG0cnep297OnUy/SiuY7XCE8jtM8LMlDy7xRlcDICZz4Sm+wdg8rVdzqhE/GBaq0oj+SXjqq2QSOHWffBq8ok1hNLDL5EZ//ZAk4vNLF4BPUuQw7SZNC+YtAacfuKaUFmDNmtIZ78ZjT7mSXjPTPjXDYVlebhprlTFAMMds5GrE/Yg2rbr0mk1cyjJkAqbl5yFPTqq4GOGm6QWsee9RaKPXPezDWCv/Jmrzqg7B1P2/VFwkVsc8T/5XdZbl4xvmGhTpP1t4y2TqoM5aoMh0RB5Bqu/ES05y86zYpnX3EKtNsizlLU12H5XrQh0c9rgMzJEw+vKI6a7pT0oSNI//FGfwkQjPrl3zWPret74NyKvp4jfgTC/Y+GRDAInFAHNLIgsiERLXzh1BtN2W0EC1WcjTF+mU3yL8a+Uv6KUf/0wMAktIa30+6G/BwmUNxv503OYXA0XNXIFOThXP2K5tM/L2f7OCsOdYX67NkTjyS0QbfVkVSHAmirYPOHSPmFK0d2UwNEaenDDAPfrvhEKCvWuU+6wcGEXs/9kYB1CoMZ3KgBAsmHrqnrt8IRc4lCWD1S//YurKCsRtaFWiftVeDpsqmspgd0vlECrJVSCHiik7+mBGsPV9DnSWI8C2w2m7Kmkk6e/1V2j9OZfjwVj7hAr3e0OGRVDUQjvt0DVyDoYeWgEJIQAo43EKRiHH1POsk2T6/UAg6l8OnMLR1oMr2nl7/+IcLkvb/eWBrM7gKgR/UYatiEODK8kJwlfedjIY9So+Fh/xPJ3NXLvLXMkq4N5IU026GV/0J/BFGZC0xO2eWCPluhg3ytfshe+mxie/PiB/RNlpBz/PCFiOFWSN4TRUx3LySdu0jRPKGM2Jl9TEvlGuoYXboczdCDox0K5MVjRdr4ciDrYzskfTb0SeszhSCv4NJ4EsBZhGCkZoCisuqdKFiWzj7rUjYssa9EYVI/7PO40LhND7mwmNMqDibbnr3Z0z52jkdwW+kyAnNq8LQ8hEkfQjgkTjk/Pzg7r/soTjMNbDdQXzJfJVL72vt31/qJUmgo1Hr+wG+oF6ckxIUbhZl5XzDhLqnGoYkjERSskB5wVco+CgjA+TztsxSma81T+2EfxJmplzH4GHt2sG2lq+Z1iuTAj7K7rZLWUlXrBii/5zgO8zh9CO3iytHKQP4hOVnCml0qhNmAffSNgZXVIrhekkpOVUWSKlCc4qVOu6nORR+G20GoBz6+SLrN7Yp4VNZc6hWOjqGgbMP+8UIaiNVmH+zkDHI7t3+pekF2ZDowzqlpf5B6a9b5lWsU5enz0lo8a7RIy39NckaLrIEV+sqaIBL+IaM/6yNXMGKGQm1cmaDrldaEcCv5JSedxz8Z9Kh31wcRkAyFHQd4SwsBJ97rxrICZMjwzCAwZy/Qaf15Saew3QTP9nPdrfU2v9siVetzvYGOOcBW37cIKRHJXYvWDQikCk5ODDAwMoCFCuY6fOqImMY9KN5gT9MbXZPA1es+5KmxG+pMKHxSDXyvnwg7u6oGwsDUAIpkA3qIeSjUOhap5swJS+Lnl4Y4lt8y4Hv2Y+XYEsQ+n3VliwVh/8gn9gdESXEWeILFQRpr/rsu7VthpohHC1aWdREfMVDXAAIDVCV5kKFTehyXqu1D1q3EflRhmj4Qn3FWRveqSuTZGOjAEHb7ry5xpWcXaB+Bj5/CyvleOvFrnmPzx7FGsP0RzJ1QXpvzEfm/PMkNUQslwC+l+jU1mnRgM5T9/loTiUNx3NvqKQGAL7fU60vbeQaTmYsVxpQEiHdeKBJ/XY00X+QwHRs0PWZbsqKTEWxBcHtjMICeNsRiNffJvkZno6wPl+gqBtMIGpB7TddhWSA4qCFOLawloiXlUxWZgjIDnjoriAAge2ER+GETQ2sHOC42aCgOqmF0lbBiRiXZ6nHFpM51JKSN+CCB1PNvE1v+xjpP+8WQaLttXmO+ZcHfOWaYHOmdym5w5a1WlJotpYbmdEI0e9kCVZ6Nbefn+WBS1j02uTB6xH6kg9i6r/HSfjMr093fKQ+M82YpB/JBOQ/TkCHah/hZy9GA2is9zYEQMkI1kGFwvaWuuC0WQiq/dTpaPsDVd4AnwbSwYMhfgcNHzQZkmHpmP61Gbo0ucYOWJuK/9q27f6B2Ps+6nIC4hrBaIPBUOL5Izvd8oy8jO6tpG2yZ6OFVF6bOQRISMEm8g16YrAObFt5Z0abWT8wmR5FCSZ71125m4ktO1mKOi+Yr/tQ6p218CRfxpUshMGlCv06Pe28WBtJXoAMqtrI9s4MxjMvpwzioDxRXL1yF7kZeW/+0KOTQKJttYdNRq0jv31l00VyUQJakq/C+z1yUBqN/M4caENeZvxILyXNjanLy/207T4WwgkhOacrRQ0yqDnMEclUY6cYBTjyT5UY9cfwz+tqWk8fufbr/LYl2nCnNuO1cEZdmM+5rxuXIaTYGhA+YeYIojE4KhD4QMoLhl4eAQ+FoOlSFl2ldJ0eIiuQLIV7EX9lx/fU928L9lgtUafI23Jym2Ah+Y7+b05QFk/vjCdN30AiMBgXWokH3ml/39GGFrwLmo8n3X7cH7rydFItERe+lLoLJPhQXdYiucHIUhMGiyRUT7ejBunmmQOZJ3EAk5vF6JH/tpH5wKZw0PMi0PfyGoSdgLG8DNwJ4jj4oUuEPHPUrz6tc+WnHbXlnNM2u9tKevXqxfrzhCC/M5b071GtwE1tADmFDZ/VLNiGJug1race+Xs+Mv5p0qXng4UB+OydvI8Vr0hV6Y0qO1Iirm8sw4ki7bj/NXgLt/ekcYnVW+PbHL1vFjTdZeGhzurc1PodzWv3c1yyzzSV2KR6Ajkz9DVKwt/75MOElYikOYHPzEaIL+Cd6q6pZONpBycAOFMcPFih4pcrURdiCBjaok2512j7C4uVT+MRdiaUjdWFuSYfoL137VlR4sF7MEmALlAAv1GYiqdpd3poIPU1CfVIii/9SNvbhLm3BFh1wu0WF901AHHGb7CUZ/8CLvkNLZ75JYFnYpVYZ/kc7dl3MU0slHJzQbinRrBkoI5WyRmPyQIyPdqSTjwIbpdNUxhLs9y6p2BSVjli6fXsHpr2fEa13+9AfeH0eDyKz8OTYcwFSNxH3p5rzfOkh20HAGvRQmU556TUMChesTCpEGoI0yx2npNSOcyxems0dhxuZSTw3lzZHvbQzVkRltY0rcf1/UFu3ZJx6d4XuysTP8m563MX5tY9ePP9jHF4bFRPGaGFcYbD4F/Uu+wOJlJcJXanrn9BSz0cDRU50rxCpkve4o3XTbTQfQdIqzt81WYIdoB2EURDSjK/f3zmEvIIRTMhV/dNH/OakWmFxzbHbUDKOxcCV1OTsVUzyOnvosWNCzM/M/JkrjJBBQQ/QVnEzdTtNIYqJic3CNWsQOcE9jPwPCHsvwbsReFINrRPL/rpdvzfEBdIjUZc5Af4Pj6nG3Gq2q1puRRzIjlAk55ErnH2rJIg4SUTpECPGxpxe8QBS2xkYkWWnX6b+IJ3mRq66DJ0ghbuqPfrT3P23q9C5uma1ivabxjwcboiTY+F+pDB2WtVaSXdKWxPooCtM+rGv2Kh/IuHIBG4H/zBP0slYMSgexzDGQVT4bq8IgChOBvi+ZBUWlEMKnEnOqi723jO3+1liEOLjjc12nKpqffONLIGijAovkXqvhsOAQX6V/ZXisS6j/egJCPz8VjAgVTWRdUF0kZVIugRJ/NaTcM0cR22OKmeQbteR/3oKGW4Acl+pIoulo7WqGshYDmb0DplLqF1+DytTEDErojMT16Za+6VkORmGLFSyDlNfdMcPRZgBzYNwYmPAaKYuQfLIutaZR80NYkHQ4i5WeeyBkKocSW8yeimJel+46qh8ddftzATmF/wZcmM9oV5S8Tb+CGvu7CPOHU/jDvGLR2+PkVbOVuDRuSvGNCLyUhx8cYxjRQSmwMDfS7V4D845jPbMu3dHQGtRMsP6w5fuxapB7Vy4f/2ZAtmz4OV6g3T49GL8oGBDuSB5jaAq9RjZA7AN/zYPwDSfQJb83RnBH5gNH8Io9xrb3QUfpB3TTOrpz2ofz0u2WtERZqXB/Sc/V41WtTKlfMO47LKxIVHh5l/INEKwyHrzgVAC5WmTelrs/hvzxc+Dl/4rxIDCNXA55oWKMg0F7g41otvrXg9jh77slcFTKwzpMEaj5bG+4soiGZ42vxyEFSmYMzl8KYxtk70zkNo6E01Rxdm552xINumcA7Ec1/nRTXBv1RkQYqDGlJhUdDPdJdTWF22aY/4MxgBjVMsZnRX+JmNUF/tRH6MmFSxP5JtYMBlXAMBhUTQriH4uwIpEFA1P2NWE6ywufidetBj+UeKMUQ3oHrAGGJ2hFBguNcR8E3Tte2DhIpvY3yJOFE8PB/iUkziRbulEPK1EU8hnJjp5Xpr62aeayoHzrv4UTQ4jKtTbxtJ6Xf1hp8Hwt/inURBNQAWYg7awJzkx5TUqrUpFgjQ3fkBcHNF6cIXqlw0n/5g9w/plH/Dx9ccEh9+GggmZSnoV2sCRY7rXl4V8D7B6S69KGnmV9G3uD8/LGZwS59pxx4Zen3VHHgSyR1b+k4VjPn5OzltgxFyfcSXK/sTk0Oj6lo/jmdYKJyjS7VL6xsR6wWqsmjK/GMG9K72+Q1DWtQPlE0cgSWC473fWQsPo66HixbqyRsCLBTAWW0vIErb84p/po/N7M9PqdiQ14+8qXL3L95we2wmw+EuUp9ewKF9DB3IZL9mujs50OiFTpjJ+GWLW7+MjIJBBJwGfaqRHGpNDYyoZlRndLq37SYqEFR0HdTp7dv+oEnkhDEtj1OZp0sf1a7ShKyx5h6sFlIfMj+P5f+g6AyM9Zpp2PXivkb+i7Apfjv4wGu1M2oQx9gDa/Jk/5+NUQrahMF40syZ0NQfS4SDyAcJHzuQclI9sxxifm+vRL0hsSu0sXgLXap80LzfQYpHVOYS/RhTXX/98LlLXnWluPCsJcVw6dpJoir1NrcWa7ZD6tqmqDB+KAwKvWN+j09xm0adeFys78lhk/M2cKbdAgmT/Ay1C2luQOAiS62T11rADbpJIqGrXUJiqbcloK1CwZ9f7ZwCpaK6lJtYFdAMsv/udO0/SgB9XFJfHlH/tvsUGH6jTRkq0QLK7jc57130PdurBGpZAKI73CgZWqdnWF0e/qJ5VB8xTfg/EXr2Hd2cHfL4sFiiXBgCy3000JPdnGgzwWW4yKitdWkSzQNp1ODTs9p78s7yWVgkH6CbARV7FnqdUcHWnKqPO3cMi1ljC9Qc4QyYGTTzbRbGxpNq+niyJWRV4FNJEakM4wq6/BsnlVDIhEpVr0xWPiRpsqapnYkA/0hwqfZVSRJobHg2YBatxWOBO3NT26kAaSP5qjULNJj21KfLlCXo7oXFS4fIT1xKeVBGCvXAZ1dufH4QJGsC9RgX2YFtYfol+yLsU1TlZB8gyw94JZ+DTd7pWhHaFbJtvebOxQq757oIWL3W2AtDGdf47QtjlvKzwZQWNVFLcNhallMEWJc0QRYXcdvKC2fM9VTdM90OTfTcVlD0oph7xpzw3UEBu1Ai5+t2bbxfwD4TjNdG7DkSK3jZL5SH5vgMEPHNWnig4qWlVDUkWaD0QaqZORDRKgWwA9c3Eu+Zu4K9+RoBV6a4zScQafUJAR7zwP9pFPcuXK22tTRryCNatqKENclIUpITLADft8zJOUYaq72FpepmI+Tjni8bM7Z9wnG/ObNy0Z3t7UkJ4CgGWt4SbX4Wvtth2lvJ+7qPYrt8ApyrVbJ62wyMoScjLjpEAKDqxSCvtnI9OHPMm+kMAoKxRtN2T3i5EicMCbea9zrFEOM8ErKhEnADmj7VLmmWLZlb5o7C5CXf1H6Zj5TRTqCEYcxNheBWOCtjgna+QxCjZfdHGfjr26W2wK4Vz/SWuRfP3q0z/8dITFU1ZDz/cT5U3BnNlneZ5PLIo/75+rj+VTCGuIPVj8rT+9ZeOg2lUrKarmdNOIaLs4tTaL2ImqecbVsTsC+ZppWjd65jlRa+4pQI4Z7MnTDD+wCCdnLNlL+X5W0E6Re/+E07c+HH4RcGWoLIEdfJeK/b02IqH+j24+LOF1meATfmtK0UQy4OEmL7e91eff/9hcyhs6g98bBr0XkXiAZ+DnG2yfd2zpTGc5+jZ20f94R47sXOkjlJ4c0B3JmiFkqbX4EYw90C7AhL2FCIVgP3Me2k+qLYBfihjgDWU345g/nNdFI+/Aci0fuJU4CfOM3/O5C14mLPSIwqilAS9xQ0+bN7o3fuSJ9CtDI221by0e6NdUpUrJpUj6EKOLs3HYVJ5cQOD2ihbX+mEhmo+QNs+XcpWVUv05QPIkFd1dBwMgGDKFRVlMoJ1Fyi35MwvGGD4B9U5X8RjXRSs0HJ22+MvsG+YQkcpGmwdhZ36SVcJ6oJlYN6kqMg0QTmyX0gmGqmqAG9JbuEucTZ5m08oTyF0iN04qICEL7aIVVKaSfHiLHjenASlU7AvQZjK7ZfJ/xAD85FAn7qVFgjffea+D+oHpwLAlhBggU8XYiCVv4gnw5wt0K6CKO+WIhX6V4bcKkENHkDRo9NDLt0UtWWTdNlDceuACW79pstKXB3A0UhkRgVlnNEQmVckjOq3H0NjEqCe2pHOHq5kmloUTTzeuLGn6FbxEQ+bNH8ksqD2u1hDyVxx8riLObV5UMVcKMvvogAjD8h2TrWwUkHWEKMqRkYx70nNPYCXFOWG2rs3JiObeiWf6XM8d0r4Nh4xuM600LU/J3hyzGxJLG1RkbR5mBh4QhR3lWznlNlXNwXqWPgbCe3Mm1V5jre+EkY8LZH8K9UL9Oiht9uScMn3LWbXLNPXarawwW8A5/1cmQFWzYQagTkcPUaComepyVM6Z2OIJTrRLMnzqTMS/b3j5oweApe6RG8+C8utjrsChOFU7iYuhxBvsEDHSSUNkuw898QRpc8R+mm3rskCZ2U2ilGlWqleCQkp+0vdsiNuGVhgps7IZJZiY74zsrssw9fYKzamgyZGFM28UdSFmIUek9ZoFb8tHjBslVEYNesSRiPytJi+Nr2ZkjxroUUSs2InsngH2EBioQqbxbVtCYhJAra1a9ri1HuoMSpIsb6CuX/f8WezNrbPI9gi++rtDoBQrrDuYJKXRG9N4NopFX+eLi/otzQw1efP4flBw1WPDo9ZWBVKbFMu6T96L0y1Khy3LVZeJvf/s6HMhW7fB8cOJAqrWrFEMT30mc3zG1yK8eEF9WOBXgHaf/g7V5BTsl5yK85m7VyEAoq/a3YBd6pnCR/+U/opsCHcrs5I6SkHxm3PbUTtBC0JzGgoOTEoJO9aXWssrOfl7vrlZXTvsSdP+LOiP35Ydz6czt6WPDHswzmVt/KEeLBP7vsaelI5Vq5Ovj1QQmNbi+zGtcM6U9fqCbU68tQBB6cgjbOzqvqtz7Ijo+4xspH2stUyo26wOwo/oG1YFcvMIjsz3BdPPiFuK1fJ2g6FDEZ0JAku94HDsyMGS9zerJaJPxXDwz/slthW/fjH+Uq/+OuR4IAVBLapW8llDn5o8A2N9NNABGaKZ62M1movENhGKTQw+CQWoLS/fAYrO08AXagiewFOYIFqF5Q0id6WRd2jcSklLADwwh+jhcEXTe3BEwzDbdI7hn4pAt5lzgG7OlTNeaQgXZppYRG8c3jm3KfdeKM66YF33csXPirtIlUOro11dSJXScAcPwr4FCCByTaqJR1KX43PoLdwDxSOM2/9dgfiVRMm5EjlBGOHdSEIc05wXlDnu81S+xnR88Bbjkvuw+gaAlNAQX2oYqNGIipqlU6/o2EhTtcj/vLOcgEu+6oiBm+w1WhdbPlK1EjhQZkd+QjOT+AGVPtZ4M9CuFRnTlG/3ScQeZwCRUR2oYBVm9ky7C3TDBxyPk+CAOYhcCK5j0BdfSESsGlzXFUFF8Wj1EdFsXdD7+cZZrls9k9ulAI2hueuLa0vqguZHof3V+ESii010FPLAcnkVpqMjjd6T+YCV6OtvrrbJm0RSj1sc1S2avPqZ24mW/yZthz6PEx6DfHErOGOcIi4KUnRPE9kUcdVEO9bbkPuB450V9rJYsdJ+PTkaY7AWpJyNFEcBPX1JktVDW7TwNUG2tGWo9W7dmYtJFNv5vwltKHZXT/kim6OJao6NkjQ2hriGEh6xx3P4RY23yVX54vngCtV6dktrBKxGGebj3L1ZdfyMlwlHnn+9D0/E/Wo2wqpo3uQuCINo8joM/sPezHqrRJvfKV6zaL6PA/49Y1r2HhjELHxj59iPodYXMkaeTE7uUxVyEnCpGRePtebfEF7fhBrysi0M6MNtYlOLeMiFm7msZEUoyD+E7/gYfr2se0AvDlIoND+BReeacI52/7jaXFGjuxzd8+GFLzNnIY1cVdbIz8FHUyawmSuhMq9uwkpTk6RxzFyqHy4JOmMWONbbE17WHGzIev4E/LS2G5D3otfGbXldXwBzpExo/amvw8M9mJaq7fs6fToBIrrNXXyrNYO8pFIuFEtLteaY0PVB3QdgoQOALRvDGXEh+RBMk+sxu/JaIB0LZnZFvRoXT917MmSldeTpXeAQRZrBF2IJQkiuYNMP5LNVWUFYdNrZH5flzcx+iqt8M1WfoDLrK8mMxyfFQXMk1UsTPHRDTT5MVzYV+nGOrdalF5NxedbXMnXSbKJZihHEUOHRqGOIDfvif68IVVomopFAoGGFhP9pGMitIiGRGXongF3txGbYtiTcS/5gMragWin+qidSVleFPezVrznmSzQcsyBkcP0gi543BISmIwxgWJiYapMJ24qXvpP0lnnY+5tqpQkw51SrJtF7kNCuvr/+euOKyiVH4P6qjd6+JNpDC1iZ4BPxsoMBo+nFFQzmDXbZ75RWyA+c5nX3K96+fxBIWH9mp/6q2lr1Ex28GdsTylvNRcdZmgSarlsJBtA5KGQ9zc6/9TEz/HMR1SItU4FeXTvYc4OP7Yz643i1bOi5V8Hdl7nS4e1cDDBvz4U12R76wjtnUbahie2XFfO62yIrJG0p/DozMTeJfrvMSuQmK77EgyrmQ25uYDo/Hv+y1QWVB+TyAKQj/Kv6/3RRja51km+mQ+/6py3qP09sn0TBgx14dEuXn7XpVoZrP0HybxB6NTZVFYwSzPpjesSw9qCvHMgj4cDxeWrUM1gw5yLKaS5mDXl5Ufg60ur0pvXqt+93Yi3RInLtzkmuU3gFcrIaisxSjwH0Gf59cWcxqDWZdfs9LXeQZERmNt7dNI1Y4Z2ZWsVyEGTpvuo8GHGubaBYwtjiD0gfNw+TNjPocgOWtKmmQpbOu1w0oWvDVxl0wBUimUjR6q48NSdyhz9YF1Z3BRPoUHFOrRoSvHFebt03fOVum/Wm30a8OXWNwsJkAWDmLvhgyJq89VCkKMWk4rrrmcmeF9kkZ8C1CtFXmUOTqbrMbiPddF/l4dJ43HZwQnT9GvH9uhxJwKGSyzw6DdCFoGy/hlsfLyKVNim7Ft8RKlgMzVXoBgk4pVnUxKdVtkYjnFr58oHedpr4X+5S5WueWOx3UP5wPwcLkSuGU5weBp8Qdu9tnR7Kq3+lLDO2zGkd66lDIm07K9J9pyVtOiIIFoSYNurYZzL7wiNPmMuM5hUYkWunwfTha9tdJ0FM1z07N91h4Q6EB1/ABzHCeFbYw20dIizRSgeqJmxzd59T5ZhzyQBvbDw8OewqF83MZjcs88dYt57cpEh83/hz35FL0YoZuE5Bodmn9DeNZ71vTFTbwFhbxNl2YYgLqkW2rTnnegZYM+bcDmxQ56U2t8tjnP/w92gDDdEZbtAQurTC29gwgjHIEHkifpkFP5/xuxx77jcHoZ5WKRyT379E/wHpD1+3c3N2WIwzCkXUeBrvE4DvSJsvJar6MJ4zEx5Mu8E1QCYth0njjcTWhl2AhW+dGDkYYmtLF8BgTFIX3DGafHgNdbPifJ+qeTOHAoVIN9I6SbAEUwFwGs+O1k/q19u4VQjEGe0ReqgcVZA0ZfArzzi0dz5gbAY9uBiwSQkW/nT1RsVrVM2H97DT/IkSP76hx6EfvjRDdf43ncziZ93CHSQbmHm5Ope94SaC73DQX+Zkhg6WwSLUyCgwzgyNBRxemHBzjutyJLJp06GwWLvxfz1brv/IdRQaGK3926KFXrpOM1d/VFP9Iaq8RjtRRm3C7l9abK5bYXMMQObj6tFb+Vr7Jps6zWAn9dKI2CoCuZXJpiLuC0RD0rxYccVC1ddo/ApS3C4gtGbWQPAzSyvvjKNl+0kXzaA/t3lrPCVzD2+Lzbs96I5KpuyR1eQ+9GaMvoBhlouXnxBexEbttL34mfNqyN8ssK3Jj61NpA1nca1oka/BoqGi9vMf6sqiXDI2Z2LVL0iQQLC4aTqlM9hkBm7SWku7J6UMnckqMoT1pvjpc2x/3agMeBTYo9XnpvxTRI/73Hfgh909kqwSe1EqKCzXf9mgOkIyatE0z7+99YL3DIAY2O6nHHF8ttHULl7+DEvC+R747PxcHpj0xVAxIktuMjREhSQNEvmsdtdF7BWGyELBBfNeWqlgzpTq9ELGyFuwROpKSmn78HR+/+LgUcIZofyqgkGq1qETcTnNm54JDM1NHnzz3Yyq88BUBjKDBCakQQeqq6NPJdbIuRNkSHTjBaINte88YBjnLRKH4az5E1TKbmrGJoH6qyfBuqF/E0Nlm861gBLedcb6kttcd0p0Z3k3WMYTMcigG5ugPBXQX+f9szclsDQUs5/f+KMZad5BYS+ZPogITdbwQfNEzdCKAaaY0ETu2DOhMRP1QnTPeMDV8ieR9XPvBl0+ajG6ROAl+NuSpCyWmNSCmYkMpP0djcsMDYYZcKP2Xln25LHvXI6dyUrIqqcEEkbwGbPSJRo2UqyPnJCgp2k1nrM+jUjbTCXX2Y5e+5KbR0kdIXLaIR+WSMytx+PLO+6urjimFvG5qE2xx1G0gU5CBZp9fIQafTNzq3zH/jUMwiKnqXecE75N2OZ04nitrQu5w6pMofhTR5G/3nM4etbU4lN6LHdzT6f9vBmZbhYm5uCdqd50Vh8dcMj6fl6aYBJcRVQ4iSq2Ae6hmKDFTEJPg6Mq4Ojiy2YbfDkfuCjv4sn52mAtbeZcSb1HbRtXGNYLg4YEGHQxHv5GdEq18qrSqmCwsl1pKnMcaACehJKZTjRUztZJNZnt/vnPh93Q3K5+WmTi6lq03N1a5QabWD3Mxj3pY+adRnEB29K0h5vQ05GzphoMc0rtcQgsFSNJB+VSwQ6N95O51bX6dQ1SB/clKYw75+JyTwq7vtubuhfhFwOqUbG4UUo9zmWRiATPxX7czPPOqIZajZmz9MmArIQSkW8fcoWgNz96lIjO0IGZ0tJE1LTu1gg/6gn+k5IMVRxudIWzug0Vg7Jyuc7wD6+WDF0eB30tREIgP2OOQelrd1H2K43AKJc02PXvD3RU7+3kwGd3fQjMoyD6mpyP1y6euatM8L9MlkJtFml6yTgrtfHp3L2hGvywBuGZjSmAs92ozUYUA44ypq9uPjng7fndVU+ENeuRl8rqX64tl0pa3zcRWdGJ/T0hV4bARHz510McrwGo4Q8HP1tLIMrfNbPDXtDncGJIpvwzeUJ7hOvQ05/Tm0RKTQfwUT1xbLyxl+GaZxb8vUGcG0asQHMOppVDv1Qtg46O73FysQA/5/bMBP2zy+xOg11IvPpqLg+w3qKJJAkxfDGJ64VBe41WPl0Vr65xc8I0cVsMrRXR439lOGPNaF9GY0w4rFJa3SjTkIBj++c1Ro4cXj/Lj+nTjYwV5Oy41WVyVE8Po+ALZNar0WzxYRKDzzEkBRCvQjqIz5zzXkL4jNehQI/M8ZvZzhOGUm8iBZx5eymTLqGJCHcqRFJmfDpSvEibie3jRO1z+YLfwcmERNbTspye94Fqf1yif4mL0+gC2Qt5lnmd8eKYB2LPw5Mo/bh5Jja3ZOiaBHcsizBB6kxXttoiV6kooJTlLehLNlACeqUYFMXJv6ic1mxVGH6o50XyQtbFy17cEJ6W/VzhEUAC1unCjkcl9lHMFULXPhbVC6sZyBLXfq7W8hTWL9Ygd8oYNPUmxjpCnaqt0xLFBh3z1n1kJiO3gueQfXh8G0g/p9p+O20aW0L8tAc4AbwEcje6Pxi/BL8Bnrqxd9dLeMU4zPElJMOfRGbKRR8Pdv6wE/twwp2OuVbvCPbKERjVQ6c6Ye38Ihn6KGkmiT4V/3UbeP8tKXxiU8MsCjieF8BOVJ0aBGLJXy7P21YjHxH41IkUm26bhaM8jS4T0bOaxF3Jyu8/IQmhLboY2KdUsElH6vHlZyyXUO4N6GbqmTWsfFHKJMTexPhc/YNy538k1PPS+Bjieb9FThjuscJmlRhCi7Q1FPsfzu2J8dcUF5oUkQ7no7kNTsDpM36rlboJFNP6iSwDJSGJ6NEnXh5KK+nFQMrfYNah2FyHa26Gev0SieCYhPvujXZxTwCZ5FH2S92oJ7NxoXrVPVrlimBDulFPsfDgIJb7kD09UgeXzolIqre1WstJIoBo0/ky+VmrOcA9QK4r29AEsh07e3/UxsqvC0C3B4P5ijIqNhJChCz9wvYUBewpeEZI8l+P8OPpeYVi1PYaxtN4SL+ddfJBVIq4MpG5PAJPvWT4LPT9VBP8F/TCDQ/1f4ig/CvVf3sG6r9L3YrDeFFL6FDAoZRMWSAu4n+r9XH9tYjjbhrA2auKWfYilnE/USfq2hMYNnAmni18OMcAdigK/1owf5TuyXlSQVduvCj4T1+bDSNVorUO6EwVvt9a1BQrgYqxlfJctw0qdI28Ryu7dq96ZOd4i5TM5Y+8sRZwfaJth6sPac4hHdVzD1G/9tkdLhAudfWKOjcxF0mUYNhxQXVkHzvaGKJ4FeVsnZQ/g59RxGMo84V/9PHKbse66mUt50Y91+ta77ztA4SsUcADJJ9lttytqWfxfbIp95pTiLCldjmGWja35p1HDggnRGbCRQ+fSRZZNviIvvf+4etJctwTDo3HBzGeH0uW/H6aa8QxTyT4JzS4Q5m4avnKkUaqVIqjNA4hiqLxMn5aKaEeR8WMgYqsrZnLPFRtE3Yb/hQCyX0apRpO1koXSictmbfN9RAPO5ssoXWbv9E/qgHLSmHxmnY4i5ZH8amJytxHDxQ8FBGXSrLLP1uFmcmQaf7KWeChaybabPk9Q/ZzM9psvww0Wm2JzTsiRFKO1FwxHUjY3AC6349GLpirZic1Zo8Yi8eQhfzF0sGat8FOy+ZDNdHdHXCeDYhCcw4dvSA1G/W2TkuQWeebB0S+zvhpZEFgBLotcUJuubZpvIqdMDRuTYgPzMBn/yPedyAReH0avolT9PrAu4am8bIJ5Zjjd36bT4FkcJEvlnBgm3Pqn9zdYHTpEqXEFwRWjRUx4ay6aJryaWrt5o+X2iDUEJyI4GnLn57FL7Zy2AOh/YSPLFp2zEXGLvqdRXmZjiKDUtBSmXJHaszaWGXMrr0MQXx7X47qyC/trMmnYXSBdPmfTv5RqRokApWLx6dDUEU9Wg9hXUch+41DimNKGe3Jiwzq3XXfoG1GeDZv3BiaY2tuFtiShH95Pz9cy5tw8rUhlGuxMLHqYbFAM2l3Ic0Go0ZxPiCYPsUkq4onFaQlj654V+Lld0IaBxnddPqAOc0sEe+xDKBMzPNKXEfoqfKt/X/qfwWBVc/zSMTQrB235cejqDVDVi3mQNjXColfZD4bErfe7bsDQPkhEeBa6Qqosc25+zLUUybhdeRh4fK93BWFhdt8vVa4ziXMhw//8d/M6WkVfAD2x6TZYSECcCZApN8g2mGBLBvSiLTb8FEQHx8+8J8WGd9Q8D6BFZ6kjXgq98blZNB7rubX4OoNpFeY/XXhfpwU6vMLqYy6tHQ/JvvHHFJjQ6OrxY1adElhQnJeEFOWRqPPh8p1Vxz+ZnvDhHHhmtW4Z4MFZwtcxzU0eeDqOdEI8Qr3TP9eG9JAFDHd2qCIB4nhu8lN9eCivj0BjVoU7jHiVQANfgW8RD1JKDceWmIdInCjubJYl/tfPau3360RG5aogdjiRmOJgyZttU6Z2NdKjaEcQyZbzl3eZi5/6yctuyyU93XghJ+VaknjHuc2ROOcLMVqK0yiSXHrTsFDV5H34yacvy7E9E3MqNEGzRN9JYUTELs5VmKA2cjZFvIUattMmBsmaijxVobMdCXsgKnvMxCVXJ6uyN93X5Fq2afhw2wR3mBRQY0bbJVebsEWLqooPp8gVkDg0S8Grmw4NhgOfUUJPbMm/I8qE3CcbhhjN11YXfsKaj0vemuQQKw9PNTm+8We3WZhVKJKPDmKanGFkzxnqvEJD31Xa8pBKK+AALMNXH0fUDtYfePDhlog6Tt6T5JFZRQvOKL4gQm+xUEfsfk469VeUB7fOKOlDr+kFyGuugYlN7uo46W7RuPHcpqCUiz7GbXl0ap68UEAEvzTIw2/uakDiIEzcddnFFx5/NLo/uoHKM8iDk3BkFOt/0U4Pz/i2lVel9JMbar9DP3I1/fBPzCv9qY3eEDb3DkdIumCJLeWTEuLgLkn8prjTzedKaPqiMXwI8WwiQwb18kKvkp9M+Vq/X8FmijHL/+O9nfikyMXhjBrLYqYSkDiC1ZJWycYq5A1mFjjUP8n2d9wmGtkcliJp3zVKzYMNQUHpuNifq4tAeKHjK5t0ZiMgnPANbq7rZIzUznBDBh4p/YeOzA8LhfYlrDk6pwlOOZ4ToUTDn50aL0UFMgRYmCmmZlB51WjJBats2lMhABmz/6SGeX16tGRWVS4UlsKjq2Kg6Mk0wGPuvltiyk0DldvF5PTG1ZdIOtBsSkd/o9njh9J02+u7C10lLEpvRA7jFTwlcdP98EpSnrJNFtZ2vHn4sgriTBJpTzl3v2vWeamqnkQIbXHTqjMN6AvKmYQUbi7OCj7dY3KaTh1SPqlKxvCoPjFg3KALt1BxtchMggzJPSmsEtaN1GEgccJ99Gb+kW0GMla5psiArKoJewH2kyawmyVYqZgKXUrG/lYIc5KLVeuflaab6n+ER2vjgsXEl2o4Z/Wjik+Il8DiYwaJ2du1Qblc+ufG8TxdmHfo8Bpey4DTOQpy+iMvWn+hRRAYifYBN2YzRseRWu+W0gw/wWRW7heuNLjFlfzUiK6j0X55mZAP7hBm6+p5Itoj9U+1h1Rr/vM5ioKtYIdjASaizleFRgXEBjZrxJszQwgz7NrV8+5YHzPxTuYHAoKWbCYYMwOVntpdrUGRjL1PeD9EHkT+VejGy/obRqlCrq6UJ1EkPpedRN0008RqfTlMK7zAjTKSs6lAekCAa7L87H8x6XawzT8Hk9IRj4m9vzjMT6OeB2HmnTI7d/CLhI9+CPhl5q/SnfTC7xcmgQgcBKU2lH3jzC69oHOWBTWjNYNfMvV9Kt/yI7v4ZDlVB0veri7AsTs3a9+NpDSbWKfS4SIPTuFFRd4cIINFPYRcdnh5owOKgNIAkLXZqVxZWisHkU2olUuWqf593Q+vEZOLtK9sddpEt6CfnLbzdZIoxhAe0mY9X0fw2dR9x8vFIl10ZmZrt+sJONYVZs0Vfd2fu1kIeoRF8AEU/aO3GAB1ZDO2SeiZU2B9NuW+dXjCtee+8PsiGTBhVXjoQLjciMs+TZpqWYhI2Sul4rDnP2CXZDgOyDX2v5j5i6H46/IoE45262sBgarIe57ic8DJAwtx1WVmvvYiIrXPHM0jltBTYJlxw5aKwSdSTPPHbPBU8qR0omJGo6UbcgsM1/fqR2tv8MAzphzVsyodhyu9ZgsM4XQ6iO4="/>
  <p:tag name="MEKKOXMLTAGS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ubs11WMMKQMWY5b07L3krsaT20JD06MnQKD5tJA2hZ0y8eNH59O5xkHMShUFTOWejkJCOFNDkvRytWtY2nQeAKAnpI97igH3orjEOGC1uzmd1dNpjCjcH2ZBAasOefHTQjGZK3+1lyzHhPjDnYPPZCKKd+dUOiq0tn0bYKBgvIi8fIGBKYAljK3cAkWHSbzYnnjpUUiqEpjVYTp6dHAlkjo+yxcY3/zLTF3NXUNEfsg3hgXtXHxlMvdB4umX5h7DuTCk6k52M+uiP3R2vkzXG+Ws6ySkJrTihEfUy014PiFWMyLTUqTo0SeaJxGouPXbwGpWbxorCangQlIsV6oZ2hTtIpKiRH6/yNOXg9QBVIjMscFlVDbwTC1XAoronrMCknPgkork12lhY63VAxE0x0RbYYt94s+UIf61ycpBVIbHr82crmMo9i+EoscRIHEoVQjM+mK7iGVxNkDc1cn1B1KN3ZQA5sEOrGNBGFTeaCIngUTXldaeZpW3+E8XBkuJlNDCwTrHej5fSlc2d4zUxE0NaB4BBJovkQGP+2IyX67Ap7NGX75KXxoJItj0Lkn0IlBfskwkVjSp+uCVScpiMJAFY4GHiVy/zux8gl+GpaxTy1JL4rxc1+HCX2P6fgRBEh3Paoj3ignBqbBuK1ON7uLaxFgTpQbYiU4nh3sfCYh1pAwwYh4WyTjcjdmJpVvMlSrd6wSCcVU2vmMDJDn58Bk0aQya69fxjlQuh8hrLWq6GYbmYchdRLvIsBMJFr6L/Y7cWMPEeH97te6iwQRbKt7orQS+Y3xQROJKeX9mnxsEa7vNncNjz8nYkd43aRMt5IniHnbWbWHYleUfWVazkRIwNERO3sEuYgBXa0bV/kjrLGaLdQ97O8qx+HZKWSsLWQXtna02oWttMGJfiz2nOZsI5w/q57XwbjoiOjjULGVsBDNZW71dsuxXY/Lvphe1Yd1pqwi8FzMtPdVPZkLZodFshXShITZi05b8917bmnIfF8HkH+jkgARumG6w74p+MIc79beOj9861iZ1M6V16Fn8DNrQOB+n12+P0BJQWdLhiaqGWZweq2+EFBoM9FT88MvWkxEtWtSyZ2K4N4yh81m/r631p6s5ao0eGvJSyVNmhZOZylHxkL8oHiVFsjUeFXR5AMpJlHGRfnYXpoVf6ZhT/OFLxQ03i1cljCxH+LTA0OvWhrZAabx9dCLZ2ixVE8DNbsncCVtjYEEYgud04xF2O0BoqQ9pz4V3tMVNh649SUUSjH/zaT1/JOkos4vHIF5bx7I5F/OXWdyIkmoo+3HNFfu7upzeTtRE4d19DY9O4xu1zaZANLDkpOZRpN/qqqL8/a3RKXFVF/ETKRLsGJ7oFsLVRGRGHNGhFzjLwEs/4BvdcvXaCPHYgd4+HEmLiilDVn/7K6l0201FQBGuAfMIWAeUpdY7/XlSP209A1Pw0+P8qyRAtWLKC0P0mCuFZn3qzCpFrddKd6MEpEtLZXcniZ3w/o1Ps+mWDDcA21RkfZkUrFlOwfj2+oFisK2hwbxgxeXSVIR4lIzdhvGa+4mh39VD5wwGBnoxlrkYumIrloG1+DwzwRrxKRK+HLzdrShpIm/+8JGsjCPpQ/LBuP0fM9Q7mvy0vMJb6FtLe6Dd+P4KnaOHyNIkylM3RbOUI3B3opvbxYoD8jlfX38VZunE6knSJx7ZSr1Y/yjw5cRVMdgkk6sdLI5Rqonpt+LwG1Lg5jR3fTrdrlJr8eIHQFEy+aUYGtAX5zvajsTtQ0PXskkhA6fqW4Tm19/2uZ37rFGoNnXICYK8yCHc8IH/xp6zPD3jlTxOi72DkbGZ4lX1tibR8OEAMrI+2anoC0OvHeOCicyYUBktlrq+1KXhjkIHL0yKaimDPtY3DediyZGwhftaIp1pnobM+RaeYPnLg4cua0zOKs+mT+E+uAMadLz7QBPku6QxgVf4VVQIuqmtt4F00duY2eDtkXVkzmAeJzcqVCz4OmGupebaQ/DNvwW7Yk3cuH438rVMjYYZCFgFslXVdCqu/htB+u5qx++dVtFtO+0znuJte11ild7fk6yl3TDB8W+XYtHJmRtoTfR/WTnxYtnaCxFiBcitJd0U4tOU8hMFkssabgkkpm70sm7rfvXzOs78Og8b0hcy+HlQvm5godqC0RpQly77unOmb8l4CASFUt7af0SwnoQ61TsPnUsugA05xgM/vwKblRYpQ6gMMyBKXYY4fhYhVV2gU1vtV2sKzi5yp843EvQv4RUT8tLruJMoM5b002dRU26jANLVB6qpYmEWvGvq33tPR+SiWQoQODghtGQCnDV1392CuzvbPIRKXOd/HRsF4nKjj7BFnZV7FLOApMB3jFfm7m7puGXwv79EbwLXRWSPFUkRq1NwjNBvtYO1SXCh74WH3GFMagFhGQBzwEDbE2daP4/6mnfM4Le0ADvsyyAcy9nyRoUgNMy6afGh3D4NGWDLPQDQ6J/sG/J+muLwMn14V8VJvdoV86MhhbVcRl7IIhh54Yao0KqT++2TkfJoPwO35YKLpA0o4Cv8uvrayvmiwfqJCuaPd6utoziKFZ8kltZBRpd+usBlWrxeWy18Hw4tT/9uylUrAAooOXgw3bnQiM1iuYslAJ81JYJ1+aa+Zhv4q4tnSCX0yiUSPYHK4vwLB0kr+U3qF55ZuGR9kbC+C/roBVNsNC5ywP0TCCxrxbS4cCPqkoye1bpMEHgkqQv/+D2myRvsDJUkjDyxJWnO+ZKBBoKRuECh7jhD2HYE7Rz8cwG0h6BENjb8LX6mION05JcMbQSqedI4yK5WJJS0IkQWOa015MGrgwqBDKtlNKrMcSMeB6fQht17rTVPD/on3/5ORnQLOe4LOyhl+LsfKZR83I/7SRuabmBDjEBIuNml3y+10pDhs7ym1+NsooUdTIwd+VPbrl52UQEB97KAPS+e8GcMu0I8ug8vGHorqAYlFwyj2VMhicGsgxWbvxFapuoh7sgdvufGRrI+rl0DaOOckHQDAWu1FipLLlzXadBIUJn7h7P/BTYRIjs/FB7FwUz4FFH0Wq8KWtpBVwG4cC5y6IUjA4z3GG8vM4OxMFWtXz1WEpi2EkX9FAjIQSEddMlgXuGAghVZeWyOWOjQtFYXfVimX+fYZ0InuvHKhO62bbioMtnUO34TLfxZJZNfLcioorZvm47FboQywChu7L2uVyNGNkFnAlJ1YkzVPDLgTCLLvsMiUgVMayfZZaja2vJ4pMhOo6LlClL4ujiR7tFZUGARfBISctOXwg5JWVd5cNrRjOxXvxzi3cLQcjylPprwUjXlC/AVurplE3u4uwiSpmzhiUsvR8byDk+dLQyhXzj55Qt4ik3NkcPGZ/lvY07QJJJgWfCs8DZVVFxR0cnBTJQtPT6UDbAPHLYcDDLSlu89AK6NAPCQhwlHe6Ye7D7PMFlTeGn/Jb8MNWFn/p2gOjgfHGpfAQh8z1MmHrn9Rx2+iiU+6en2U6pP0rp0rVGGkEGcRZY6GMpIu2+MNzaToZbMj4VLI2bns5kW6xnFXNzyLmv5UezmAe77r7bxkwGUQoTe0a+hbScEFsjK9GvSbz1WR2l4C7iLvteMTD/oqwwNxebQRq5PMaCedYaN8wZ380/d8AcLpPGk5aIA4y6tCrymlgGmuPa4b767UHQlvM05GZqINX51aWabsU1cmWUGeoeAEzUCchbocGceGrJ056Zd1Xw+/gxxnLjYQ6hFO84I5p1RBulSFK40VOMo+AR4WELdwEYNs1V9GE7qqZOJ2pHN7hpqDzDOWGh7fGSPb5uohjqtPFtXmo7wKpCe4ZcH6WWoLYUXYjuQglrVA8CkdeEvksF3ncC0nkl/2HMtSgLN5+P7EJo4AYbJUtA2OpE4c6S58ZfAuYUDvxzt+lkLZlkiXh0MKKenQ53zsCCk16TFi8z+6a2N/V4UwbBTDyzzWbofjFP6QrWUYAcx/7j+n17Xcl9tKyqjxPnP4bW6r8+BnAqR83Uz9vIyst6XMRLOXDMltlYrPNnVkLgInSCOhF+VUEaDq8WK5yllIOEUA0W1YaaSiTBLFReXndm4cSTttLUZlBdda3au27mcYNCqQB6Op4keEpZ+4TDzMW6dZev5s1uSFiAEKaM4SqhBLKpQa45jwpSI9rTDt3ssD+hcZY8XURF60IYtvqLV3Xf9it7EGcCB2fUJ7kdDaVEItT3PJPtvGBXJlpccPnfwWynOM5JGxJVFonLVO3JtVw+MIMyMJxNFedgInUDwP1YbpPHMsd20FiKaEaLzwY1BReXa1VQUBHd855jAfQZYR3PXxVo5vcbVCMkdUyPhwxiQ36pTzhU2b7aKKCQD7PhOb+5CMt8t1E0+fbJ5nJpy1tHlsuKkD97V19q2WWXfT5Z69PrF1L9qhx9wSdBoNqs/2z8ixlIpP8yVTxHN88zzagBCS9URF0l/KMiFNTBFUpeDOUVLjdDpnB7A+WAfT0Lye1N+TtrGf6BaywvpIJN1Vle/SJ9wQoDBREr2z/Wcw5xR9+zWidNFXqN/ftfdxT8e3i14jpO70cyP2XKxS7biryfHBCOAQCtOMz+TrzXu6JNztvZS3DRwxkxu/2Fzre1h91xBoaHb6kw/0t52VJ1tEtG3ebTrXjEKDX0NiQX4CzDuoRbY2h68xK6xvPV1AQYLSJvcQhT48VCUtZsNVF5i9jWls0nEumVZ7hC7UZUNbfcD48Rjj1UYXcTQJ2nYpp5mDdgv7oPvjuztaASUOAsDOk6KAiVjYFA1lsJw01Sa0A1aRKkQLpCwEeeI0SHOQp1b4zzqioCeO/21I3+7qs5B7QYLczCFM0O0uKrsjpJi8EGOLJ60eJChWzo8pbEWaqVGsPsOpzaYi5IUv7RgAhfOSBDb3xOQ8EmKCwxYfji2qfUL11y8bKiYxK3Tiyh3Q88oqfRztA3rrKB7T1DSgHThdFwT8/53xirRO8BOJJWgChLiFXS9sJfoYvoYj+XrPmQnw1cWtwcvmZYksosBope9ukXvg3flu6Ey91YycTyOewYKM/8VTC6BLlu6V1PKrrctPmCXhvdm3gUJ0R1d1g10o0wnHzy/BhyCswoAHhMVpEwEBFzme54TD3ATlZV9SwRfzdFf9+4ptY2+BV0uCGq/v6etLLxa6d4jgsb1rFViyqks1jYzGrVHGlYhm6oXDEI9wH/bcLzC75oiVb2WDVMITpGM9g9iBoFSTAmw02nGAofQSvHlHBtrJYVdOEKH8aiG1uLVxucU52iv+R7qyVnQMVFZa0cdNck8CrAYMZkBa7W4OYhQwKNOq4nk85E6FPMaev3L4qzjI01VoxApUFZJOBtADOF7TPlRFXeuhi55wv5EqruWgQN4p72C9yDsegJedtHDSq6Mj8u79qAhU7Rz3fLE+RYRd9sFmMWYwbcGmQJuFFZJ44BrK3LMe9RV76tiXdFKVHJ4a1zFwXekqUFvWuBw9R/y5eJ2+xD/iFjLbB1I5NrC6SquSnu350I5oIHXiA+9HAKhxZWM1HXte0ZLu6jEmWrM4EGt+OnVcZt7jxtetkt5AakANC30yyG1ttApub4mptsJaoM0Hlwr6uQSpkyl/JTLRnPDa39DcHHG7oIu9TM4L9S+vhvIiQp/QTBgt80FV7xRc7nDLRjkSoyPYnbUmkHUvvhciWVk+FUtT+puP3HenMoakTZcJe5YAzHZW1jzq/Lcd1Ij398QeNIKHRfeIT9cIGEXT4uDBuRL0wqP720tZEGQqCHhTub5K2aV67tBfBONQ0ObIwI+R+fsrbO1aL8VbiAEmisuy5kKAZ0LocLUnodOsMzRij50n1jVIFcc3T3qFsmwHOm9beA8sTx7kOaI46HvCrelkEn7CsZEqv1COwSu2crlPkjfpaDWB+KI7PzxUHNBG+Qu+6tt++vkJAyqt5BUtkHyyVm8l3aIJUSJFt7Us9zdklDp1MlsV80DTsZIqyUrud4hM2T4J2i3gbBD3WR/tqfc4+4zJ7RYssAzgIzz6KJp51lNLGpnKGpASSGxOi3uRi0ymOnRx0QR9NBQ9fJjoRqXj2qv8zlkAoESABbpn6Za01i2lnHtYBBvSFa6bDuRCj5FI1lotPb90YzvG0JCVtFDw8A1N5m+3bL8UTTLjNeKeIhr3Wn5ARto5el8CU+9Qia51qmo9NFpbsZ/Y6F2V8QnVpf5ks/2Zrdyj6fI1QsdpimHgxeYbkb01YHBuCFmMMYkNd8iRPggvn9YEnBBkJU3BCe8iY9ycVsyTycckddMxctAfjgFP2Wm8hDV/I/oOQnGarqK8sW/VI8sLS8MBuy+ncz4AcndjIZ7CBLhO2RAYW53xkEOyDrZmU6fLphu1ktdxMuuw7Guff5xt6huopjHz7FVftQ8wCAemwpltaq/QahjUgyLnbeY2HbU6lEu3ByOXXjtTV1l8MzL4a3Vp7lT+7J4GUZ+7W3rPgtTbdtZykfl6ah1Cnqr4NkK/OrWWXSeE0eKjLrLG6P4wOWk1fDLNxa8/jrRP3GQpyFovv7n4DI5e4PNiGueX/721AlGOvkRYIdzKql7bP8nR3JC+dq0hOR3I9B42FDglApEcUyG2UQqXJHq/WxNqETNn7RBR9CUu4zJP5IAWuV63Ow7MSBOV5c4A3S30hsLDhW7ZWSU9e9GTM2I66pFr7MzQOgGJw0rtlfQ10hIjr/+cIZ49PQCqsC5BXQT9YGusG6XD9V40R4+YYye4fyQUmV2v5FZrvFFQEUbvVREPJs6Buv64oYuL6uxXsSCM8S2xUGQQSZJZks3lySozPlHAz0tWRfv3Zs2PQzaacEEbdvADWdqzkPMUnYnhJS8iw7GoFSZLnMdg92MJdgsa7UUc+ta/5xPEE2HG9HlzecM4mm8PlYerHDhqc7V8VDCFJiJraZqJCTMkBSIiIN0szmhPuFf2aD1sFuM29N1Js3zX/ejxMWPDIpQr84wgqRLeKy/bqmFP+m2M1Y60e/GwDVbB0PU8gytFXpkB3HraBTjy8NVR4+VGQofjqYwhm5lbAe3AaYuQWVPgsGEx6fACr/L0P096G/tV/eqhrHZoHvpzzrZnozoWacG1Y2bEtBfGURAAJoik5ZLP0m7Yzw2Zj0x/XbgU1e2u3h6i7HGE2vRH2Fnq/2UfMhT4sNjNpE/LHpb+RTjpyqunDsope9N+uJxP4+0A899ArVfFux8tFrWHI0vEA8a+67BDh5+jLtPUxGe7p527SPmfOGtOItPpsRuFAIuGhJK8BxIF3hZbnAOtVkfTV5mJm6uML/pt9iPPnFmVqjFbKLcCOu0rwVeLMC6Ha3nK+Xc2OOqSa+AQlrwm7YVrpUDGo6/1lF5/9IVxODNXokeSgsqbpWaQ6Qv2da+ouJy2cKW1HX08p+VrfYcyr2iM+Kd8oVN8zPY/+F5qA0/OjMZ138z3p+vhOe87pW+XmlqFPw/NRGLgyFgAJJkXML/nHDh64IdtYPRpagdVtSjnPfaur59jWNQhIA8yxN753pCJPdsc5tPG9eKwf3LsJeONQzOeCvU19pFffkWxCpmyqS6PyYKGuqauwq6hBbTzSK0lAvtpSq4Vezk42X2RXIGteFrwdHtLpL+bSo2FFqo03epwICLrSWSf6Tbf1zuvQtm3JCnL8KY4f7wPi5o1s0skFxt9xPHjQyMZnwbtO77vAwZtWpy9zlZpebbK7peXaQKY2xKMVcoff9SVwU5TE18qDcuVa3J4VVmskEKNQTZWWPi3c67ksZKnhQjYkrgnRycUC3obp/pM+c2ogttPcykZxrZ57BZcHiH8XL1T6Uf/CcDHlRXNp1O1RxdSGrixPQaFYkJSGqIngobC5FWMVERgCLZyHIUBgftSKWeDywFuPuHLh0kqcNGIhntAEhD31y8vVDkDP5FSN2KPylUW+7i/lRYX1xX6mGkeLPSeCm6gEvGa8V8zBDSAEXE25vnMkc5eiGCq8zl9JMhQnlB1ZLDJkw17w7pDrZN9lHq/S+f5DChA/7/Os6M77MQtJ+1ZJlWmqVnk+0/4XVYXWZRSF2pmEOnF6XywHMaTRK0cdVCSgRJ0CdmPMEECY4E1+uTrb780Tnn1foHfqpADuxjT6FLpcptPFwUZbTMbMCo3l1Yt4jFNpV/6ymjpVGaW8VBQlcszdkzGccd7MIhSiavEftgLwl4vDYQ6SgFv81FEZ0p2RGbQaZTdYHjv5tyKR6OcDgwZRgupFNe5vgNq14pqWACkR/YTsEUVZaoiH+v3OboaJed9stxTpSsIGT5o47lhdGYTE9z/tlPD7rkZ2c4iX/6whzkw/XGlmoZ7bcpfI62zOnKUK5qNS/KVnELPBbKL43AbFIeJCVNVPlALU/tMeeRcPVLIAD9jupps6Baa3n82Z4deKStQ6zZ6SJau74wjTn+cSpNGOlkbdzLw7lvhFpUSTSVI9rxZOeqgpH6h77+/RIWGtp6Ty8HJnoRl+DQYpjfMv7b8f52WXkAzPUxzDQEHZ6Y1mVbftKV9weD4uiMx4Aue/B4nLTH6CM7NFzkypwwNgfGZY+dAuAlvM0r2EcQyCK+LgSuN8m992D5HiCupsyM4+/j9YVazV8nD7I5EFje2jbSu5q9uzZ6dUBqNbdeIRnkfn9UiVnXTTneXyTQd2kWBmFWLMLQd+6hbnFto8qFK4dh9Fe7fJnux7qG0EMCMQmS8hJthH38Sp9SvTujTxUNtOvKjHoe2kvWsXCRFMg7u3Innu+7KO/u5dQnkISkSnFChogNkkYZfwhmRpm802vXo41fsdat7D9BQM4Yeon0VS7j9ih0lH7ulmJNaeotEe8Zbdv/TiGcfwZxTDgi6BcKD6OPXI3gdimH97qkr2+1/Y4WGyjVF9AnVsTzx/AQsPUKEGBEPA/kZtjzkzHm8N7WHk7yT9fzK41Wg5SHt+N0pSzFwBCQpH0mOTKvvHLbl3ccwHaAO97yeXheNUUsnd6pjlIsckvUgUxnjHzH0NHJk5UFKOhuJlmnXbkxmZZPzh0mRNK/jimV22zMsNjdvE+k4Im/DlRXqRCIM8ojL8cV7wpgJF8aoVovg43Lo7SDMou/EDfeea/eTWBIgu292CMsAPzVMbLdDl3rkLhESYiKwBkCbtP/io8jtIpxNjvS7aDqg/UVjw47N36aBsslhFvArSadSkUS27NLqrbhurPtu83qjbiM6MOKbc73wjZwOHYSRs+m9pQuVkfEHxc7UihLxYtkeg/msTFe4hNknipBTMXhAfJer5QfpmQyJnkDqcm/0as8sg1upup6M89GpjIwXoDd3KGvWpgNGvTFaD/vbX5CzVsU1xxoRd7dw8oPbe7fW2swbHmkymqRuxklE7BERKYFNegnScs3iZ8SnwSi8R1o+cRPX5zqo7Q3ZjOPTAAjST6FDZ26RA7f9CwnUJZ4emFCg4d9joKfSozNU4k+dIcgWv0nnKUQ2Z8R0G5/S932tpzFzVOuuhBJe1Kdde/aghUDIBNWG+LvgqSDHjU4ZUFIWhRIcMPR33y/Fo5gr0P20MKDSQIxbMVHTqhmy2ZY+8O3Y2Q6S1gE7ciGkeqibzYpkxbaF1FYSSV4ObeCxiZDLSMwY5644jzaJQqreXGYI9EQaLLFreWBle0CKBmyK+CqLZya2cmXnrh0vaIWeh3aE7VSvitqVvnPUJW6G7+YFk2Ufxm3vFKluB+aO3Tkqgad9+o1hgQilBvXkHt3+yl0njVvuBA4IBORpyWdIn3Adz7UWgoifr3Q7oqLdA+GfnRG/MIHB27bZohknvzi4zSfn/c5g+nc2KP7cVJp2i2Vs0OdJP1JFcEax05fRDoCzpZBtgKeTPsYqOtAG0J0ecNWkQ5/nsu/FVO8igG6JIKDQyEt0VjtB+rNgyjNp4sepVoB0mrVE3HAfzHaALD2uNrppB6T/xS1FJMGmwaDFkwr4h30P+RG2MTLENEH4w6tKEYxCquDYhSrTm8nM5MBdMzvwYPVQZCX1GviPaSjWu6+1ukC+uUDi9RgaAa/Cb4F5IAokJiK+yq7bQpyXNvdYokTw6nUxOhvfqpkMvjwGiiWl3Xmc3YBtGe1Yr/acitFAzuLlJZRrJbrrsLuzwWym1yRiKDsJ8I0SvpIAf4K0V5h01w9eJh6ma6SfsVEaWBMSk4G7Qjs1cdtgMAl8HPCbbGEXI2EnAeItga+EfY/ffKCQDlxZlmSWFuKV9Zgeyne3ayPbb2wrNwDtjqRrqvWolpn0CTzsNmJ52Q1PLyK3nSbmjGxzOc9phleL+G0SWJRBKtNAbKwym2P9Pr2bqvdykTPCzKpxpiCNS1qSGoniwzQ5xSuq25uufZjQ76nrJbQkCheBTD06wwq6WfyW+cr5Jir+8L8CygCIIdxEyIUC3Q7EXuqiWtG8MLVf+MVfMOK7Go8n7OpEGX1v+Je4uTjpK6hzA6NF61LXsiCctW0dd9EPLQc8wkLfAUqwYCRucdPWXN1RWoaGr0UBzetX12G+qJ/Puws4L3cr46Q88bnlKbG54u6bYjsKuhA792XdjXRcpsiOA0oLqks8cUILo2FikH50MJal4a8MCMYUeq+C+JnzSpoZ4OM4gOFgvfeexm4rwECN9dKuv8X6yWxg1TM5zKPCRQ0h809cq9wWPc2xmrGTSXgg/zl2x3QIBbUrlBIQv9/++Z9gZMvLrNc9PpuJTyt0EgF3aGoZl5r6IQ9GBzqjc73zsX43v5nBSFh/m5UdpkLIlAOQ1ohztjZEF7EZBKNwyciYVOaiYpxvD9zLiV0QlnXY10d1Qk9sgic5VK1KjJyP9slICzFIWd1cNFbAvz3XA0B7fME+NUR0uCMPGIugP5zmBDsV6SQJgCb22cKIqG/dtqBxcVRky1RFwXf0KG30oyIABYTTIcWXUd+rqVD6ww+qtLwen1vqzvh0C2qzSDCRlrbX8IClHz6730vr/DVrn6M6y84dPMgjLl96Rn/dZzv479cRxQriv8Xo+n5pQ//FOLnyNDOj034tAX/sXq7WKnR9SuKzQ5MSKdRi020+/cdeINkFYsIegSq/wEZHlLVE0IhtOawQlOe0h82Zl07wYwKQgT1H6jVEMnCezgqUuuON+fge12YyV2N83JQg5OXmFscPsrHWGPXMa/Kyh5iTpdxtrzawukwF3cTIctrDZfn20HJCmPD66FvYs+yNqQOaKVbXbq8iHJ8bReI79gl8bpuAYkZNa75crlws89FyyazFdNZB41lGi+sM3V7m1XXi2i3DuEoxggIMuYxsh3o2na7EjckNaWVt6gWpwsJofaUmX+9J2gX1Z4haSKVVgs5eNdgbnda/Sq/jCwMryvok2A+B4foXdNXfjnSlikgWDf95wcUpXg4vIY9bVXM9/+pwt3U2Vk64TTfGMWEcx4e7lwqUdUxWFoLzSkr+8Z4ldyHvMf2AWtI6ZvpnIPnP6xcA2WubIpzNJcaeAymgsetW6KnKN/8aSi3a7bS2vkGwUFOG4PswaD8SrxGOQ+4dr3Y4H57eSvMJbl8YzjeLMbq4E59Ty2QOx0cX10WyTVqxIgE0ECor37QuNZUyvypvHqKDW1kuC6QlZcYPP1YDQo9YWpl0W76sCOvTFaiFq1cuBPCdOVoLm+ccMo4MMv3+WqbGCP0OI6yisW8IUKFXiCQByKRhk5ujEs9lCdiC+x0WYni+QO6yBacyQNGPKrbgL1lfyt+/FTBERM0kwfHCdO/J6CFDRpBtxZfQhTdZ0S8q3bZqyD5bzEA9uDEk4sRWQ36VWOn5fzQ02zH11S8lwfWa5VnbU4o1S1zfQKSaa36i8bMeE67DnIqW+lIjraIYJlLksxvbD4uX1+Jy3sGoPjYr+L1z6RiwY2hz5kh2CeBXAOTXJA7oiaPdr8Vlrqy7yA3E5aUoeGAA9mpweR1gdOSs2skplpaHyX8ogQUoVYYis/yhRrfcMvbW+6vRwX1LZRZgVsU4/fDbpZIYIEk7W0njWmRerlABCrVrFYy7qJ6YeDvp0q1XWPgI14pDaCaHoV5WIsn9xw8dN9fxu6K5Ri462spFq9Resrhu4Q8Dx9RmSI+yuNNC78TOmgu9tYQpwzxC+Pt1YdlxiPyl8YXiyC8HdlOhB9m2rN2nNVOcuETOPnwlcYe68Htn3tZ5oW58w2hGDwcqI6G2CdvVrbMHup3LhYCqIO08dUt7CEsv4/aMK04TSXqgv6fDeLAAGD8v+mPqBXnKsQPiQwvIZklCiAkr2mrzK0GGEWtmWaRPFVFVYAiCJBChDoStjNBwx1EQI11AzP+auKhzsjZrAyrxxBMrCWeeCYVgLbUTleAenedh8ePlrHl02DRu15xs7xvZm1rDfWSfGOMhsuMqgqvh99nrX+zOegZLBdqkaMyvJOvujEAR9V+Qeo+3xTPXIi8v4jTZOUB+xSOGvetWD5hwbdVmngWS+8j4JJRu4kpPhwKJKFc2qjVbsNBK7yh9YkKtCwIrAEajKCKbwf6z5o48g9UftoMjf4rUop9uX+iCFrmvHNhak9yWvNJyVna8usAGmF9DoG+iSufRN+yXShSlAC3Zdn2t+dAkYi1HYWP197YvDWiOntlfWdeggWIBN2sjUPA+0ATkJh4ke7mRxVYGNIQrc7aR3P36AfrQjAyccAWajQimE1mcEr3PZUT0uKGRpg4IbfrApIjYaIZ1bzeyyP+3AkQeFkqmuQ1Q+C6k3fCh2hxgKzsTh15dmwLx/8nP2q0PGx+clNhie1lh/l5aFiCzDgkkjdYH5aFTtoHBybs4aGK7ZCexE0yWBeKZR19YDH4IdZBSVl3tkQ+GDl10uABvoBMV2fd59kQpDwQYdzyFKmYrQbAGFF4mdJ2FrLg/1LHp/QDdR9MlenD078IGCCpRC3nIGmd5lo6Yb0jm0GD5D2IhSij2qwUlkE0I/OdPYWilk52/vr1hE5/rGuqSrddRNTn4Esva5OJxy3fz17qgGkZHg3c6OCOu3rUJB7tlIV1e9IbIzG4YirGg6/bJ1GaV6+YEsA3e7SQ09URtSeMSPxy8OFXmO2q5U9pqjvm6GsxWfafTuWXi77CO+F8lesjlRpJc0RctuO189cu1bE5NE07ZRNtLV+RGYVMOPLhEwxSY8kkIGs0qYgQYDnt/OZ2lms3HWml8QCMXCNw/wVk6WPEvdwnxOE041hbFpXnyXIL+cXvYpIgVynPvZLbxYKbCxISvgayBLFQsCthJbZRh8v0z7CQpb7MhaO+sPg4FnvuYhVq3ymcZb6leTxD+pfetUrZ1oMG/sSNwnFVcDBj4+28QEx0jKt9P3JiOs2Q6pj5B2RFmiQiae4dXLlXtoPsm0IoxOpBD7yTda5cIj08MV45Os8iRnrIULu/SP1y9wnwsoZZXkNGsujYSS7+Eoi4bXzsM7HSSGr5whcA9xfyBCKy195W9M59tigsOaR34wPIR2/F+thk98YppjCS/Ld3soQdBHYcL8Nc1ySaP+WI3rI4ijO2sVf9Zq7jpD8NyfWYeI5bTuHdTZCYdCF3U7d6BRYyycNDG8K5W1JV6c9fnhPsHpZMOjDsQQ0BeMJePkZtMTN4XzEJ4qNOgpAwviiDAn7rqlRiyY/FxHezGQbzK3mKRnzjWqxwZRQdvD9AFYeMgNiFXmxk9iRiyAjW3D71hfX1LH0HSVvNHtpX3vvk/qyln7ibEUh8B9ElyRryYgcNEPsdYb1B/L+b8mfCRTGnvmXQjZRaoyGIn/oh2FQcoTW4LfV/uOR6T5n8avMpUkIiJDOyW0MORJQhmjh91Oyan6LbbFj1z51OuFdbcONnpJcByb+sZTnnx7+JaAGGb8qLzmgwvQFPImvzKdq97s6xXvqgzkMUsDC36f0NQh19ur/loEtgBdUXy8WR/rSe09bxDdNu1U3Mf1MrtWTjbK4VgjZM9f4qKb2miTKLPNlTD+7P9UUmZYiuRjP2RD/Ar+YTqgybGk1yK8++YdLI0kJaKK511DA72ZnuUWvGWoAgBLr4jxtcGoUZVbvpmNcipkIFQdAApTZB+LjBJiMt2cW/45YV4R1o3Gr8Higd+QpnP7m4ZsMPyGrFt+Eg3Otwq26N4rnRTIFHyGe/NyZBQj1oS6+mZ9O6iL4hH4g3cZOe/s71G95Ta+mgbFWyw0oon/yRiHQny5lZdV6KaOdydlDO7vKpwUVV2fP72W9ISQ+6sR9TVwhtW61xw+PqPPBRICPHnH0WjAs+E2ovGTwypvD96fiqlF8ro65mROdRdsYyGqfjEhO4oa5CsD3T+5zMSfJ2FKh8SD5sYxEUMtTfNbGAXpj5jHB/CTyUMJ/4Axb2D9aKJi3iCK5RVttFM0MoZN6Zowzu4vPfMPAZ4oP6UPydesKNA/rpBvuFCmfxOaG87rRgUObw9I8pphY0lACqNZfn1MsLCPwryU8UK7IDtSfqSDM9G+pK5cAGCYxiHwsfpVuEueRSRWECjjMC5hjwVGocMx0BVu0I8pJA5Aal9T1OMrbhW81il2S3RJ7aYkxPMCDz9l4BK5Wb0fNsbf2Y1g6BbBDaSxcoHRVAReX4oHTkPChGYDVEygh0ETFXiTRts/XuB9lV/HtYLJSRkXR5bG+4y0TICtH3FGJWyaIywczVxA48hp1+Ir7GbBxEmt72x0zxIn2mvhtrzlkqRMx1CGZo9OD8neHggwPBi87jCrf0NyflzMW4RfQ5erNRJcSpSd01DXXcuP+V0GyUmavfFzhM+2Feofh031k/S0dDKpvrXfyIgQBaxBx7cy7as/OlPV2hIk+917YXgbxJsFoXaQ3bwSynyw1m+MQEfQqSRKiVrjHU2PKhKvu7f7lH9d0H0VzTZ4j0aHMeO/T+Xhdx4mEuRMKXerBnEgSuWD4+84+CyBg5qCVF5XW6Z5JxpPJHo9oRHcZt6GdFh3zunkCSNFmzI1wo+LEDOWzU265BKl7L2/WGVE4bPOTbjxCdfyX7OdzYUG/AWGbOk+XwVzl/awPH4QBzoPEzXwuE15XBMFqu/qb/VzgZlj4oz/XUAvfTl05UBfzCfLBc5fJxtHJvMHOkVxeJ5fgMzhueU6F4uOFxXoMEXLdLwJdefDaoqcd8/tFLposb8VNRu0rOi7zNwIdJxOUbh3IECV5afH1h/brYLLzDi1N/b4LmI+3O5vQU0fkmoVCHWuQd9yCDw1+lE7p0pd70maLlz2VXPo/JhfGIRBLV94gYbJeCD+YA897thRqPFdLyf0RuUNCN0oAXPuLUNIN3BfRuCAj5RO0iT9Pn+LCJ6/wKeB2ovEmxY136M5EWkVQY/IolCx7nh1xqbLrowDIeW62thZDpuIAJfak4+bi59kuSAtw5/7v7bi6Zea8mLpVYkDzMdcPfhJ6nAa+XWasZjLPCDvenX/unlnqKV+idA8foYI571eK1/7TUyeOmALSafk5hDMWktaHYY90ByR1jTPidkLjimyoZH9B8Kbasq/JvvwkDYTV+YgCMUnJY4MHUiJxXTvwzd+dTdZEzBwLD8t7Ic3bB2exLI0fL58gRINrG5rVP9jUJPB2WMkVviAlp6lERyqj9/lgSsqhN47mlncyA0t8k2DlzxB4UYLOjDNNbXz3nLK8a23mBOh+yBpaZ/GiYtMcSjxmr3wsxGbmr8NroVmrBgQ19E+w4USlzNwZrJemkLdsfAWP67PVTBoyY+2imvOfsgP1cCpkWTnGk+mx1x9GG/sMaxGodAAL+ZcFhKk+qhQ215rghzcFCheo05U1mHQdwI/rDH8waSSXEIyStK88DrGx8hUi9HRoi3sMWvLgP21qqAZhgNOcf/zD5TCqHv7k1PomdCEbbnLagESO2DNEUi2GJm4C2OnCy35JeYRetsVWb/5ytj8pu0EYQ2/H382ZSCzbTvir8iiKrHI/LnBDhBwj2zk2i1I5yeeO2bCTRy2EdL9vXdW+TYgsCziRzG+fNYlJgD6r62tico975qZyO9Dcy87yzE8Tx6iAuGzL+jFj1szW9xpfoRcee5FX20CkT4G5Hlu7PXBdcrtvnbNPd3/7MqLF1FPx4LDlM3YWZW7iNIjKeq2RIpO89KCPX3/vqbItIPsY2a4KEWQ4iyvCdncy564Gp4QDL4FB+Kume98Wk88/qHusYTFrDqR4xjz1brc4kLsMxADqmsdIkmwOzw3iSPRgP/duSg8hb9WaxNfT7Lf4EkKqE8ULy8UCKvNhtaoavQcc3RMwpmhYff4/a+DQsNtBqabWD7cbJ/SyfwakNzdYevecSkl0gXPywFXa5dENKo2mPxJBXeLUIzKtkallg7SA7kXKMPUg8G4BOdjiqEfOvD820fyMCP52yBc4Uo3mX+s7tAk4RXR7Xc0BGpeuhGaW2NnjTkdPenv1UMLqyKxfgQCrPZ1IUr4NFKSbqlGZD95biaylXp3x2F+TEW1uMqTtK+k4GSSozc21o5GYmsLoDKwMEqkofZ/16E77mqlqdDjJJD0UE1bvlPMPUGfahIvbdUBBXfiJB+WewFxJJwtLELEjuzdgPXZvnYQTKCNEVl1g5v1HMKDN2UbMoG6NQXPyU8vFeoSVmhAzkz6adshBoCSvg5GNkdBCOKwpN8/xxDRhkough7ktms4THk0Yq8MQinVFr8p3sYZQPGq1G0q3dApsqLcQwvxq8gNxkKtuVZ3T+qsvXo5f30anHxeGPoroRZhBdgxf88hmfAk9DSoZSYqsoOiRuljCv3vDRZL5BoSFksaY5JmhEM7zelT9iob5tLQZM1PTxi4K+THga8/ZoY/rpgoM3JDcb1LxkZD1ttTYQMeXdojEQKWzqa7pydURlNtweNnwc4Oa8MIGGS300GP/WqlSVPGlArCY7TodPas4Mu6Lxo3s/e4AaR9rcG9LaKLF2VVFWyghDDWFB3xbank07vtx0gdHqCzZCsHBS8FnUmUcsZ9EJH5Lmv5rFThuDGos4PIJlpEsbpngDImXXYjqqwUqpKFvVYqn75sVnWquFpkDulHBKzGwEtkvycSn6z4yEJFbybAHAl+FcUn8aI19v5VCnZe0H1bUTIzNsy/IW77YXjqds3pC4Rh18N0CUuY8pffBLaAeAEh6cvb189NmVF+tYNrbTHjk7Mvh0eepAT84ZkWU+7hLkiUP50pn40H0eq/TlFRytEwjqwcZ6mJHeWDrdkPwwCHV7Sim7Z0Nxysu5EPPuijA23A2qklOqR0sMjHDPbUJWNTOLlo1ZaCcq3NCpgEGsGQz9l4EwAFdzfqGANPIlZ4lwAZUJ6aDloMvZ836mXK5rXvBBuu6nlGdcTDgAq+nTLht3pJSvgR1Dc/eCQYiPw+fAETtFafo/yOVIXsjw6eAWDKpPvndWgEN+q1Tyj8Y8p4cXPtx8A6c+krCwnwu70bYiue2ahI6K9aLpX2oMwsHaTK7YmK3Sv1BzmWxir3IhoPLpMn7hgjebAbVct7yNBJZxxULn29d1BFO+tY286HIFmIPQE54I352k6tM/V+wwkL1e/EdRUI4N2ofKGPGqw694hX4AKO328aKV44Vc5kdpmBWP3TT44givdmhUEPgZWEFnaFKsXt99vPoU9NEKcN5UqWtQS5FUwUAjTgnDAA+ce0skkPUPJC0+Oh3qqZoQhAYKPh9xBR9gVfG4TTvTZnjLo0K2GHz/YH9n23Fio/Dx61CZCRTpDatjlcbVdrqdb7nE7fjlU4JTy7I6AfV09HmWGM/DvyNPfdzIUIrydDFViSRxJZeAJFlAbhvfjDpU939c11u8rqhU4FexCLU2JKaRua/9opmjrCFg0O0MnG00bmFvw/YDn7fuqp9FjhPwhIdDUnu/fZj5CpjApmAZ42nbatGqlHPEfyY86aSo5093R3F5fZC5K8TzkDj0Xh4Zi6gpLSjwdLcpEicUBTMw4gLyNHPaa94niPgkpK3nyQk2IbirdaAlsBg7ewq9cv9uY8H1voYWnfaR3yc/R2jnA/BMVoAIRqgCjb5iPUNOOhRJ1e/AQfLqHQKBo2/3SzmeH+O8RLyWXMWAICnfrDgkzUKeytbroH38ENLrHxAksbpfmoDzRYXVNwTvcyditcOqbxRpTGX4EGc6A49FW71XPVlQf7ATAazWWZR0im7bHiYPRu+gTLxE4AWVr2QW8HM8lQrVUs/nkxdo8+iUk+ThdAQ0AuOIGGfWUmYL+wC6u33KU9Le2aZ9o7pDsJ3RZx3AbqSptdKQcjh+kARsFqFCFRU+xZ99Wl0vZZyqGD2xkwGbt0rTS5kd96vkc+LunxyebAv6uGsX2RtJqX5X8V9HHRqHTvwTOgMuRYnV1BrBargdjacqY3Y/w7V4ZyDV5CGwYzbzt6iKqkVXu6AreuK0mUexaxWyyg1xO1Ref66/Dz6N4KLggFsANkswHBkgCK/yIbK7Qv0b/w/gXZMMhqj2ltQtA84RuuJKSDhDa/U8uRXIdpysYlY8ccJF23jghh5QPcwkvjLNhsm/YPopSPWuE1jxmQ9JSg5+CX/NT/FaRWqxnBpCYUxWpcAJOwzT1olD3kLfVNOiOwmpSgxnX8GnaLTDOEmHF7bEDi1SYVo0bWkoDYdUluawW021VPuEMnX3B5ixeRp+2FHsVRHRm/x8p42bWclVEIHU+gFj1dNcr5WJHwujbaK8o7mZwSVGwjFxVzc9PnB1cJxzQ0HvNlvy+isDLFGkVa3wCOIXyTQ72izj9B/73f1yI7tmHGuNdZwIE40ITPBlEMwdE4l09ABes28Z2uPuLMSw+12vSAcYYGNYTGFynOF0moNALLfhsp6NMp5xqvZYoZy0JrVprPGMnsps4JC4Qb1vZtMIwIFhEvKmi6SSuzBxwkrwNkTVnCcPHl4iz9NcFV6bM09SC0givpyiqZujZPnUsoPOfhu252gbPRMWYgLbL0OAHjeaTsoZS23NwZg47oUmj3bFaGBbRFvdHT8Ze4xg4VrqiT0BYREkpxk2+dhkOhNdvgo+vBWlqm+4hdMfGKq8Xx/MrMw5OHRo580dcDp6MGYmNfAsEaeH73cGASJOlRC+AJ98WBBwVdv91m5+1rRPVYsUGcSDtSAp0CgyoSEkLFj8xh0M1GBjZxTB0zXHr3KhmIuHBlmEFmW5gqo8xnaVEOKbWqZAuL72sEDuY6nju/RvirDi7MNX1uNAIMl4BQq1QnbbvnW6y33/MMLlcAIVVAuMDEdbzppimXVAr4NgRbvY0CphgPSdaEvDVGAfDTbXiYlBlZwKwKm+JOW0eeU/19Ko+I+Vnl4D/yiqTRp0pMXu7rtQu2UzMCXrrbKq1CvGgjo2Y5f93Qtu5zyNasdjcrhqCl2Opv01BGazNfGssW1WzhErl5tV9GsMxThKtOgwvBqT6sKLzghlaWfVg8hI4/ji4Nz5buf6DcqAWM8X8LohIGzYDYYC8UXJpkWs3FFDi8BW07xs3gEDPcCUdejGGM03Tq+MEZQcjsl/vkrecdtcxXOjo6RmTUKjyT6rL2JwqEnUzW8/lfCh3yU5+HWpNfB4P+HcVVtXyvpvM6sp2IXQV+IozCyTlL+o0dHYIE8nddx86ukgcYJdpt68oDcPZUyYC7eWz3BRgEj8FXNnRJ720r6XoxSol+uIm8W8JAtuSmJwvdwix3lz+npKl8i3x44RSISs70oNqKK5me6cK1/vXJME2jlH2UrEnAG+o1ON7wgWppnIx4hE/+aKOAZIKDQQz3IklFr2Pbd0M+8Si3xXiHETpvL64HLEfc3t90mJXVPiinIxBM3D6On6GBWepkKx8+S8yMwovYr2i/zGB7od6X9DZfHW0y4eFXqiwyGvH9kKgXiG/hlw27YXaPA95g+F1xfjdIxOqynekxTHZ/qZZPd2DiqXQJUizDFWt8Sq3zFH/kCoYl5/PlYDxFWACwM25sKN8qCl5siXA9uATtyqkJz865mrzFGZM+p1hzmmhKDFyvZRtTsupg6q6Te/CudzgiDXU06Rb+oObSqUI+q3vjbN43Ji+STCPCUnUK2vulqFntXb2ykDtjjQJfTLJ3bofNK9tDXL0nByMLuwDpFSYO9hes108obMdx19gHWGdW/Ih4M5L//y1YMbIglSetB5oWjZnfrDBlFX/BuwYUA1KC6QApaZA4qJxBW+5ARRpFv9gLJTVMlwVDVTNDJ9PtzKQghezpmHbQTdNcJ8VlhdkN4Dqk4PkRHUInX434zToEWzUlNXMJw3m2o18IsONmalcm5Jv5JoxUapzrWpjU0xUoG95mlFJeHxCHR4dAKMCDi5MpOEtmT78vQpU2yBJahT409GgUKocxtrlaLyFEW7IWAX+zUXLt6Q7tE0hcVeKqiVHQoNr6UOaramID7ShFZ0GWVf3aHag9/iMtE2bVrxJOAyT2Lli1dyWo1S71xQ0oNGzq7shrCM/FTz8NoNV6I9LhxowgP8oQQoGK5D1gQLfNEjZIHtQz+56ED2mX1m33nhw0B3aOg5fPMEE70b7U0b42gg95qcMeLtAeJ/ZcUJPW/tiLeGtSYbJKmzv+n4FOt5cvhrHnmm93WLX4C0HcTUgMvN4+LBJAM4uadFtZLidwd5YYXL9M/ZockzdwZjlZy3BxV2GypX23nOccP9bI4XM1saKhTF2nCGNP1o7cGjeb/dGbXXtMUCwTYsfkZ/6y104l4Wbf8Q9KzIzQPCWpjoWQOw3NtYyewtaV2+mvOs0PonWly2Gh0IXARCKXAWd27HG2PriQonE6RnGRploPYJuC9c6W0Ol+0lk9EjbrlZ81ZWdoTMv/bQrEsO0ZThxYN2R6WKdu/dE5ue61aS4OdTPTfIdMKrsNfFSpBOZ/hVCeYKnLt9dtDK1HYqTMHpRHCfxwhjT0WMTc+COVL9xHIffNgFzz1XAsVyIx28ckQ+4hJgOkQv5X+N3CGaCIaDoACe2CFxyyXBxj5fzwIPDis4Y90kf+AadLpFzQ+YE5NOyzTMy+vrQCF9FBaXaEVCJFJJ+I0B5j9ANW0fDIr16DiEErtwSjx9/nHxq76TP57J14HwL7fkHqz1iVHX06dTL/NZ7nACaxrAPPCCPj6qKm12QuXoUE7hp/jqouATFZJS0GmNmDewmQJk5yQEbtrGvYfFHlnt8rahSAUu3KN06EDdyoZAeZCcigAx92EqCU9CKZNx1tRANUmIYZWMo6KKmF8l+QWdC3jGuuVBf/EAqbVv0BB5LBCmuIXarv8g0uama0yjoSQtISikDM6Iu9kuvYkflRSfh3FX81Y/+UcKxQpXl4yZQTQ/5N7cR+mHhHstoLY/p3eyud7IjGcNP91SnKXlSN1g9CT1hVTnJjg0+4182oTeq/MHNV3JMtx3qF5FFtuIL6+IwF35NfH8znwps0e5c4l9T3XYFKYqF3n0IJqp5sBokk7YV+tJ2LK0vMI+9GyjxJAERLoLr2QPcHUh/nz0aLkhy60lLsB+Q3pFfAnWRu0Yac2obv2zte6ZtFO5hDDMfS2XxNf2edTbVHxY9bmP9bjQRV1R7jmkjwq0QaPzKDMBglGKQHdIlIf5GZPKq9li2d9FHQkVd1V4p/WLQUgIxWLy0HDJknjMltgAXAE1AnDQk2lvmg7CpsFZHxKfMZ3ZWi1wupPABYW4ZgUPBqmAXF4LjlmEqi4ZuH9Smh1z/Zo5fv7KiSrXaCkCbYcVF9eQhhLfq4wDoDja0ViY9A3bzHXfKkjLNWGWZZ4NJDaKGb767xoBzmDojkW1b2pm44st1UOjH4FH/sHTe+6uFrptWcRvdw8y6oMPaC14RaM3Lx2M8A8rNFQ4ic3lfTygSd/4Kh7mDON81zoen/sGcJJ6TuuKs8SNgzZNnN2UeAM0k6Cy411BmsnwZK3irDhdvnxSu6diPgmgQJ9zLiHRaqaPDr91xUzQVpkmd7DXdvpSDY74Yh/KhkW/U3tKMgolCUyWJh3dtS5xPa46gK5ca+1Kx+Sewl7vVxMsueo8Fw27WNK6IQ9y/RAyYL1cLwigNtAyWvdq7s+iZAYKkNzhyzbXEqAyI3xVvCUc70pVhHP9RIlJvvTmBnKAlsOJaooCjJ6dPsbc5Jtk3+Qj4jpu8WDNDAA26yT6nVlRPtMJENwOi5c7GTRhwv6JE7XEekmAug/BbbzVTHeoh5eAMblKKWZUse+MQk+feWUZN2I34QwyOb99yBlcx8QQkVjliyaU5dSuSUyd0irJLlUkaqHKI8Szpwrvjfs9lH2L+W4Gyo6NEAioy4TDN4yCJOgO6BXttqBipo/diUuSK/HF5VOtzHse+8tBQBM3xxCI95Vqk0AvUMnIdQG3kwOSD6+RQpWKxl/q3TWNTOn5TC7aHmpTtZbe8CWk6ct7KXfB4KlTWGTGb2rUi/8jGRQTRn/xpte75TFSbPJDx8Y2uMAIG8x2uiB2JhdXWS2L5aU+KFPfMaGX2MyWMvzE0t4GX4yyy6Blx1dJyfN6PM6lXO4gINaJXXlUvQZCNDToBMeGGh8GP3L7Zh07oNt5P5ifWU2ReFYKX0XoM2TTOsLqvhu+dQ0zeaIgL8c8wjTBMoXiP2PLSuXFTGlg/M89/SwD2fRongNyWkkEIu7/wMrYbxIYAMMLM1WlhQMS/Kf0yl3o3FUwLDzziXKaYR/xpXwblpGKo3CKx4tI5mqzRM0Rse8Kxyp7QvMpMyvU42yukK1FX4jRay1iaT9ZRtErh3qcBlgcbhXd1lxq56lTT6Vxq/EMvf/nu6mrxneWrUaqMYPCcXkbgA9M9g853WPMKnR3tKeiS8MgbQgoVRc22ZrCkLoi7eSbh01poUbPLG7Nhv1+5IZG7BMsx4/Z5NCOlneXeC/e5wsUp0ZjS6jAlkqW4rLOXAmo4NlUHekC7L7sdl45XgWcVTvu0AqccCfkajaOP8q3MBUYEK3iYFMPiQDjFApYj0jG21ILsts/8m9znC+C39FX/cmjhBB9GX0gEP+G0YieJqCp8xb9TM2pWpQbGkpLIV27dlGtfg8BdjAnJA4x6tcX58N9s6jP57iTyyr3u4eBg5eTZ9F+0j+UNiJOoA0b/W/lwNKNQkS0VVaTyjUMitkWviTrq5TKUURoYQ8IwZmcKVgmoy/f9kZkLbGMAv3QaCPWnpcFTA+EM4RSEN9vafKJoC3hS2t8NReFiuv7ECJRtI8raCvMQM4G8fwPDm2gBZ4pipAv34QBRDJZDxh7mH0Fi8pWdYdu3dPHJvf3EcZJiFab/gEmVBscLFMTLjZAVFh5W6k+1pEQYs06uT4unVWw23fggWyf3AgfJ1MvhlMqKBvRqsforgmkBO65pEmMwMzj80IpPO8XmWNWHapgn7hWiNCHVSbJCUAWVfJkFFNyOSc1gl+B5/sHeqINwVtILV7rFiZmgjLLKgiZY7JOhAtBs5YLsVcDLbYcYE93QyxpZu3z4f+1iC9Th6MrW7qy2TZLwp05N5jdKInYc/eK5VQwIJcWHRntwPa08G9u04zwHuV4hd9M9m6kWNEsMdAobwGv50ozdXWHWdFsCpdckV0K7lXB3lLLgWR88z9D+uh+HWEcgRouZ8Rsk3lzzuENOE6CXYbUGTI1MjDNpKWk19qbQ2el3NDxnkkL5ouwK4iznhSSgbCwrOmoVvAyzZH/1C3fGF3Ax6SohcvhbRHsrWpVdTW3HdJDUJrD+q6KKfyRA04GFj3sEWI4TbgzJPSY6V7vkkDoZH09Wu4n128EKtRlr2VebOB2zT8yR9psO/5SJClgb9n7cyj7b6wy1+z/BpfPYFzh42R9Hf7HDheVeIJBFDMTA8v1PPLrBVUCWb2bmOVGCVIsMD4j2ZHkx6TKi3iBSo83YwJ3ccmuD2UWnECHFcwHzwG4VlLyB8CXFUuduI7g1zyGKJWYrwXzBq23k36Kmufm73/zGpmxIL1ajxZVjqaGZ5HqnzNpuPh52d4FdY6HcMI1P5MOKeO2l6lsNwY4C8Zek3TwrRsjrSP9rBqips6Vv2GfGPxY/dgzEzmHjZE+zo5rxBgeenuui6rf293wCn4lNmen4bUsSwEvobRiDokPdkIINoF4oyaoSv3jtvjpeNdo917F+eh0sQmMaaCMN5JIkN1qyUnOjV0D9LsMxTT3aWdjtnwOprLPaAb0DDvLUjNNdo5RMYn8vPeTDuGusTWx++o7KMwErj7TRMEoP2N1FrZkTbYm+RBCMrjbvUyqurJ7fwVh3i8SK0J64ZBlZQGamvBhm+xEP0BukLn9qiayAKnr4Gw0wDyNcBgFHYYTw9ouqRFXnCE5wA7ggDVC1r6YgaLGS8suL9E3F4jAHGhhhhBfmc0m7SzspKVHSbFlcsMAsNAIeHrla1U0iYZE+bLJm+OEeEvxnHtueeZ3ygjqke8+eLUoPiFi+U4gWoGZFy2+4g0lrJ9leKksvYESta0743pmnHs6FPFcprNx4aXYM72eSAW3AxcUJS3fnTPTu9NOpTfpa+n3VB2eEgw41du4E8mS/FWQdfEZdY/Fw2GTA1r17xpwJSbbdF938UFV/RYQw0kIQPEHH9e+sgOJYuMuuUdnZ8FOQ5KTjNVjnrFviKBhx/4yx56XpxljFDhykuRPAwISsZqqF291gPMUl7yqg0HRfiSBz+NZJ3fVylvYdjNU1SmL3nzPqefjxd/egP8x3XqXG6nuWipRfelIuonjQUYp/jCCZkb6GAbUCsio5uF1ufP/0oCZvGWgrHOfJnxIWSNDaCDjLyTDBvEuCGkMfaMRtbWX2m/7G16cffXvuO4BGsqdsyHWOChaPZlx5Q7FmZ5TaenSoUUmdwKZXzs9gQweaLTjmgtyUovMRmWMC0VBx+kivpilqJPMBRH/U63+b5b0zXLbs7zSWAO72w6XL62enloLT+Iq6UnBGsPRpUWnfatRA+jUluYqGj6VZ2x2XasKj1MwtTtNUqF749k2eo+zF+JypiXVg0axXE4I3gubUrN7KNfTaL8T9WeLxtRZlq0maCKKNaf1yqqULexVXQhGM9yDMCsOxTZ6aS4Zi9SMrqOTkaEcq6bVoOlIdyxzLFHwLnI7vxmpxoiBNdtRNohSF/otfI0rZJWPS6sFh5n/NHaz+rZ5far2437EbN3wLic3OpXf5mMmODm6gsBatAM7PWzTxs0waR7OzsP2hzGT0omeK5mMjHspm2PcUP9e0JVGfSV5NUnCuY3EDaCYiwW8e1hR9SuL00iJk7gY6PQnmegICmfHWbykgRnDSimcNDPaPDv5A1u2zbweRX3WdjwZAolsDd3E83Moii4YufBhY2lGSZZeIdqT88+HK/pmVyDQ8iH/BUeQpyCavlfELN1UY7sN0lZ4wurhmkoWZjrhhLfThteqCEYM+/TykotcKhFqsD/g/WZCQKqEM85v9UPdgPv50BvZg/46V9V/hWwoG04sI+b+fFvyqcPbdtw/7JmrD44Pbj2KA6sNxFL4Em83tl6ljS30tlqTCo1WHaweuZmMCY1nPCIvZFPVxcdwUovmnhVtzFI1G9qZnpePrYArpAg96fPDGTXsAkvTh0KVgs8ElzSiVuMfT+4V6D4kt1h8o+cE6Zs+fYdCxAJrvVANcUG1FqoUcPAtXuFNcZabRW3vtg6g+JZ/wKqnaGh99MG6VSFhwsu7UptPe8ZMGSzOPKjfvzJUJ/MwARqGOKuESOV04zodj8F74V9hMIB0U+IaIBQ8mTGFE1Rsvdm2pDueRAXhJms3/oGEx1mWXQCAfYux2U8LvY7f952KvNGrRCOUp5EQdsFuEPeIWy6R1WW50net+O16sLZcw1roZE19CqamsTHlQ9/sQojEM8TgxPKqy4HwfCzALDq9VAKHuahz3JqJgN777Wk9Zi/LcHl0opNK/ffoRJp/VCTCcc7E3jjVgW65RW7RwS10ss2KKD0bpp7OtMge5lcWOWl5Hf/3QHD7SWw7lsVm/n2a/fYR62NSygqmLbngzh3Fn6qxvccq3oRK/tRurRVFBqX6uEvOAQf9VeFCRAbuYThX0zEY6Ic5xhgUgeUGQTLE4CZVc8KrnRWVl9A7n7s5G8Dzg3dNYzsmFtNCKs+Xmc7qQgtgdk3ZN8HWD5pShbomM9eDaxv2GRWgHE98CJ3whHnInzsC2ZpszfqBL9PUF6w92Qq2SM/MMf6i/fmwuelMdfzo7wi1bX+Gpddow0ECbKUixeWVMXCtL+usX7CzxAMpFm37f8IqEA+umYuCsanNZhHWQ402l5YFM+f/CzTZ8i4G+YYhYT8zHvIsMgzOnHNX4bAz1cfxcUDXHxZB9hlKMDbwEY+R8X/e/xp6vVPPhlwnFGF2os/calnHk0y8pTtWyFKhuRy+ZJuE6JBcAWDr8sZeIpAiT+wKNAplRp6mUdEq/6oL37Ay41YnBaqM6RP0IOwEvW72LrRRsjrLWol707AHm37l+E2eoWkM1Qoww5CptdAWhYLmq1MeHrWX5ChjE67VJw4+HJWUiOB/GtMLBnHsf0Grg8gy1Zu9vCTSGioERCU6u09MoVqjdAiJYKxGsnTcNebZNWSPBtkG+z7c1wg/Obq/ctcljCRnF16Zw1Top9bCM3qFjRmvCoYLYD0S3EH6tLUCqmr616/vK90BVZMdJ+AbpE64Rcg3TdALeiGzsLCHA9n9wTkqRb4qwqGa22yFcktomHfCDhm5wcJNLHej3Ff4wclcS88eB3Tk3NgwLuOxlKqTOl9rEe+ACBN28hC/2OrRGXurp6bptxzZbiZSTspbboR0e2C9DVxVtcFC7v2MYn5j5vTcGN6K/DnpJeMG75hIbyNSsrEqVB8eMi4LqJ0ts6Z3nQINP1LYfWDPS89EzyPE0JXGx3HNZmup0q95642OYAM2pxdeV53TM8Qx7AHS00hwnubjObRrMY4pfmwJ28N1cEK0CQj3nwxgJ3vjxZe73ofdOsltqYkZFw7cmnYFazo1/7yC4lkF56w/BVpAz8Dxk1LwzN6VQgQpdjZm+q8IAZL7foHySWu56HfvylqDefIzoqmOdiJ+8i4OMbAxLll1tzPNRl4iLfhIIcKw74G8Qoc7fN9JNZcliHc2fDiwGlDgwTpIY/ORGcY/RZG/ZEHJ6y7dOrOLRUQ+MTB4ykmC6CCdHIF4Z3TGxirFAr6YJvMZtPhlyPDsWuxIkNeciM7nMTjgDdlJjWXEnlK1UPrFIMRgSVm+mCfaD8eUstSQ+OSQ4d+JFC1C+Si+Zk3CDHtz+ihJuKO8dtU/FlOZWj2kuxJxJnVzA9x30WAwBReMSsQVhXvUmlkvfPjnK8Pg2Q0d2DgBmmnL3aDunuqF7jmYTjb7Uj61xVqzN2fmfl4ASOxnq5RcDqlhArn4LFyxQ9NGVWn4EmQ0uvkJoyVjneoTjyZrZO6ufWRQpEUTflP2MFUGSHePn25hdWWQBjx2B1WQCKizoe5AuENCa29xY8V608sQWUG9HbjiODqjlmYTTD9BtM0pzoZBuu4t4HnZxdvgm3HDoB+lmvzPpCfdbVvjlI4Nl9qBerSwuWweeakpLjta/44YKarkSovb1Ij99igyXsw7AsEEo7OPaLpdUo6AX2/hCiXSrN6k23M3Gk1cYB4vPI9JzTg/SPO4MD34lQVDe/Gdv01NEnnr0cfqMoLjgucq48e/ErniPUeVs0ayBNA9r4W62rzS7D9IJ7paimUQ4FR8CverVoj/tIIFC/VAu0/fSDX1tgzEJQP+HH49AE2tc34/D2RK6aWgQa8tcCl/WGGWFREZyPNKM6go7qPnKXdTrJXcfb/7lZnx+hqkCPba1JrItkXR/3bMtcq3PVQB3lZ0dqBAPWdMtTWg+XdlqRRprkCO/T6fVG9Zst5mHpLvz/B7tePCZ/KCnsZzjfuGl0VP4QfatQ7z2pmeBmAxTE7CxEx7fnxaZ5OF44sOjuLSsRzhiX0SVXH8sKYdwZcl00Hjq2OJ8IiK0MYZO7LnK9SX0Cpu0BJyGdBC5mpW55o9XZjiDHRNwGHKhHgDXxY9ftQ8hvcUvMw4FYtL4HzGc6foW0RohgSm+mBvNGeOC9DpMLp/jZvuYew6z0SccZOylwOxtCTttuY7AbmFTNwN8GuESNiXSWYABIziKy8k5qu8P5PSpnsNhz8JUBEezSgBnPSg+aHYEDaF0+RbHcRqyQCj5EyZ6HSZC8SDWASX2afwucLFCHhd72D/kaPXjdhH7FVoVqo9wMmQwHczEQznJWm/O4t6swbRQyv0Y1vEcrl772eaqKYgc+CgGFiM5cAbyYw+KV4ebyFHuXgYTp0N3SjF4c7onXc5tnqLhu25wbmTjz7EuMm1JibhICQHp8lfYp43UHdFosDCZ2NFeOrnl9v/AFpYnRrSUhUm9qisXy2TwxgtDj/tBZzA74rr6axCJTE7MN14YXD9FB0TAKrxKpThTsOhvSFqLljEJAnx4R6/vwNPsPdjan70N/zLmPxK2wRY8BEnm8Reqlq+wblxHkzlKhNc57oLb8rbAu5p/My4E8kt13GiF9RingVCo7fO268sLKFfDQn1wpnL8kYnEcHjCnAEirDnGjGSu/xzpAUZVOTguYG6RNFGHbUR/YGZzUYgfZQpM/3KzwS3NqAsTC071Q6qqpD/dbniyPmOjbMVia6cislcycmPbGfDNBXlBO0cElsf5G5clTJKJynmIN7NK7HGDBFF2uIpVzrlSzrn1IXhPyl7MN5BeT40jTR3Ve5WAXPNEeGvC6OnBoEbWnKho/DjFzeUjsSwm3NjiBXLH88MQtu5laA16UfjQnDjJtZ6FiWn5EOg94OK1y02HBBOc6lQN6TSwGGV2xRAB2UmCw208hds0PxpohO+k5RaosPeIsPh6GAuJ62WkT8eX9EnnhtJWXc1lb6+hc/6ZspJ1iXDN2uVopzdW6mCF7793E6rwXNpt0fdguJ+gOcUiJYt5PB2+Aiz2+iWbAECBVgCxiATpv41f+Cco0HzlnNXVw8lPagkMe/8s88KyeiZ6mB4PCpsvh0iw6Q3Pq30i2K8k0dRNJCt49K9XEyalIggKxDxcz3YmJQi6qrmyCzFXSsFTVIENopoR3xSIxsfev5KlxJ3vg7OmNkLxdMyNyYa3HcO0jcXvABcmWqw99cb1j8BE/91BMCyt72AowD3wDEi/BmlR8bvlRk2+iFW6BsZskrLOQKkNAFhCAGMVU0jW4x5K/UEqy0uyEF1KGtl02rppFU8Gn6DqVd6+svEZFzWmau8neMA6zPOt8233oyuyqlJ1AB0h+2zuU0r1830efvSpc11M66guL9UXxVk+PbBXu794rjcjdT4CFC7oqAVjGgyTaIxE8NK8eDF3Hvk2WVzR3H9JakBZQ+C1xUYB11/rizJTd7uyMqKHRR/Mc2sKvqNsT94NbRhbWc6zJVasqpCZ7kFwT6qO26Bpbbd9A+trOnwz/84eYOIz9bIxielJnLzD/zp0p4Tgq65vA/Q8Ox5G6Am/KuAU7hf6rm0pZVXqBFzzPgFUKuMDRtY/9u9Mn4HwSrCaeoa2baXHHW4IvrMX/YkLvbZY0JPTxwdU9Z6280+EzrYPx5xL6RCfgYo5TNYCP9q/mcPNxww7E0zPydyRIrMW5Bv4l0/TPY0WDbBbWGih06GgUTeac06po5tFBwgCSmPfvMqGZbDVTpvL7/UY0Lh0DLj0EIiqGX/0r01HCmiRI5iQB5lGjAoyA2hOc4+Mi2u8npNdsfMMArCAAV2yQD70d8ctPGsHsmDb4sitkMO6mIuVNKkBGwjfi3oeXFyfNPnkEWl+yFggYgXyjhL6lpGFzy8XoVLL5QFM8Th4YD+PGhYkE5k7GSrst1ANZpaWLMSK2EfelKrIQ6n1VlR8soQBAkIX14lNUxUO9p1SaU6K1DtdlnsQ1xXlR4SCaKNV2Gw/PXL4dJTkHsUNboXOaDLVqD7Xqzm7LybdEqWpob+6KNVcZTV2Ym2xUKZl7fk2LDfPWcSfx02iFUm5hSwgA4fIqbsRvAg3KQ1KGfFz8etIjOfVa9K+SEKbJASnG0jxnljn/29Qxn8XBarithiL8wdkUrTsw5EUa29A5qMwIrzA8ARjHO53UzhitEidikhvbIsl/ZAJi0VaBuW8a0AclRLp5SSYbNAJm325nY1Gq5gMYOMf3fHrQZGc5Cu5ptR+ka5cPeuphdy19GJ893ObogSWNkBB/yw/mYwXgn2zWTjLsrcqOfY6hmlFmpIRKfsE7Jsc9v8jxxosk99tnAkJ2B6trVfG2NgGZ7hPvYvkak7s1If6BmP/b/wSJUFtyv1EjAmVJixGVlu4GRLDG/jN0EAqQ0E8TkRjRHO/IMeWnA+Lt6vIH5fT+7MB/i38yhqwnCMzlaFBpS7IhkUqgaUDPCdtAg0xbjv86Eqxo2YuXjF8nkaOCW/DLZmbWKdgRWRKbkudqu8g9uFxizV8nkqlE2KJx23wG8rtVsuYeDFjup7moCJGIvOo/jPJxPuDL3qbPc8IW9EEV9SHUZtSW+hgKjGhx1sXci39I5fyG6GEdiik0+vR89AXdZ5qi8ANo9uFiMmxvQV0+0C5mOYnbEk3xTZSOBt+VQBJQ+rEwNlM2DF3ZzZNGOuPgnhEx9AdSk61lG8Xj/fJM1mdauXvjd2UxVK2rwBuG3il/nLMV2k+TeQ95FXi0ysrVwbmxFdMxEoo9iOU8KV8Uhs4woVEGdbR2Lc4JpuQpTwe6VcvLoQXbSMn7A4bCvrYGRED5IFG0Y4cmzM4NrYVrsHJIrFr467pTdEXscqBny5gvCgCi4oUG+GKAAXDh08DAP5bzseaUWYFSM9OBGwLggKsgO8BdFwiRgvZWmQl+Is55calWwnTiEOMYTN2bQ8ZP88PA5gO23Y2XrIAtsi4Hm/j1TaxX1XrYBCTNbYEImBnTHQtbF3lhD79e83KneQQ+RsPYh0r2ZpgOUtqnLr+dw1aYoOvsRBQawe5RSss+p7LGozH4HCaXLGlOVnbJmEw9taE9jaO1Rj4Hk/9nSDi34My4N1SV1Ol9lpbP7BJtccM6cFsha9yMfUC3cLOlSiLGwB/ax/zwP2ID1Re2uphyRDr0NfDsI6Sctp7dW9//eqRcuSEkdkgvLyMnwVVWdhHr2u4pyU34p5XDM2Jv5MQtXnraau23Z1/INPpiLXNllmv/KImXMc6i04qrTrLff2C9/i2IkPUNuFe8DfeXPvwDX6MpUzR+aRuntF3LjOJ3KvBFdC+y511j0ytrDW2BIJUNn8Gn1fFtiZRL3z9wAC0dAO4vegIXwNVA9qK5ZCOzFVBPIAq4slFnTDpBO0VI91BOf+rpttEm6qNrtKL7xmLehSra422IHR2k5+rVRQxpR3uVOXwVZijXQjnZpheF4vDRp9vJAyL/Mlp56Ms+/FOC1Up+oajXDqyUQ9Eyta0VpblP4lu9Me3SvW0r/t5ob1t5Gzt9ltc4mrSKVv38jb3TJhGNHknAWBQtH2mzJ+nfc4tLpsuliX29aAU+31uiM0qUafao0qIznu4oQOnm2CZN4GewPQPkca7gUuTluvTnN5SRBcE1nCvsIVvFi4098vTPmxWKwNIlNFNEcVj/Xv+WhRryH739GuCn/LImZeBVkOqQMh/+EpnyUfP8yWA52RG+Pa6Tb5tdsjBRhKzPiugudvppLMvjEy9pLe6Zmvc6qa33hj5JKjaq7MJyt1R8Stf0f8l5LqTFullTI/p5pladhsriSBBFZKH8W4IA4UmCua7CmER5hOxuHo4b0w1c5Rst7d0a4Zo2Z0sOqXRmHm9ocKvum+8nXultbL4sxRlPvBrLbcTdzWipPJ5tqHhI8CKbK0n3Uh//avce4zBRunhw7dVDsaLML7PdZUBBQWRVNW8bZiViN1EKKrWClK1EDc3Q5FHNx8LRgD/WxMHQPTQKIr5xjpYoyipLK3xvjaFcYIwL1DQga5hiO00Vkv4VPiUfaACg6dpCoJ9jQ9kzO0oFzGMHqPdTVXuqyeWqCn3bxLYAPOwLcVD6/gYbNySYXbKeDTmo1rq0e5708huFTKE0z6tD80PDbJizKVLvzqok1GXEm6S+tmGILqQMaD6WfTe9s7hldzjuZKinGkQl4fXMZnOPpSKK2KJR8Ydi6vf4SndyHmReKSkhoJV1iadU5RB6J1I2AT9OfbelTgTR0qp4tSbzHaQhQd7A/iVuYOSwZtdQ9bne+oI+rY5rU/+yMw+Dl/XYPbwqPijtDTJLC5f3zCptmDb94/I7zFL/oWHW2G8KN8FpCKZuswkc694FoZ/mayeGqCMwvUl29D/P5aK0ebY8eZwpMYi9PF8F/KnDbf/0VRPtxc61Izq7GIC/qe5LUmSCTR2Zr4SUeVsTTxmGh6NbxmPvUXNFyzp70XZ2u/0rqNe1u2JFGy4XplIYiFlEiZ/qDotkprx+jhft/UBJwheEvjtcMMrmy3rhg1TCXH5y1+LNK55EWY26F2R9eaFkZydw6LFEFatGw/wfrQaDhnm23ulwEOtWMyzZQU4WHJz0Qra9uJOI3H257L1dK2hzAbqeXV36njOdHFWnW5X4GQ0IMyXZcsE/OXWMT7qkYJSPm8j9+hOA91kNsi7ZVR51bhIvHIolD4NXTyWHdjbzi4kv5sB9CkTdqjH7+cdhT5GMgZNDi2dLEo2di9j2TxuXtGBcH2hEQHQV9ptUikMx4nD645V18Ovpb8mMkBKUhafqktY0/Kgc7Ireo7DmgWg/ydYc9e9mDgESu/Qkbtp3dpI2iA80wL6fO3VTjHJw1QKBwzlHDwditGQ5uEJVsDCsQv/pnrMRWDJ1L/vzy5CwC+jbYxpi0XiUxWezJrWLkBAMpyq6ZYqAGJAWlXK5rtCbxnhFsiiuSxG94sfqOe9oa894jx8avBo0Tig8pcT1QfyM4dvdj0uoGOzNTKOaRW2hXCsUH6uEgSmaMCyh9NH233PiorxNdauaMOKP3nw1KbalCd3N+HBRpewqgi6iMBIhP0Rntp1RzOEmvLNDjPQelXwXZyiZ3fqmAMrjx1sH64+QuSj/08AlCaWsCuOlljxJMtHdqBaScbSwSy7OXxkbIpJpxbe6SIxmRoAWT+2R//5ENsquRYqXc7SwwzkUEPtNCqiv/Qfk/cJxlj6OLcygHHRNficj+dNynsDqhEiyIM2tHOxWXNjvWdenkEPYmprTkP1FsHxCdlYf//CBqCR6He8YGHgpkVhpUvsypSfViDDjlwkf9xdu6XGxEWv6MEms/ZI4B1LmQFOv4WE7F2WRzqBnFY5G8NatiiqCQq1FO+8d5jQzq4xJyrACP2bonBm+Ry/BpmlZ+F2JdeKj0aHoie+KVOfAD62HRHqXQHfCfv7//r59EHNFTDI0VJ73FEJbef1I6yi8kl29gBK8UwWJ55ijMVW/9D54qMe5DzZlj1QECz+gQ2fVK4zT/Kc33q0t4Fa8IejwoH9rM9SYmvJWWduZZNITX3xG7dY5Rec5ZQE+h00xbiCWqHLLaGUP9o9KwyqLS5aRQXjLUe6nK6d8MhZ/L5uqj3o3N4E0YxqXaEFKl95/VfHVIr9pQSyelWM12pn3dGP+d1g6XD+bGfd0VNHXJFkFexCzZZIszeMxU28Ptt5rxSwg6Gpz3335wyPx/C/cVgDcVcpl6kVj9lv8DkIWxFlN6vRM6DUNt9B60I2ocZHlNraFHO7+d1V16GwII1+hPbQDoPza9CC/aFLLAdo5lBbm54Z4jShBVV6N7gWUkRlwLGetxq2zbI71hCyb8sIIajAmeow65OCf/AeSlvzUwo"/>
  <p:tag name="MEKKOXMLTAGS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ubs11WMMKQMWY5b07L3krsaT20JD06MnQKD5tJA2hZ0y8eNH59O5xkHMShUFTOWejkJCOFNDkvRytWtY2nQeADA3ooNdB//D3RAW7cRQLF3kHA0AI6LdqnrKtjI8kid0CTKFRMuxwOyiDG/Yt/MF0WjTG3kvdUge/wKdg33iq9FIoT+TaTvSD3sh6Ql6lN/kJoforAgnpdbt3mdDMKrIW99w20wPuKeion1EhNlGKSIUy6DiKilmPAeHtkTt6IGay/rXzpNm4iy/s2Rp5R7IFe4wF2aMJszJ3pR3OCl2Gq+gl8LNDedclqAtEAoJ3VusPR8Wz5qszRVfGhaYmdWAvIL8DXhzsjzdGgppo7qPR8xeEXHxYTo3y667P3N2DnJ5H4i7luvz0YGPHnni8ROD/PcpYYFgXG3e1oRO84cXxEmaFCZoi9e6U2mm1/IR5K7S9rQ0Oh/G8eFZWAxaLkZgBhedvXabkGWz8zR9voOrJawS2wWCn4/PnLkT5xgzgDCb/zHGU/ITXZrd4JdeTaEUnwGYfn6jv5QkJxTE06UHpkXEb6o0srMhfq1paS1S8C0UFmBuOzGwCCJGKhT1OPdo1OuXTTFR87F5Gu1iTUnT7tzKvjFGGR0fxcXd76TcH27lyRgUiorhR/edMckT1Wg+ndq6jIr1+mCRzWYLK3M3KZ9co1wfMb66ynPce0oeBvLo6qaf/af0O4a9TvNcHbFNWDORpLRUqRM4sJYPAF/qzWLW7oSz9B2QX3ibhOiMQ/0GhyBv8trg7eGoY42Jl0pw37mfVk1m9vWOxDp3NdSz+mktACdV4iZ8c+RUer5V9dY0AOQkU863nb95fU6LHPL0IqaIicTs9Qm6tf8dctpyvNnWUS+329J5Gy2xRl397rbn+dVVtbMUXfCZw7gQUibtOu/W9jMeUjAN6EpoSagY2GfMxxAp8m3S8di3K5sWxsA6JRzYdLM1jjocf6FL78lHUikBewludX36vKXY/yhbgUU26XhVu6FaV9efxZ0tN3ZVpGOnoHxuUCapp+eJIjzt/xNNSlrYZ5hX/v29do1z6b9SpXflcsCc9LYpdZCprwbZttHA5E1oXea0DkrBzMA9gNSPsL1MdQP7NhXgjgu6WSI8RvERwg2/4fuGLi2DOOVQA5X0OOEyun1+P2/QEDi4I400j4cQVJKG2KAKux+YQHLSK16zS0+vSjSBbJlh4RMcMOYnz2FUPOVdEbJp0HvAetfFoXt6BEbBmkyRzR4WFqbuP8rbmvr7inK/WGPuIR27vG8h6Zivx1wkptEBEPQeOZ5KnTGWU3QhA/AgFrdhNMUfK7tnvNQ0ns+jonMXPBPBo2bIYstdKli3BCglr9zevR1inL+ir9aFbXcLlye2xTOTl3l//++sHPZ8hthlX1MLngqqhctyDezbbxPecQtroYQJoarlrmsYiQ6aJUQzhRJiXVJL5XkF4n0XM5JEbd1e/zwGOxnjTQnTvJmMHGNgYMdx5qB40fe1uSnyO4au6+b0hbgt8hfrYZT4zvuSYsVRxvjgbjhhtfGixk+1r6jdomhLpd1E06StLyO8uFm9iPljyI9cCvtR0ZVgc3m7T8kT2BQzP+K2Ry9hc1S3QAX+k+CYtEPMMyj8UG0bAdK3dQySsETUg6M1xy2JcqN1Bec4HTfU/QgeoHH92NxUqt/V/0E+iN2oqpMHQDl9WuIZ5ie0r+rTKO7YSOSAnXBtabuj6V9fvvIqOksMXHAU3scdJu2MB5dXeOKB8T2r9E3JICmHE1zL6kbmp4R45YvQ3aL9nRwN0ezuGz36daLj1AdCN+VVpUah7NZu9G62nNRAQbIDegyHImTfzgPDWmYB/gkFwSVhuAhF8i4F9a0qaGJgZsDmjc80JtXlH8Inr9xIoT+cYyJj31HS+mhyjIx85cFj8qrWHlDnAmGB5qhTzMz2kceOqzeLO7vZrYQnl4RL2y4z8+qaCELcpjg0o/qrINGVqko3xdcR6KEK6ic5DemPbVKI8Tn+3lrYolcM1VfpRY+zFifSk/BJjDR9gYnJPNZLpXhyYfbQGAEYTfr7f6cwh/SuLUX/FJTH3HynW49CwY1+bcCuSqtLh+KSp3HId+SVwnRdZeYevWTYOF2KZvKCB+uUZQrcrOmlwbn6XYoWum2TAI/GOxiMet9DJg5H4hptCifOFYikIqv3MtIaP8o+kkJ0hoUis6HnZx6qBELJFVrG/WZCik6dVtYjLc5h9hmFSZ9S0MT14Qi18eexiokPH6iC6b53uUxWXLwVt7cGe1XdHh+TB0pwKnCY7ZofR07KkN7fLEIygnyejjxjkMbDJMuUxARSIz45PmPhHrCE9BBb6L6Wbv5OzUNdFFVKJJpu+8R8gIHrjLZnK0MeY1LhbyGPcSLv+GB2qIz/slTbXuYiIZCg1URMXqBF1jki4buV5TGmyUjjWGIV6YWjIYfq0SowXVas6ZqX6ZT/ugfsb2zcWeX0S88crgcDSkNL74VZMZVGE5IswcUEuoLmCfThn4lDlp24kKmX+ybQlyhVFUekR9coAHT4xC4sQ1Kh7EslLzLZIwAG6exKQI9yKbm9YiYZ5o7LXDfD2kCgKat3mPCKPNv4rzQrxubpVAe91uwsrOc19DyAtQEcnWceecqJudJop7F+W0ZDPDpV5NycPMAP2kGn4S6UILOmknVatI4WxoODJ1i+IZrCe7oov+EPdhX+ACYS/eDEWgRrhDp54rO7gCFi7tz9y1baMwOMjnSNs4lN/5yCZYcCaCyFlDJQgsF56P9hbLeyAK0fMx1NkJvdp+7fgVw00qvlPZRI9QQGyfdfc9b7/Ms9H/Cy9T8DVdr1wOPdvCEF0eUqYBvaSKCd2OMEuNFzwWM4poVmfU7ZjvK2eXyfzG7L6e4F+hTBl5cqWyBRGxR5WZAqhGCg+1GOB8o8CPNbJtqwYHx0OufqCALRS948Hx1AIJp7TKiqINY+dsbbdviMGMrtsE/wmL87VmxhfHaPGqsTO8HYdea7PBurrnnba+Cd/3HBt0yqVliO3hWHS0LYtGmLdfX+KfrIuP9v8OpbNh15pr0gm1mJ3d/VNotCutD1JGDFOteoM9/QUnzo6FgUHb7KotYzfiK77CRtkUaTuiihvjDmTO7nH6cyNQs4MTtTH97zfA1TqdoPhITkvtm8Ylatto2F97+EpN8DjL95FQ7sun508r2yUZ4eIb/uC+HM0N3IifUVRsAn2r+Ux8JtBtiAQO1iNRQ1R8NuKLQqIOkJycKRqajiuUy1QJCrpMcVpGTu0L3x9YLhEZqqzWtv73LgU5YhFSG9IDxJNzHrmhMT18xvdkavyKPwVJOpe2iEvwEvciUTFdzNPNf//qjLke9RtK6ap6woBclwCxoBbxwb/plWthDYh8d4AYvD9Wy5N7VjpY1SMT1hJ00b4s0xtjS5W+belxHWeCQtiUCKqhpfR/T8JVZ4oM3HdGD5IoOEc96cR7ZOwsJN44Tu74D++JuwDEiUh5qh4zKViHHNKFdLIjwJMbmB5GCVqcYmywJF4NB2IKEnhd9rZtvJ1PBodYLcg9jkhupXIBPsc0Zf+mSGDACkIjBbDnFBtqWo+AE14Y5B9SZ6E5YRe1sLzkPGYzV0G3n/8EepNPDbALph7Qc55XQotGA2laupgwaTFb+wp+WL1G/Av4JJwpw/SDdwQnNzpxEZBujxuROOu/tHh/toG+yLTGUt4hOwkKPEE7UX+PtoMMWHsjHTyJYY7Ns4fZb4JzPRdya4E5d8YmVGmrLMqHOnEOVe1/C7kI5m5h0gqL17LkTv+45mDZk3B5R/3Pp6LEOzskjvIqAgGyh9/AKtlPjUyHG3URlubdTJCbkyV/ti/3xl9UdTBx5HHYNioXPPV+DZY7a93VulLSk6qmMlyejQtXhOuC5MQD1ZJU5PNBOGaSHrXKb0dLyWNXOjbbGPYlBtlnmDNqGGSDyop9YLX7G+WM3s5/xJozhUoYtYwARZWCQCER7iBSp9XdcBmpGf31qR6Ya0i3OuMq3xpc01t8u3hMS0MySGb+DlVJkJ9QLqC+/eJuCN3IKTo6w1fH4AZ/bkgbB7cEYqywmhYWkpRidsX61aVr9OrX05qVteEbAR4h/qhPXhAKaIE659bpafAzJyM47bRyXfaD9Y/F/shSuOy8ZgUY1mMTf2NiHio0eVc3nJzEA6NJsttOq+xOS/kBlpHYGnuIVF5BvmSlnjlZTB2FcR24Vje2ha38jRCSJ4q7GrhRTXCSdrl+y8qSl2XsrsEZvTT8tEPyJ9ZL+B1iDkDFt6tg9gONv5TSWe6T8ByARTlboC74pMDy936jNLp/1TkHrwXnqNg2Q5ge48xNctCfvTiJkiVdUhuy01m/GZhIE/z7WUqe39qBRgJPViNhrY75fybTz4D7ZM+vEAWmLuERpNwRMSDqla/6YWSle+MxIpSR7RfeDXLN5NVS5eAXU8WyQXAYHy9aDa0Cqt7jGl19hru9AM46WYZaHc/hnK+Mrtc6SnmNFVi06d6CjoMLR9ZZAEMq8SDfgmfpenkUEdQfpRa1I8J6QuJEqZLcOkejhnBAlFLQoXx266xq2J8QyQtereRLoEb+6ROCcIM+JvC9rUKXp5CrSGZ3WxiM6xasdGkiabglsZIHkJImzgCCONXwA+i87CaBq409nw6gD/QrwQrvwKcVDSyJNpfxjsOvWexcQdVpbS7FtrYBOfZx7O64RI9+zRUwfWIVBTn6h1vhKe/V93XYCrWtLL6kLQcoLDFcuKbyHFuRc5f26vFP0r5IyWg9B6bZ1cznQyt/visklorSjSGe7kdrbuO8g42NIiQOgDBxT//xlzQdJYhn4BlR0L9lw3s0n0jePvIRMQ8Re1w4QsMfdYKxT+b2hkgjQQ/3mr9f9h23cM78xm3BbtwACdIocMZ9DZlp4WU0WqpXHs417BHkcD/vAXi/eNSRT6gjcaZHFY1mvX2q3aHdLY+/hEub5N9MItKt4IwIDC7h2HBUmaMFY14dvZGkoz4O7qyesaW4tPMK2kIjuE96vVKW2aH7bTCuhDhif6vCgbKDex6dyUGVX2quwzJ9AlOu082VeoVeQk/ZyT7KShwttwP2ajg2ZmDi11GGwdIggs++t82gK5v5sC/f6E59gtqS02CDB0gUkFdON98TZtxLK4t49IEO2n4+BpCkLzgOBGd14TAxscsQCoLhTxMQJrxBl13/BIwZ8D4+tFS86zPDuHWj7KyM/0upqXRcONj7y1DeM/zcaEDBlYKuyZ17mePR5u0bF/5kUFU8eNGY9rIEAer7ZXO08X5LRO3EOIq7dE4opCU+Sup0n3dbHc4zGVPTMMSfhFcEvufj9E964Yu+baSoArLOqb5g3QVkupNCR6/aKwaDlfXZsbsnUx4JSng1s7oXRqfzcnHug75Bjss65a3ldVMjsWYsmRKUOseNnev1KLCbB5CG6ejf9xcSXeyiGCx0KvjD3kKXYX0E9HyZFiccjYjpWQ1vv5dbsxiuRjwGCJsObJ9mQueOeJ5g9n8B9myz9E0hJ4gLacdUQ7xdSLfeu5ZLRgFahWQeqhnzus6TFhnlHVX7eRVPBRHvEqz19UWqfOmXl4He3/8v2jOScUOeJ1n1v0F+K3EI9Kkh/0fW+ynvCgOzeW3kObIIFk+chJfVx1A5c/W07JEj4vaZJPRlPflhUDEOCg63chb9J5XvxNGxvK7weLYUppLt6OcJ7oSJXcb6XeJQrntthvgXj52sVCQaW/xc4LLQPFHRzJaIDHEvmZ50Ee7HlNWFrAH9Y548D/UQ1Ma7tbJHiUCa6CRrLVH4hgiGdzuseoZszsQQRPAU5KGyUhIag9AK6wtqH83dJGkJ7f3Nm6DKmi36nHN0CScewueT1smRHPalsakl13dhi5J/mn3VCVnvzoM71P4cREoHG8XHag01ba6ZhatT0nEifofHSaQfGHo3peU+llpAs+R9jD7bLtpAv9GRyuqU1neO94yft/IqRXEP1mhA25LNHBa2qHaE0E5gQ+LZ+ltxoDDJqb2CpenAfPKSBSm2bF1GnENlNICq+hAwIo7onsoU2y8D2/aouuw73exFxglWCnz+zO7DcKIgsv9RsA23r6XdU1JYSATUI719/xMR8QcgTqEa7mcWgQjpKu7akHOFNUni45HniboqZ1bv3RP0T/lhUZ07+bLJgWx/M1oTI4YeOh9FPB8cJUUYVMRH1sjEimNqwS+ZMSvsueAwRw4mq5LWNqGJGgC94GlPsW8CHTUI7UOefHBPiXEQAcBb8sMptLu33ekB/3OzWYYDJfYZMNpAFp4c96/ifq97SICSJ9hTtcjEyRK4vpCmKtqSHhEsTP2nnU7f/LBdGy/XedDvlwNPrTNLZyVZsvC6v+qSrdAyBO3Eeo0U2p06MgIKgh6Q/nq1+b3gE7idEFpmjMi5Rny9xShWLQTswWl56a4p6VXLOtvn7bExF5OIlio48PjJBU5ATDOfpsXdg+ZM4u0k4/fO3ZBMZbXQPqBl+UZQua4mvvxJOaXKsjy8VI0/WjnHb9EoVb3kVXQIOaQ/xAvYcQU0WkVLOAYf/dME4Dsbjq2hcVbYIhmXvReL46tQuSMtKeL7/Aj0SGv6E3sN6WjRlHSFhXKC2pV/Wi6I4mrfRlRtLuafeZgs4iKYj4IuLYJrV++bhgIR3mOnFMb1Dgxe+zhAp/9tVp7EKo6x42kSuC23z58n/nil6M09hAGiclOCWfrDkd6nCW8Px4ZambZr7YonvzQsI6txSVBAugUQ+wqLfmSx/oPxf+8DBEhN5vWHVJMDA6COWf/Ler45h5+5Ti8Gbge3Uq0euVTxwJSpf1bAMFbWDJ6jJenZdHV3/fcVL99OErCyRbeeLFdDGym3J5FdJa1ZOs4VrDaYI5/VUaOdAp2VcyzCvXtEEXwccBVcVPzpToI/fpgYJCDnQRKjtPUbH0uSssRbIyFwRulNIWw4dUz5Vd7OMmNQmPMl1x/yUBEaiEMkQOYUyBdxXnBHWfP6bMxk8So3HKuDxQhMee+Ki4+4p9xSptXnuIoK5zVGImfi2YUKNu9icT756Ow1FIvAH51skAbhxmLk0YQmcL313QaFeCYvLMY8IAGTil0KqCPPC4zVeUBEu3vETsFWOZ3dtmwW9cThX+bvmgAka3pahOuSw9JjhNp4TgFkzeGplYQvRGJCbQN2BYFtA2BptQtaODxspMyz7iEA4ggR4rpY5HqvxWWYJ1PC8/ATGWA7HDQPeQvx/yrOm+u/kfUmLNJYz7vFKmqp7bQWhPHqkn/gQv1ck7plUubWy/H9prDwn4TgA0H1HNCZuXwnTW3Kgbcv+/uat3mwVAz/IsiERlPxWksqAWz9/zPEso/WOtwW8k8zmLVOf3wg35syUriDa266xPHYl19I36r2uhSYhesa9Uqkfo8XnmJyaz3hhRk1ngwD4G6sO8JMxlIEpO1a9SaBaWeEml0YBMhbw4QT03HL7GQ+I0htNZ4mFwvcGTYOAW9BfuVQa5HERkyVfweZxTvKcrnLkUomjsqKvP9VCyc4oetfTl4/fg5AdUMuEAvibtIXt8141OewtHoUiNxhTs9QHiZH57gbDyEoNDExAD7d4Gs2sek5tekPpOlfAVBoEq9UwPS23+ATDiYUBOAyrsiAQSJa9CdGr86lOhZJZXiXlXay15fo7qZhfkrMbQ+WYBlOOOTv8EZU2TIaCdSvCb8eQKF6hGX9Yu4Y1q0NOf6UkV7SUIviBt2dZb8dCajyQnaB+j/qD6kJJBTP7IbBSf8QdFu6Hxv/r85XUOSA81uYkmi7d1zl8nnEB3rBMZTsSG13/ivqQjX37GBAYJ63jBsBD/Fu8OYKYU0WAHfGACGSxLOA+UPrTHTK/I7tXCSwg458iekEnsbDG4zNwn6fbvCVxR5fr9MCM/sgmPxpyZekuX3x3p7aAcCjVr/Y/gXNz9D1vS3YNyCEkPwMhVfrGs1279e/G/uCHmH2G9szmSnU8rjvRe/DfRV9eQjARMe+/JWvkJLofZCyaMKn7l2n6HVNwgn245GrxUWtR8JiJTmakfufkdsVXHf+j0m6ZLw8Mm8r0vfU3JlWqujLZupHgaEjwzM+nXvvp5wAXINXb9wOHndfGToaf1NP9oTUxBWehcIXmk131PRD3s5A7WEBwI7Ei6t8fsjsnBE1qlEGddTNoJC26Nhy1PF4u2wW7TrAdqERXCj1CLyPfyn1fUPizoyoSC768tKDSJ4KH/I46nBebG3NnToi9xE/6wVRGkK/4N99pUbBIyr6fLSO/Ml7pyTjjI+QMO2dpDQcsZFI3NK3VACv8En0SE4mPKg+Ou33V+TEh7lXlNAj0ouFsJNjnMZLwSD3Wn7JbPJsIGBIDrp5gq3klFK9x07odVuuv3PQc/mnHzVeHmkFcvPU/HKJa8OFZOLxAnJP3N4vWGDAmfvJo9doJ526iWGRhBeBfDjTlFFLe29L9rM2/59IYbCftzug60rSxH2np6GfFBrnr0aTIHAQur6nTEnGVeGC8uFMIWr2f9roa+JjvOLfFRYNMzaWy8hbHJTvIbfOPOIXQYExLM6CINUSRwxE2PKfTUGSG9gF4S1Riv3b/FHSIsAk1mNxsicyAnjDacRg3VVW7bUdNYnkOsoRMiMnp5xZws1l0h/V6NuSeWBXPusZXliGQB4gWJnRbzx7VxAKIyNxk1OM0Dn9lBlyqWV+P/Utx6WFS1cZu/ikkzb/TsgPCDwNyTxAMYORM4gedVTI/yGuCd06BTUqqrjEaghfeHxSukJwfuHIXboYn+1/Kpim357aAYFV2FoTHO0E1Dqx6QJ8t9fBDiPMYP16wC4/aJQMpGpmVh1gnRl1bP/bbBIibOZ9EuYOObsDJKvW+Rr/4Xz7prKvUx+KnZ7HeyDryuhVv4fW+u7Lhgh7+ievHZWMGOirdWe1lv7CmwLXvH5AWubzWaDCPKPq+CmtCkUFsHFYnkd/KUCqB0e9N1en4W2960wtwNIWUgcd3sx5oECqpimcJOzvi7sqNkBmT0Si/Rqm6TStcs+TJtP3t3f7/bmcHS27PuxJ0cGFmggOiSY9Z4JNvGw4qXv+nhtVQCmEklAIPRUteaEqd/vklZpaw+mHPKrnOlfH/lYf/1YGMs3Y9IqX7RQemU+fxO/oV+Ubp+3DUXgEyN88uGHR04u7HyBPurS/9ZF6/asBH/Dz936rYqxZMFiwz7LbYpXYzO66JdmibotlaVmGRwuaOwnv8T15CQDtyyL2mq5U5/xIqZ3psPsHoIrRUOUH7WA7D8fWjd7zgn3nj0nl5BGE3MbUZb28JF9twJnvmELk/yoRe+Mij2fgKu1z4W4qMQt55FonhoGnxZ9hExaUq+loJSr99YJ2/PYJCjl8JySzx5p5cfR2L8Cbj+aQiNPvCiS7C/J2Q/UitbDLxb4/SCukrVU+CNCHZKHlkTTWrzfy47NNbiTFlsyCj9H75Ix4CpCrZB+Dgf+8K0MgcVYcOrunZ38wxzSA+/KEGFQC2ahXB2gyOV2cCiSnnqUIRniAEB3Beo1IkLpQ6JZ7Gclys2z0bVHkiC6j3KOUfOrZydOO5Ba5fJEZlMkXH17yzAriBl/rt0AibR3+wHBTUblx4kFJUsp5Oy5GWCf9Wdnv2YfIRFbP32UJCUZZgwSDe4zWYsUP61FG0tshUQkI4O08fqWS/jjiO62DiGDh9Z8NLDsuxDmlzz27SzFAA3Ect/oh5yotUtmtX9tobaaBHijvKgo9IL8e90rgPrv/eB7HdYt9b5AG8jNUB0xNWdTqOEUtu+dfKIn2KyN0vgwHvgG9xU5iRfM6o+5nsCBEX9IGvzIAaVY571HxnTNTET+xu6Hlk1aLacUKq9p0eOTL9lPqsE/2/RpNJ7hmf8qvPJdyuY3prJhI3abMR3ldqp63X8OpN419ibQzbPRcsYf1HkaWh6s+LRXvPUdAF8YD+IbPyQTbWpKV72fVmD/Bt5Bg4Tb9g6v3S4SKEdsYJRJqMkizAoujh3a6Cj7GybojS7NyZO/LJzRt79jqVLvsyfZIhL2qJzactxvk/qsDuUBc0vrg1CFejgu2aZX4PcWc8wfSusAB8jcbPkKZDTrb8LBLfiISbD7NNh0zKl2rgfilQjymeGNGxojktj7uBiTjMowbS0Mp8+CHllOFlnb5IGG0UO9aQR6pkUAJh4yZAWEt+XVfME3PZv4pS2/Pynhev7U5n9X+qrbtKXjntHJfVQ6X+HkE8r702qJU4lay7iHeE2v6bCFPVQ2Yjy6h+EGRhypbQuBH0eeWxL6bvI22OaKOqZGuV5xyaNaNJxBJoS60SiRiR4PNWQZOJxauG1v65oRGxqNpQERg7a3tOCiyskiBQzVQnxocI318a7jAnb8fwiGIlWKVcfSeEIKny7fM0q1PtP03p42HIL2KL00GRIypswCTxncYGpay6+SOYUH3o9mHWiYdHWtWZCbyH2RlwV7jhnnnfs8tKEg1qZ6bo1lktIjUQZ5k3i9y7hLmSW2kDsk7GdcdLXCZui2Bu77LLJJfmbAnBIoolxO8yO1+Zpfjtcpz8YAUAtJdqPOqCwXQ7ZDz9i6WXpskT+SAK43tFEoOYpEBzkMCF1LKANUgPA8nz3Cb06DKmUJBqHCOc5YEnaS9KxgBLW2Ch50TZ6jYd+8DM3eYhZzqtOtJ7EolTeN1guvjjSYozJGP6uL4BPo0U8r6EAoqIfiVU8MnY584/4/de/81LPN33MBngKWrz7L5CDExnYbi0ClK531EnCy8n8gW9egKRaNa1zk5+emgpQhbXM9MKfrTHcnnDS+JXWATutiZO655I/hhoQy4ZisPeyD2bdUeBKJ4cv+hIo0b0Yo8sCzjm2p1Nxk8HuAdn0nhohxAw9N2ni+QRAZ4mYJBShc5055aGDwF8qFZAD700244wxEeCrsYK/t2MSRR7gmLaEvy23Aa4kbpSxN6LlhNnG6Ub9Q/ncUY5f5rmkGziOHyumGJOAnHP42ludnSW8waor49/TdxdomUpIXuP+SOLP/KgBGySyQk7QE3/tF2VgnF9+kWyGXL1mMMxNkv8FbDA6VR2PN5SbkW7bYou1RrX/gz8WEzTaxRFvrbyTsJ9f79aOWSwEW4E4miPT+WGhArOgGDEHe2foIvM2zbNmn9N38aAzkIuEoSEkHDz/HZWMidqLZj+Xe66ot8++SwXyQEyujhugTkWfGkChT2qdk8Rj6OqrMm1A1SkaGGzwqqY7u8tCPRJ43GTRkWno+nozxZGwAr8Q6YQd13Ea5bFF5jT7ns/ocipEHYg6k9qpIMECfEOnSuPb2O2wuX2T4XCPgkqD9Dw0XbowSEdpPw+5HcBKRjVg93he8g5gSYZRBu6ZIwoYtJfjA5JGSRt9PVmKX2nj2D2t1QMJ/BiaBwzwpq5+Yko6di/S2i6wfMBva42zRd/VxkNGy4Q9e6F+NrfMuyUtsONcJoXPmYc0/WMBRkH07UGAUAyE+CN1CzShYAloR9hPTI60S80vIJEWmTrc4Et7ewOsHHIUZkfPh7tjrrt3BBvl7eXqZU5mG3PsMVrfpgqoCgMly0+XpmT6u/BC1lnUcyxfH7m+4nycxD0F/XYIpLfelXxWYA3vOuONRP7Oh/TVkkOVyaHCO4dPe0RZIZp4pXcgeVi97/K7LEw0FlsbjEfJzKJUXNz4XfBfKaN1PJDOmOZfZ6wW0pCvbHOHHNXHzACM8ookhXsNLahfDSUQLewAsZ0XuSSZq0qs5j2SU+7xuo6yfhLaFd1aSKHNkC8BUYqsPgIxVeH6B7U/fQPpJz3unFXBGVXYc62M3MkZKCm7AfWiSStB/GUhFvcfhbrodLferFCeuczKvyWIIC/6O8ex7YwG9djz7FXLmTVRnqTh+vqyxWIISXtHu3Zrofzp933S3b0TDOlAJ2j+1A952GBbdIzIgsBPdDUE9ZXIN+SlqmUharTyEbxZcoOUxVDI8VB52IVCxbCW7U+cXHXWOtjdk5YgonJKlDGZw+MwXSH+kUmXRLmoGJM1PfqforaSeHIuZ1KWo/5/Qd5ADRAGm4HIyneA3n+qE1aI+DiqEeYbEd2PAaRQPAV3yH3SDr+fkZA2Dl2e7nYTULLUCRwAwO9WZiZloiZR6m2Vx9KFkO8y27cDWGFVqnx2JJKOossE6cnrki5+PZLBQ/ibJlmZQEzqQiH4WBtRCBkohf33RoMThKpYCA6ynONYwKnuHy+Q80nl++vfvPASDqZmmOo05BJ5zVHydgQ7UX5e5qCSwP9namVhz92JBs8VVI4AT8fl6ASPpNOxzpsk0+EcaWCfRPcH385+zR0Ji2v1H46hZvLmYGb35xRvNqFvIKkjuFrTKRiZTgXPZSdHpAql9Trvcq8ZTaVyccGiZTXHcES0aDenTwRQSw58KxreKYa0N+QNkkIWK5rqdU2gSg/3GI1Opayw2aDVSpXkBKXB+BcQTGAKwyRr8d9SqLNsVkBR4cFF6aZHOO5NbG8HsPr+FYTgTPbIUkL+Hx6pOKL5axYy/r8ShRUnpqgoHQrBdOhtGKKE0CqpGB40hMfrx0pgCiyhcoPjhwwHVBq+UXP3DYd4i9+m2i5Y9eXWK/XzXkiM9Wi9dR9Svyeutr6YWXfXyyScga4KiKFuiL91NXMrFSPrhuxCulNRyjAEPkWu+4GDnKMAplxNMiCu9GKxh6OtD8+RJb+sbP98+46p/I/KOE4jwP/0QM5SGZtQILwya6cg+30XFxOPb/sBWv0X16B7aAXsNVTBCcoraJxkE87k3TVUFta+Dz6+2Ds/Y9mighC8I9Qu3TN+T9xaK7qFGNu621WLSQv2gMbS7tAf0nhPamfHpS9Bw2j9VxfqM5Xekkf5uJ2ROBblN0gxgwfhqE7oJOe/ycF6qPYISfVVYLwrzzmPod+0Ib5sArMX4dwthcglM/rgKyrNyrOJwUjhqVlZ0ZHShaVaOlo0XxPLo3eb/2h4U+UJ1aYuNK+a/PD16B1xa2U5QZ1efbm95L6/GN6yLmv2z0M4izcBDwEDll/qtudybT7IyBIZ++48TEYVpB9c+Op6WreUTlwGXmifxbQZEZyeYNCzNZiZ1BSOG5RckKwi1DjIpuSn2KAGQLF9FpPeSkzI/GByZ/gmlpwkoWQ5fBdjxerTeD3zNR5ExBPTvhf7ecAzsGLT1/QfoJQZchWmp2AuIluxzjSBmJxuap2FHTcnzFYGnNKeiXsk4irbzHyU2BbJQbbFF8Y/NtGjpNJPblAatApOOOqZCTsyY5HNXKx9Sk7Vt5H+jWOP/7a63/hmBgJNGl4waiQ2MBeUfEfiL7pdtG2JHiGiQ57+LFU5mxKbR7ox+Yr+LhdZssn9y1jD0o+eif7c1OlcEA4AKI+YbiBqRrxAO7Oh50dsKU/Y3GxbRHjNawQE1zud/ev82/hgZBt6MZx8UPptBYYpoDaYVX7w8AkUH0j+plv3EWK1QB/NaneWk1hvIsGLjYQ4CpuUWKoLXgxmR54x1Bw+BrzMirBmEJm6Zal7MBV48tEPOXCRICOHSMxOeMdUyzxczucHTEFLbssKpI+dd8TmBRLI9sZxM9LJ4w9w/5WivUnQlVL3IdARVvksLS++tejlt6x72NjMfKtypxBSRg3GJnejHM+bBJFlMl7vwzDgpWCHF/+p3n9HgR2SoXo9hO5lGDdF5DYpWPEV1ENE+wxnixznwDK6hO9RQe8zE6D3Kf7d/3zndK2mSgfBr/S3t3peQygX58cl49Mf9ck9C8If84knj0IiIl4P2CAk031/Qw8dlv83/UnP3IvY+J6iZJZ5L/MU38fVRH3tbc+KAu7xxpSCAbmDuCywlgSxo1Icby8K2ZjSMDVV9YpqjNMzW/1B5akVktrYUheMO2sbsPHf/jsoo5V8Q7pBSpq0aDJ0jMfDm0n1nxb/nwW6Q7LQdzEXUyLxBtIKsFrXA//UoEtVuy4JANmfIWWH9M6Z+GzGJ1+vwAXqkNyVrv71KO3cvMQ7U2/x92Z4je9DFgrnFT8zjTNFragN5qGtwT2bJbuQ0Y1oYtpa9U7QcY4MuxjOKSjqZBHiah+6o7oiDeMGYbKy+UHelA7yrrl/jGwJkR42R5rPHDgLz/E+Xmadshegt239uLgGlZ/jsd1FD4VMfOlW4cg55RxWpIJeUdauIY5jy1nM1rOxp2SazvpxQKFgd+DmkaTiebte47CDnPFuEw0vFEHxdnZd4Q0TsfP4cC7ZOweBXlEm/1mp6SotWpqvonU+MV7t/t07VPNPLzud/4owoGJTEUvJxUfQ7eFoKfZAWu7jgurZ8PVIiXYaf/PUVNgWlkHkJt/6wIcJfSK3LVLJ7wazxeDaVObZktLMqSa6sWZ0+PBGDrlK88abfDOELq6zbBXmmAqrGzi7fq54AK6glqPDO7ChZTG45ofDaqIzHvb8fQgfNMBp5Ke9jbP4qepe14t6CLLSqRnwsxHkJyQeWv5h6wxJod04gMzBXefZFII0HglBFdvP5CHTThGIXKlNsEQ7Bm7tT6UkmdgDIsIVfVcwy04pMOtCle2910Eg8VsjBBZr7Cn2k7D4w8ZErdlQWE8Z5gq0b2M0NgLD53CFtSdhsbuXLkQLUhRTqRvDam3NWVcKr8xIC3vMun4oAl84D6NLC0F2uI3VTL3lgQnwQPGupCcHnF1nWSMeIU0yd/s/VhNNguZ3kfjentOxnNgWY5f9YNp44ou1ahZ3efubMIi5AQR9fkyOgTLxSwGTTVkYATC/p5lfY7JGOtfqdc9VtetsBwI0hpKjbYXeai5Z+/z5xX8L+Z34/3LIQepuDmLzyg6JZMET0jmggdJZtLiLGNJcAAMD4MZtP32zdawVCFJ2Uu+mWGwEk7BnuexBXBfnsXv97svpErmqdfXF958z1DbOhZ+zJzkfvSNTV+zfpjpeejkgBGZz3Gbi4T9HBcUdeRGLLpWs+UNHf7aapYipZJaJIQ1ZpMEoAzYNGpp3ZSZiLgCVH7K6RI//TvwnesP8IauCAYpOIB0tDUQS2Gq8wOCzlRNpp87H7Tk7c8XfeSfkq4+WNHaPj+ua7UbPxMQUgYmqjSminZC0QI7O2TYuooO8FuBgraNF0yEYmv/Wi3CAOEs2TkxEy1+LvSG0RMp1rL+sjr7SU/e+uHjEa1gFIDI6w1G1KOGq8DCVQU01bYB9cZ9ogO4weyuovze/oeIHGB6XFvM3hnsmbf2czxSWhx6ggQtTGDWfuhg92URj0SNfV2H94Q9x+uPREnLsH+9DhjS048SerH1tW1TrEH1BQOtPsstYr1qsSQqjJYIl5bwYL/dQydDGnuEuPvMIDAeo24RX1p4+REm9o1n9/3rSXnxaPGavRdA4sWi3zJarlQGUGfU88gfVSwNu86xe2pAgpSJ3awDOlZR6XXXPYOdD59Hwn+pSybAWg+Ll6PSO/0Ak4NmIquGulnSStKt+Q5FbjhN4JxEX/HJJG4LrsSdYFBQ82u+Fx3qKnaNGpwF/CeE/9qOC6EVz0skbTER0weFOS56RpxKuk0R3H8pJgUFb824Cx01Bu2hLszJgHm4G86m2stp3OzNTOmcv24L9zIm6ylH0UmaZ+7EOCYnrqPh8HADYroYWn01TyB/IdSyslbwgXaZ4JLSduMkZ6OcUaYLSt6T0T1/xEG5N+zlU0PB7eo/MbSzyHgMUWqbfbZsPM/84McPFgPgWRa1VPPjWWQCfN35AXFhGvxyxb1fH5yGg2Et56wFvu5m9P17D6gs2szr6+aBHZ3PbgzcqYYvFJ59E8XEvzFk3BMoHDLBCXO1ZFhW6s/j7PlO1/vEVDfjHvEg64rfl4nYZhz5ycPXXOW+gv4P2K+Xbk4S/jHXI75zzSvJLUzVJI8sJXx/JYJfwCu1aSuCSGA43togFMHATUBSr7us1J5qPEYmfPQuO13LRKMDpY7r0hMyFpqCLj/BThvIud/481G0QuN8zv3bc/Sw3WtVIwRjQrTfZwNcdAiF9JQi4IL0LWxDTm/Q/WkE6R80TkRX9ctochC4VM0UGZ/Dfvd4sWaM7e07mUALvOWv51vSIw4LvvyJr0oFMrJH7IeNZi/VFf/Bu9GxQj5WM53CyPMqDeluTK3/aaqeOolCa1IuZdc8SZL32qHiUEWh47B0lZWlbZJP3GWKJl4svgpHXXDU8kpikG6rz+mnt+BhTJH4tPF4CIJoNVTXiuNMQeI6ZH4fbgt4pnjxWeSalLUBwyvYg3pc/gw8OymipkzTj3ro3/Qm3IdvJDJnrtDgUHejV1FpLekxappPRo3PKl+q0AMvdUFX0ql2nlxCcMPgzh3G4WT0Op1+RSD9CUcChElAzu5FrLf51AmvNvXy5KfQnqCtCsv1/HHUusFwUdtcZf/O74v5OUuClhAsxXwrD1QH2WK26Ee1QB9mqHow3I1u71B0OH/fTEuC3+Wym05NHjLkEEaewRQZBjct3akIg2pfec5k4vW0dfzkV13eXmv6XD/oBUvRuSF7c/oX909v9kOASXTPDxZjNPewDPwbukafoSw338BsZZwvhTkX+z1lG/lIeyR9JxotYDf/dacgCNf9b+pyCigfAHf55FvYzXgrtX/0Mu1sz5jpUwiOYWt3mLdZ2EOT5Yx96HLH4e912WBmwK/aYTzCAC510qhvXZx20E7Nb1FSz4Af2vsWIqlydTFiyhKnrcOY/E7VD/HbwPyG0hDfbbKMPf42pbRaIYLZ8WJN9+RyGGPgkYjndfdHH/0g+7qKjbKh6QlaaGuY0nR7YHA0WANCMilVp18ZGLvD6VMCuYahLP9X9z9ynXlEFzGcgxsC6ecbTxQeWKiw1bwaEHv6ayifBHtGoveja3rogtAih0FoZuDoifuPq2gOmk9LP9McfasqIyTd1pOTFZhW4zapcLzr11zzBCtUcDIG8BeTAGDU8GVRqi4zpP+BKxvloVE79O4CyvBUiq3uHVxkyV0U9Ie/L9IK0p6xQ4Rpp1af+S8smHhV0b6KX1nWBu05s4CerIO85LxmHURFN0LhFQgrU4PKkPla9zr7JIHYKwllYshQkvI5jKLWHCzgk8WCjVdxESmXEjhtpgyrnfexUn9O/v4C6BA+bSSKwUGPUcX/xpbOCUOm+CrjsTuT0FFZlxqMdxe/U+cOH6IdeiCnIRuJmvmgy+nnZC3g6p1YrDv7BBYPp9wtHJ/B2OPTy8MrrGJPhypbfGYcnEjw3CULDARMPFvNzAMm3PWD9B5IP5mtgARFuQbJ9iSjRMDAj8GWwSXMlXaUYK0lsNd+ceXQR8tP3D+v09AU9b8CG/uyBJk7DDKuGNxiEBJSpIyCZ2RSy8IqDyUTz5PhSzun8gORE1GX0/f28ICqCGQJ3jwdTqIitKiviiKkbwbXxudQd6h2VNpXVC469SbD0XK1uIb9kY35C3zsdE9EPSQzXDGwR9PWU5Be50FQgHmXzQhkVAcBTGjCMau/Eh4wO1VdwqahQ7zb8rI1VVxr7fbWL7JMsf4B1QctJoecQyetUM5ckziJTzPSaMMr9PFQBago4nrQRPZDFbCkW6dJS8row0ncRfTw1mPg7ZflXlvkU/VavGRVNejRlPv0lf2aAO7U/McewG8EF5jO9oLLl575K7shC7r0R7HfmC7sk86LLT0sgGeH4xFJtbq5CzVMuzcGWwA+F4BzvIgkvzMWmuRunXOgesrcLi4oJDFDkMbBl6giWRNGLYCwB7ThDSxN+Ngp41oVv3Mk2yoddVH1hiRccuHmfUcGCAt3GmosjCoynSWPYoA8tDLdC3TeF4VyKjiTfSR0svD9GrqP4uCtd93PquXDoaPFwo4fnln+EtO7I87BXx6BH1O3PJCg1aLXjIs+KXUC4cEQ2NqgwGJqin+Qpzsd4MobT11MDOArYymbCnj7+ke2toQRs7cBtBw+rOeHvqakqD/Vqja4c25jGFXY/OR6mU7Nc2FNSsl0CRdcTEwuupN2oz3GLBtaH+UElcPFSVafCA4I3F/B1AvnewKG643lGrWUNkRQHoOg58fduzEEpNHqUCeQvTZo3IWYo3/FyGvZzoaEztHH6ggpFVDmj2IJR160UczOIS7FnFoKeSXnvheKv06pHIUKO0HTqOsI4AhJwKMhN9K4tN90BoXDn7XpN/okhglvHXtVrpw5ycMFIWUkUH3DBmQTURxZADXpAe34j81j6Plw/0UVSosv26UbVOW3CODT3w6I2hKeS5vgjDnM9VhGk4Z6M0wqfXT2+PMEHUTGK3MqLkL6L9YFN7wLB76Rh9+J/DlNCokemFhEOPc7BH4brPQ3EVUK+35S25pRmaBM8GY0O0cOuSJgE0oT818FbkOS6mqplg20/rRwOR8G2xv3PTSAOYdRcB7zbtDpbZNS6B32SBZemHFmlC9qzRE//zVRBxLBqdpfTGW5fmKY/XBQmAyO1cmSURmFxcY7171Vc15ik92JB633tgxT5wkw7uyLslfHIrKA3HwT51uFluVgYmaUzo9ar/DGUXVoZ92Qkc//aXxGZMaChepuB4Utc5Bp2F8dS6z52G7vZcMr+ovZn8MA0WLYneueXzOuvJsTyxYlOLOcvKSt+wRZbZhASS9VplzChhRzb+bsG7bagk3xzHEk+xWYo+Tiu97vag2kqeKyb0PotnzrNh3JAaCkKd7BAAkjCqSAeUfwhetI8eaDKUgOpqo10LcdM2dWCC7TkYkIyH7f9Yz0X+jwAZk42dTDK/KnHL7ZU6RazGqpGlw+NCmraKG5uqJyJ8P4vuVk1c3OlxZGVFS539OdtxrzPR3ZYVP5Upo92s84DtEGKsdtaSPZZs9SyDkOf9qERtdtQfmqRm6lCZCE1I5q11w2OHisF1TkdXL165ZF7Y2KfZY1IlR+k5G86xdDVjOa9wTL1TIOsk0ehcHctwRWeeO6m3Bo7bc3H4wm3WJL4s3uYRrL9369ydgvcM2gseHZpayYE54lAeK7Uin8nVzwrZX4n4TShsyBXeDmr+udqEVbHSA1YjvIkdDrx3YQ4fjglbdxr+cbiA0sTRg4o8TJERoOvLPWjsXjjPsrDjFe2kLQrsJCMG/Q7OAeZmkFy4axfl57xNuGYLqtmTTHGYxGR7zGD4l3TiXemJgGcMn2WGlLX3myoP6SYlVh1bTWDaFqrBW9gqDI5ay7yf7Y+H3M6ygpbBhAnro5x//fmSnVtM0Zf/RsbdvQ4U/Ryi2TNNhTjlsrjPv8R3RY21/f7c/lbnpEjA5KQxoR2L/JngWR74F0jrxbfjfPc+EWjIkL/s06awly9kO61spnxP53oFRMjF26ZwEXPIEmthKZgXlaZXMVL4NpYoRulWgwgKUUkA6pjudNbqNu2GQBxhQFAkeUtT/I/eIgmExtiD4qJ3jm9zXTY0fdpB8W8y6qFkRVmylaLwA5ydjwcmi13dW1l44nzficK0bSBrrIpJz9LdzdkRiQAQE0BvqOin7aBrGMAN9U3QitkTFOFvMm+U1SwtwEszRz6Yt8z/jDX/PnLtsv3hPr54RE7rOzXELOf2Mjl2RQwRCLzx/C3kEi60btIIxM7VANwui9qsNsH9zybsUgyPe7PQ3KqQixNdc7ODTd6uJxjQ00egCn3XVjGXvwWCx/A2YQZV5IQ33ZTdSEf4ziSK6WHVepCPc449LkNbe/pHXgJrgvnwXcW8tFHEjvCwu0RtvD8EtUosrEyWAVzKEdtPdUZ9wDQC2yGclftBZCnOtPz9OvcYKzaBIbzl7wXkweEp76jgQZFVUy0ZDzSfam5wKaUdqNqKN/Av5kGJGR3Cqbb9Zqehl2FENGZhU0U2wgyKvV4/0LGNGWHXJRIa4eEeqEsWuuQLCeIm8v7innfAxt41e8WeaaSFEY9B+JZH0/FNI90LxcEtrQ+74+Gz5mcQG+x3OtqRpFx23pW+62PlDqEmkOLq4JINAbwCbACidWbtPIcqnHegUeiClX+HGsTv6lyL0dwpl9ah88IMRHffXpt1CmETavurbdUPf0FFmoWNzkhJBbhF8YzKyC0+t7jJhRyvvpyhTB1m01lgKy5wrhGzXmJyc8QSdi7DU1QhZwQDcymX6exswVt9b8Brw9Z5wjiZ51b5xHFvIazb8SSpT2NYJR7EHRs5pMEG0b84NsEK+r3lrTnjlFg2UOQmnwaXcnTRiJHlP54NbKPsC5BUwuyjtDRPaJG+zYYuyZTBG7FwiwK3lG/7yk+ZH11I7k0Z6cE92onEq4PGta/lBj5YznD+4D/dzMcl8v4fJZMOPpNPRyx85dWcCdCCA2Zy9n8nJu+TTRWbzUjCbCJf6yrzXIDu9iU5LbyWeHK89iqyM9kIZ6DQeoKI6uhrHHLnWrGSdGeMKx0m++FxpwMtRn0tomiljjDl58577SN5Q30ZWBG9M+poi2qfDxiv3Eddoqq3wQCtw5lyPqpmIz4SzTMBBWe//ctrZdJXtUtnNYZ47Qw/aBYjh3cBbp1fM11G2Vbe3U8QyyhR0ZkRs8xE1+2nIZDn5px1BwokepLpEXoaIy7G2DhrkgF18G9YiwdXqolUTyfHaSeJKasVC1Z+/thETMkg2BKgC+VSm5WvryOwoVdIFb4eGUmwBjKglTtfbHYvlWbRRgx3i/bkJSKrqI1luYh5n6ikuPLDLFtQe3FvUNgbMPLTBnBykjgkdxTGGGQnjRDnCI5yleslectAID2/NexFLsVO5JH3y+kV/T+eWuEHiGveFscL6/iDrgQwmhxtbflB/vB+5YkFthPSSaqpH28E9twF4qd7bMe6x42gPkx9jYBTF+wICMxjn+bYp0plHn38FG4i9qK7Dd2DRkj6AmuxvqXWrknXfFOnF+8bKfpUxfxRUiJfl0cgMO828xK4nc6sR/SSoILDvN5qym72lYtbziOVZsXfSZjWitICMcQf5OyHXDc18aja6H7664/JwU8kDYLS0yym88gJwUyPUwmGM96n624LYYhQG/fqQHGjdkPMoZAWjNuVYcfpqy8W5IFL0odCP3dGFJgFIiHMAObXW3TnevR3bYJrjtKZBG6PoiLCedd84IukIwX+/Kgwd4HXSLwvDC29/UZT9WlWQNrexauvgaGHjboq2LyTYeaLR4iRgAgXXk+xNo7j4CoTZjqRgMALE/gt56LYv2w3jHVXi28d4C0mG2Kc/Lc6YgIAHCFH8hJ/ldbCkY0xdMqC8J4RallI5JOnNE7BVjdWQ1w0QLU2sIs8aED2Dfiw+TlqBPTeOBKgQuRhuGWhQFWdFSXnlqWO8Gmwxa0/6eAznuWtGOWH7v4QPtFa2U6SujG3x/nJFeJTQUmZwbsXhxtDGU7dgAEHWQfuJ11jnX0k6EEiTcglk1+pEMR8XOPg1wYDU0+WC7kyXwl1nMUJ5qZjkKn25XnIH2edcH7A4WmM6ZSk+21ynUiqkl/8Kg2U/R06PpohIV81zvSO4DmS1X9lSkYdsEinLTiNeDWSDJveEfvfIKfO1lORqe1dc6oxOM5SkghnIKVsM3ftHaQftthHQkwOUFOX36jd9L2gNLrN/7z0D4LZkdNvZI9tY4rpIsu42M/n/IndhLWzBIljrCnCutJLwvAFl8vr2HBMP28N2uKQo7MCPZh6L4RjAbAGXvkU+7XqUE3wW3I5iKDcGgcI/bDXVBG+OtQPjPoaaE+2vv/tYV2pb7FKEwuv5Aj2LioNMOvstOC9tMNtjOLJn6RpGCCgC1v+r7jU9IU3QFLBj1JSCKee4h9vgI1g+aUWs317+ErKK4DWSpGwdK68aayb9pKoPenlDoVgvzGQwusuxzYI7YQLvtTa4AOtOu0wYQpY9vs30YFuhCaYOXhdXU2rcPz1MBEEvSvTIWUV9D06c4UtKLOVIwyWT0dFJl1iz3w6SSFtWi38QGXZ8/CdwkZ6x+4Ybvl3ums/RCMaG6zEc1HMEQGqos+JHDJmeaGyWXNl4UImVzN0U3F4ys28F9nozGoUkPzqiH+KeywIcst1QMy7HzkthYNWVpB2vBKGzYg1t2OAFsXNrvzxuSkgbf3v177O+OPRUziAikHkilYJIrzd9l4omd/6tDCBTgFbrjRtRmS7BdAiRcTRpO82Vr6p4r8g9W7j5Yn/ReD9CJrVqRFbmTCu1Q1KRdoyEDjMX04/4CbQmIB8UEIx6BzUstXep+lpkKAu7/2n6IYQvsS3hwKJnAz/V57wfrU2jSrifZbCC/Zmmb2n3zIsgAs5aSfR6C/RlrPiQ2BZ2cgBwmoBoOPw0PadBszDl4yILei9nHZ0X0HYAOhQ5OTFmYK4cAt2IiB17saldvh0EoduSh4Gbrsq5l8XGuAt0aw8P2uIJy0CuCdmy4+EtnL8SKHRE+MUh0zM17j/QjBo+X9DkyYb9Y3gHfyfFy+ELHz4GuCG2uoNVfoMDPiXNn2j6YVHS87Cf52mirhCYuk5I2v1jp0gs4GKyBOfVMQo1lqQmk5oCG9Y/q5bQqs2+vD2GE7qmTO5rdhF38NY+4fNXZgn0B2JqzE2c+vsBlVlvxg74iNiZLZl2EermK8TlBYoMf/dPQOh19ksBkFBjd+Oxchej6LxilbLaxXgRpgIM1i2D4acTQFTf2cqeUqCFskgRHYN3gfJ21zujZbBUq3AE6CQeCU0BhO/xoe9h/ggFvUBQi0UPlC/P/ou/M4kIAuzlKFFk5cJRTZofELSwUQ0xJH2HxrVCANejTJrOKpw7KTH5aJ2M+8H7f6ZG5QKKZVexwKUkBieyoSLYbRzHFa5ATm6lJY+kP6Pw2ttwMccQBiSKDI3EW+GsZCZ4CUUY+milLVEv5B9mgsq+u4e38SiTrJ/I1XKC4J7fIg/jks/Ws6YsoTxvcv4jYCiciNN4x3UwoPlseYlImQ6OqotAsleTu8PygZp9oi3OjsXPWB5+x0akR2qPxeJ1+aeafj6JhSkmbq8VnQK3KQ7UVMT2jCdxzoEag1+qYKgwGq/Wcci7alpGW3EOEMs+bvN5iX1B82dNfkRm4/zWrv3Grsu7j4o6Wmh0QKmAE4G/ODgoH/YVNoU8bs+mK6foGq4cetzmLIDyzcaKMN/g65i1PCqDaqyVTF0FI83+AvdFE2M3sJEXxQCf/V9fA6uC3o+BJvbMVUErxUSKU9pTqMWjt34/BATnwm805qjo5FQXbAiFX2p5wOYdrZX6flFvbcqZ+VaxupkRcttVzp2LfO9DsI2h6PE4KNJyYtmAWGspE5MUXoFWHTUy1pv8hcq3pA2NFKve885/9WrJLl9ExuhsUX6W+HtkaLhVDAqZtDt1sIBtA/wEQTbJ63vXE/BrSgYqmOua2aL1cm4hXy3lqFU66AA/w8HSjzCbkuNcKraQ+T0cKt1FWouvb6awNHdVXEQGfoWOzFmmA/5H+rcmmymv1HnfWPi2X1Hm0Y3N1YkyGLc+KmV61/bUClpGqxd+RaxHmQqYv1lAJtno2igJ/YbDRK8RKELbF4L7Jp6BAV73RzEMRy1nmFKPnlDkyhreFPqL4vK5SVtI/JWptsphqFWWSX95HFjhcc+pEOUeMWMwh3ayoJgiEZ2ng2EkBxiorp5mZ8146HQxeBQtxjAwiY6EO4IEMuDENrvmDYfd9TvBAiOH2RvIu4hefMNolGGQl3JX2JnUx5QzfG7HehCfBsxB9DIKIjo9eeTbuwuu9c4fKaGpk+snEEl1iy3RtTp2NAR5aMa4p/fvyWaOV7dhURpAuyeYTmypR7g4XEYW9bF7qnFrigCEMsTUnGtmWoeq8xKt8yy8/d0rMn6E1D+FkcZdmyM+M9aUUau+eWrTqSS3NC75O0Gp2tR4rb5oqf7Xm7u37/ckZ3nbwtgEfGJAkDTsk1/PqIgLUcTchEJdLl2bUnkQPsAjPrPHKoRn03bIh4kBUXgDSQNv0xDnHU9wtw7mkwYpIh6k6mzIKjzs8u2xObrPpwbDS+ouOSDhELKkdvK5OrLKx9alwTqzQM+CmRCKdXOp0y2XLhu/KCpBCSRXLWanyvZet8iOB8J3Pl9nC1QEaekPyjflv4CtMdfodod9kxoJIrDQmm24sJ4L5D1HDDwyTwNi/kRrABlNYsnpOXdt0n2nRrrKb7/NlcJMuiyv5WKZBW6IIDTb9OoHSuuzmhNMCyIAKN7eJb1qwwBe+QtyUmkHxFtmjSJmm721rZkrD60ANLS6BK0F5XwlE0IoikzU3df10YUu+lY3IPrBltQoLHJTOpsKw3SySQha4q+HNOlUAfcCs1T5cOeVryVvzJw4dp6GDhBWKD5NNlDV+fmrkSCiINRybLQ4/iKRwfnLeE3MZbGcR6stTSgLFl4AVCx7q/7WAGn9IE2gcP+3Z7fl1RLbNQfJ+sBN7bK3IwbdO7Kvquz5x+WFUQmMSjS9sTnP9Ym7Mj9HwjAJn1eHskFFvxoxPHOCU7bqkyC8zqO5DP8+OzKaz0kqXMJh1bxzKu1vZZt3p5QmKnsPsN30zxG6BoBbJCKJ1xN0dtyGPrSORDo5aaKEB1oo6IOitQwFfQm+lO/Wmyh+B8e/9UGHVOavYVHHr5G1hczW493z3600kZLata/dKFe91BjOM+E8tW+sfK4U8dXK4rjdXNveqd3n5o3ObhS5+k2jVd8ABpPPjMCQ1b5VHTwoq2d46shniIQmU+d/5eJToIbfXlVGvZYH2opNtcca/epTLErMBNi8wY/SuHEJCsIw5S6Lxpj2wAwkZD1SvY1607lDjSsRIzqaXj1vmp3TSPCrkneAGnEoohOkup78sGLn4eHeANtItWcMrKLOgHfajM6jmMalDe5qC0nM7VK0Ptt3skOWnin2o+Sgrys6Gv6TLv2Yw6SWm9MaJzw2NBVGCM8vpn6APEFW/dGlIf7TiTtCzdivhm5bB64y78447Ihc++yemsSpntpQgiiskvzEU/FeSeL0sVL5D0y5PnXFlSrwQtvuwMhnXQgw7pxMWzHAkHETxshMfdzARhY2FUqx9sP+efdaTPW1IkgKydEFsZCVo5GUT5+fF3m8NjlWZN9NLzd/vxtvYQtmwx0ovTZHAEMfJWXXfYzBJWW6G92SG2FDDfoNqvqdCDuiQURFOcxkg2p2yYGEYQXQ+ox5zL6a+gs2OdROtdk3yCVl3tUQLBszGwiBUfI4bMUjzv0KUxEnKlBJPo4eDOVjECM0NkFMKi5wI8ctqYmVirwaMm0Zl2q6eclVbQZst8NsZcqRuwO1yvw++dkrIQq9E9Ie1BYod3YsF6hZosXt9hGXuQxsiqN3r8A19/dddhTPhwGn/Nnjk2k9vK6ShKI5wq4lSQ1zd8WKGvJeJHL3ZKYG7V3kA7OCFRVzQIDmse8qUOGfEdBVfeNeniR/sOievcP486nuQtmOMCyZ4gm6DZ8HZITfCyAI15DBjW0Mc9HTsnNMq6nw3ei/9Ih1U9CVLGXmdxkslwWt2m5+0S+r1vReZAywRfSZXAoB0usoOhGZqhCt/j7oHklCZR9G3mF484O/Gdqs21VWsDhcshefrO9BPf5vM1ZGBFoXSJuO/+txfknvA+zO2jswtmqlKIFUGt7oKNSNHik0dCrJmB/atd/q2RIsLSKGnen3yVA6/CH2RPU5FcFY8A83NPDymz1/2Sqmktqt+SI7ZoTdrlwwyD4BsptfZ9z/0VGdHtkaRrnsolmCzV8hWrLHC3X1nuBs5EiOnfblHpK02teB0kiphJ9LR3msvegWd1x3hnEq0rq5u7BWAlU4p7ZcYrRSNC5vS5ZXrJg2W3wmidWoWfv8nSfGYsWat4An3lMvUeCbI6s2FLpoZdxEG1vUQ5Zskrn2rYl99UU58SC8BiUpPYj7bIdWqnmUul7/fHXVKR3uwe5yO/4xvxH5q1FI9rcOpEMAJBm+Ct/44aVLEEO+vveT410yMb3Sf4p5lks1CZSy1A6OFhG52Yqhkjc8UMZLRCYpD4Bq50nxzqnCkXUsfsNk7KDJqjg/7egl/6lKC51QV9IlyOpsdC0X4BNQGis0u73ClUXwnDmYs9q41pGUF93IIei/r33SOKnzA+8YfDA9s9wD8AN+WzxuiNmNbq0IUx1+HOe9YxE0IRStK1JIBLp/h4t2XcGvlfuNAxZKBBMh0vqx2OkswwTn9Y2cKevYtnSjoZy2sDDdcm6gBAiA137aahedS353aqTEyhjslAh6wi8aBGJx5uBbLNOsrkqIoanz1Vn+y87pPNN3wvArnnf/2XVWSLaEvgDiwAFCYZtejD1ewlxWG8RqXqozot4bJvRRUvlfWW0GbElQfqngDkL2SWg7N8NoSSv8zmaer4ZeUHUpQKBCYK9s89g6a4XUVpJBUBVAYHjiUFr45CkVvm80G9UIGHHz03RiudMGsBc2AD7I5AU2gEhZTgSA9cTGQWHh9kmm2d0slxfim+rIU1LbkRGTHi899LcN2C5b4NHub8cA1MChBrwKnTIgHR0TKv42MDGynoBanb9xQfKIGKNYqi2DoDzXsR9a1Eucg5yIjERG6hZUEK8VmjiGV74ski3wxpAzccomAPipATlV8QVfT7QrG7kLH2aE98nS8fxFepcVMNjkUQXdELh8hFWX8VNI7DzHC3DacmjMq9kIQYftvQuFFcFjTB9CqtGxKrZn+byGiIXctYxRIMFmc9AiptgrCEq2jZg6mvd8nYX86YDV3gA83Y2Y0JqKDgOafnmj86oE0hknWxZZSXe1BmqPbLSX3etuBLSHjCzPBHIe33YtOQ36X/MzaUz0fdGD2QGPBil6oAI1r+iD0pQ1N5Rp6QEJyD4+bvffuKiTs0ghYhGIVHq0jkakP1wPNYXqQILarX95CkgZMBf7XA7s4D+lp3vF7dODki87jUNg8xouJnwuSvpfYD2IdvRIXhJRtlsmsNxUKouq9+LnFKxy12c2uxWmnlckST6l4lN7ITh5xYRIRlDWjQrwaiT8MxHJYtD04pAa1fnuwDhWSX2Nz2gSCuYrtuXTyGTDPFdx3q7RM47v2C8/0+YMvzRotfwLUT2SbTSczInuO8kdmfasUslEgAnRS5q4LMVEuI6uOrHdx2WhWif+tUzocC7PVkEmRuv/ozdSrfNRYNFDmUo5/l/y87V3S50df3NewZDswg6JV3c5evaS9zYKwLuZR8nqlO3zkHTIcsKcoFsgzTsCoOwoXhjnqRzY6qe3NXjthLptw7/KNgyfpjhEgVyeGLKIchAero5wECp4Kj28qnzaOkTV/cQWcCiY9o0nsFmkrYEhn+ldLdU51UK/FupWg2FHoSnNm5maU0Y3PyRe4C5JcrcJJvaI0PRPZnEcM0Vg2yUC3vtD741qhVzRX016x7OIL6Itrw5HyzPJKq1zlE7UTqaBVtL0e3jFU29i/p64Qd40fU5PhxsSu+qtYb2K6xk2btBdbRL258j9xbG5Icr3iEcq+yGMa68JtZY33Gc5E3ql77GjTsJKQ9QTFjHlBDey720kbtDhYXvC3UwXsLZkPeFDliS4de8fQ2UncB1A07XV48tlQRC/iDPD/idMR9JJF2hzO3PPezlOl2SP34vw6xSvqGZJU2H5JXvmIBDAWf7z2u1IS2tcYsi0duEXqjVy2xoiGoj5kZZjf+TcHxqnPlJ9BLQpP4A1h04A6M7FlbE1tMP4oWxda7hyH+0CfZUW9zyQ4IS/004FxCeUBcJQsXMDN7run445KZwCCOv+RHecjIF/TLUDPRiXeolnoPhW8nYtoyigIM3hdj1YEecxaDR8yYVXtITGjtvzRw1EcdrP1ktRwmOXt4u3gwchPJVs7WosurIZESd1R9K/sTHm9jikY+kzr4kKZuUB90qqkLTz+g3nhO5HPmtLkcU0+VmE+2ND/BoDX+8wKIPYFnMvRnY8Fenz3pzU1uJS2Eu9WPQaBunVXXFYN848MqmaRJBGwguSyuAV/y2EGSqyW2zGjRX2Xeir7JW+k4YKnWvxrO48GJeMPwfEKuUSq0NBoOe1OEfGAi5BSoYf1zf20A3r1PYxfNoxY18Tlins9ISj/CiMh2o0B6q7RENeL4s4rnrtEI+oz6XFnCAmQxwe8oVwNJAMAndQ/mWzTJWhq0DOoNnSUltue3IODzY3y/dLzup4e+3z9yw8TutxSiOKteImJBx7xd8ru5cTlLPTa18t+hbqwS0JyeVz+tdAfh2GThRAcsCmesdZwjlS5pq5omCFMD51ZDm8B4EE8LUhx3NpBx4qs4olBDwj0KdPYfKXvWeCc2gAJv+xpAGBsUCfaxf3TwyitPzSj6pQK4eFvTb7ToEqt1PPibLLQ8W/7OBKxqYYLpzc6MxbIYmtxM4DDhQanxDLGhUl3gHgJ6XptaXp4HAdfBVrOrvp5Ja/CG+7tCCy20q7xipqbsPCY6w8cDVwwtqvPxS0pwf04BUTTCw0+WMWFB/gH9t/FJPSPTQyNQmkRdKUAKdMHfbB0qGEhnpfy4NCDnLDutgAPA9cMAboLYOzNPmWeXbjP6sxaIom+Jv1+FADgCmVQbF/tcGD8NiPWt/gAnHTstpQ8uaEuUoC7YizIYate2WkHbfP0uX+LOSWLc+jwYpqg5kcq6RurBo51DW1xMi3o7S1TzFNF28IGJJl2ypGBu/UPyqkEmoVyKebcjwqx0Zms2dFKhegP+MUWfBlolevr8Qf6Xrzj4AlpFJJU9W5rOJeaDKM114Yyc4pprhJK46Ap9HYBNlDSeIzseDQaZGSPWqQZREYkROrauB6MMWAOmmGubI7BIdNImbFsoVjOLo+rfOsOokXbJxz/xu1R9ly8f7n2B1ASd5WeyoyQzAuPaake8oat7Waw1n1gdnJf5ELHpfKRePuCSuCSNOtR9ZJY9RIo4YU6zfEqhS+eUHk/jU42VKhnZbIDo1Qm1lhwb0XVRPiCf4+UtbuqhEcYk7Z5wLwe0i+cxOKs3j9oZEp4brIdhFe613bTXip1EYUG8Ib7KjAZqBxBOR2BE3019R9fwyjiku1EB7QyKfVfEliVY2fEPvHXXglURTkhbwcYzWtYcm5qZvic32BXe2KAUOJbZnU5LOP2Pm4iMRf76HdIuoL98/gcSmZtORXAousc2PNXtfdB8Orn36ep6/LNUgxvPlDYcpg/bM8KUODzCnLPnPMD3OC/gFGErmBdZut5FIAewtBISfZA/5wlbNYZxpHQli/Nvg5LpJb0XHP7yKF47+St6lUW/SYvVCXeXWFylPMVMghWymZuw8fxq/UTx0ELvlfII77BhCO2QJ2CE/e6c3YR8+cdP79rrg5CEY72o/8gSAt+JXl6+CqFUmiXF+nBXO+ImgUOpg0INY0dmkNL7Ml6YikpRJKMsLS5OoeKTMwCKauyeMAiy5HGbQnY9U05c8GkBsoM11N8GsWbi7pFadrhn86Jgp/LwfGQjy0SYM4Ut4ARU9EUaHRzYiXIHFUSNyPshv4zYgIm4tgIWe74WgRNS8j2T1YUeGyyUeNjgkui1ANxgvlFOctpiN3C8Ej5HbaiZpNOjMMZpDr1Ri+l7hWc8Sv9LIws2iq3sMLnAFjfRxbmcgW/28kHjKDwDZ4pQFZn7DmAXFR4Ewk/HUx83ReUlJD+Ce7GACovG0JEG1VCP+T7uncBQCAxWCJT3cj9TdlmR9Qjekvv+GYFc8uPGFA/Geq9WarjOqIPmQv17XQI4ji/jRTick1waHL2fleSnDIIN1OWmhVEsGM77VNqsET9FJypXb75LJrCOgwNOE3aG/9ZZjwITj0a4WQr3gwSjiADwcI/koE5BMTJwA4/OsGPOTUrK1DlRgUPSE52Skw4xggOh7F0TmwWDm572CRTVx4qZUsstqaOG0dDQ30QGb/8loKgb0iX1gbFYqAK80SXJL94mZT/P3IqLd5us8eYOz20cJYhVtrD93q06Y5JgfxV4ZUeFNnoKz5VKAoPvPjDqGFYxj2aifVkihGkVXxwY+Nm9bxSv4e+ii25Wub7KASCMqM3h2Kx0pNY04C/d7Ye6jQkTmR1U+R9u2eY1jjqKE4BQJQewwEcekMaGv5dsDzNYw3HLu/2vao3s1fqtKKuIO+ZpSN5S01gVn4JN+LvtIuSqeDKy+iLf6GAluCZkxONUT9vK26RUBjfMkHiml99cFBf2EhKwpFmrd53Nb6KPzqQfY8BKneZdwFAeEfKEMoSKQQIwJoTIbbbcnUXSXNhvZrcAUbFLqiDQ/r2juH91cvhR/hqX35MqECVCm6rQtO95B4S6H/eoUY51vjT86fQLyH7mc5+aKX2rbT7rKokrlsWZCzeXrbeAzRvmTqX/kh2UU25xC7rGXf2HfRv4iYOKOFO6BvzCMg3pbUwYFkApMYDfweAOZNYF1g4HkpaMKRNdPSTJMhH75p0pI0IPSdUjLNlNRSfqdV8y3Y2feCjwJh3JRojH52xhF0m+FW3ZT4DdIeDo+1NNKiMHjmSr36nDhhonPMduIAAj3sxMNwzqvGSSdcXEDCkUGPhrk1xSsl3QWpIhyS0OYcK51ubza00CJ7LiXWVBIAFjJrtbKUu+Vkef64qyTNycnlR46vyz63sYcCS8ViFAQVi0VycO4glM1TKyvOQG+frvPJRbPT/g5eJiMfGOa9OBMXYsLThYl1alU9xRVZzmst8yRCrZEY6/XqLufrCVopAm9tSOweOwG8prmYNwnDcPI0Fb2T04fX6vkLHbN+Bkw6KeYySCRuHKhug0RmntmRyxrOnILlh+qnKPHNEXTRkjhN79PRp4W+S4ar0XYswBsLrcxp4nlH4vuXVl1YTwoSTwJoeE+qgKm/v7iPyBPoUsh+Ps5+2mMlQfXgBJILd0//tcYWWnhgEt40+4VSa+k37vnMI0chH4U1tK92s1prQjK6l6lkafrEPqvPZPaJaVDIeoPyL62J2gs/LIA2fnt6uW+qlxZhDTcVAckVZ2O6uUMwSVmqGj//6Pka21b+LOANMsLTMfdMs5m9DCKZfmX95orlpJhPsRu+vodYPmd1ouVX242kB4c8RKKk78FU4OsiI6vJTrztKO/4SezkJGYlYeKnlD+zNKmYh6aYHW4HZEwUDHsWUgip3MzVPRlF/StniTrkWg/4AaWVZnkE4Pff8pNTS61rUBtSIKeUnuvl3HMq4YWzW6C0+EwgWUFXFttK6t4wJ7IC9o3Om/8jviCcvq8QtCrCx/dkczxO2mrhB1nGcgwnC4EMoK5mDQzhboMSt38w4W9Tr6beVMisUS22m0ZgrlU0a64Ke/E27x1TES3txgbGKTLAeJ++00sYS409Bc11Vkrszx3+wHaMkHWG/MtrX778MtardHz/XxDEgDGj8/n07/n8sG8wdQN+HoaCpX3UPZHMb1CGiltJYqBFR5WFKmnLwyb9xIqdNLZP9q7WdaJ4Y7pUt2dAjnjW2vMVo8ZeEcpvr1AYFiMfkmVMbkBexDe/yOBpovr26YEgGZWG+4OBQRohqsaA7Trdo+Xt1YN0fHmKGmiyxn7/qu3ZUy0Rv1qYRPucOcpj3+a1eatma7mbgm0m+2sJmUzrXSEKDYOSBPQULxLr9poqaXSIiHvBtFSPyDhobx7qCb2SCMbqerqqzJHXLADjPVPz8VjGsso/5orWQWQ5Y3VJW3+8nZXcwRHGKjk0WCAwsCdW7HOdTHAm1sbT1v4ZWrL/gj0FLoix2d9wmUejvxlJA0cFUqUf9qO9+Vatxkj+Z0WtoaGMpcRQDrrdgbLQqLQe8tD9nXrgbNJby/hIbJT+8S+TnYR/oBiT0m1xAzR5uVXBaLqWWaXnp9GiZEmf0/CpshM/nqtYIxpPeTDdx9aSJiy+ue9VrirA9oOzjF1lsy6+aqa7hL5iFmrMTMbZSuNHPdJrD0s3w1Xiwy+L2ymgblvEhiVJl99P/UsHkN8tYbfK0C9MitBysOLAeSLa2xMuiyHQJ5OnKjwe8aqwZPC171rBOx+RHkW85EmtC0WB5z611IpEM4VO2ozNEDbZeK8rWA5ZrWMKaTpF2cpdju0cF6Z6NEdSLs3bbIsTzMCiT7jDPc2sxpSeC2Wxg/8Up3mQXCWAdW/IZDwNIwxoLFnFLKztUoFSxtToXdJMKfJSu77OZQXwmNq7Gp0y5bfCN45EhcdlCPvANmvDu9FJ2QTpLE8WBlQFkmLpSApRO5Qc+WpIn8V/ZSHtOLmk7iwD0OKWEW9KnY3RnLGR7g0OiDclrWpcrY9XYrkkj9HWadyLY2B1hmpF+soUDnCQIcNiOYGOx3aWIW6LoUVEVkBXDKsFICtAZ0rnvaK36TDS7++FcMQtswkPtA9HLX8cQO6pNwO9DO4Ygwiz183K4t27vMETXt8IGNuCXjwfnLvSCfKvQtJkS2fe3JzxXMY/vlTTWZH53RelgFp3K1sSxzPsLVa95dzY3c+zzQW9g1coXrg1ne8stjRPcySqxNFVlk1O7ztAS2JPc8O+8WhKscRbTjDndJYTDudJmMUamyzyWA0iYEBfodKkOF2HcliPAEhMRaP6JkZ8M2YCEw0ksBnvP+I28AU7E/uWq9AFXxTANeyYSkOmE9DGlbfYANYLWlAtN92tN7uOSRfliUos3xX5NTynM2zZmgDXAGnNm5prsdq2WWuu326Y96tAWs7kMb6/u+z6FYeFb3mJT4sftorepIsjZUYbvrYpTVIGGDGd/lsMbPmDPfk/4ISpcdHE8NU9fPGHOXEIAUj1cS6cKUicQhrPp8VnBYxeQEwCdBiudJGC9y6S+g+0aeJbYv82idQIbqxV/b7tNDONt8UkSg+2e6SwBGEEmBcdMaHuaQTIa5Xd1qQqzF+3GWxTgSbNfsHPZj4TE5NZUo6TkYr4yJsrdG3p9xtXPR/5xvMH+cuXooz0uSd7jKG5chYGLImWVzXPjsH0L+cjk9wvIGPtU1Mn1KwJIDd8EHeviOj4utXxomulVy8JwhVg8njbbnM5r0TzJnswalRJmQAMiGPTw7WlpvQhrAz6XlINQsHG4+MI3+iwyUyAOILsVzd/KdlkGq4YO/CL6AjpV/jFmEj2YbQaK54Imgymw1T8B7+e6nat61daEFR+GK6MAhbx9JtatMf8OS2PeHFFJUYfLVZWME+kQ5NwHjf6aOANTJn+wnf4fZfRsDFf96PP2QJShmlGMRuSgFQpAwLrfVLplrOsWXevK8N7e09gl2hwuCz5SMZnAV8Qqo0U8AXjoR/clUwHYEWbX2rd7ZID62kzY6J9Tv6ytzVTGV3urEdOx+LE2oz6aVGyEPclLTn8q5ch/GwCF5aGc5+ThFyrxJYD0SzH1WaS+xo3sDPccaFZQ2ycCSuulqdzAAHbaRSOh1640VGOjrTaKf7/ojwkHDQg3Q0nas0OKiHfI71yOrAXCuXI0rpGM4NBUXsIlOvEo0b0jUmp8Jf1FmkEwp9Wh5lI54tsaHIEn5zBqxsWvNcef9+/gp3A1L2tPkV4J9KsmRLEptbfyrDrkyQndtQA7r2ZU8j+okqYBb1TuWEeBn0PnYSjfjJnHz2kRq7Akqu6hTVucb9LX8j836V+/66lARFiCmaA+TJAcsZe1VHR0xueXbAnvHfurv5qn0H3YViAJbxcQ2dVvHbHSZ3ax82yiKDkjCOv7Sbjs+1vj+3KaMntWUQeMfxRIrqH7bUyfIrk6Iqd+tKRNzfnzhVU6HPDFFVXZBA+IBKs8WjEvtTmzIJyvLbUzWnZequF/yvErqBx9sVzNAQPZgsstXeT7W1ENI2w4EFZa9Y0+C2+rA0qDbkR1Q/3LZoAFJL5demA6az4wu+EhMKr9qtA1HmMO19DC689WeS/yfpY8Y3cx6bt2fxc4jtgbV2+MbJBVWD+0/NlBUzGQB+zsWt0SEoa8J7Udio2ubPfFFVhr8pUjjpHhye6TuAdCyvfObMsQ2XV8XE+LiXcW/FQwjS1YpZDdxN+VC3Og8Hx0r6Q2orEwI+lpv+iQjFdMQ6fpgRi0wFf8n0V5XwpSyCxjW2jMmpm6X/vKYN1uUiMbi5FlSW6HDZyJ6KyYkEqMw//hZDVC4vsvRHcqaB3BYSpHWmBY9hapW5bAZWJdp/WbywG4tLlTj1/jo7Rl1fBZC8bFmW4g3akGRmMd9D3uDP9/58JeOzG1lecQV5SCcbiNLmUKVA4BH47evNZi1tXe76Fe9OlkpytCTBj8dQENOnxitAcynlBP3heAOWNp1aYDhUz3BNe401+2FHdlFE8RXV17oSpzdLJwspOhdw7QGRkLVQbS4WH4Ww6cl/OZc0B/BMGWFRMGcIYUxYoB6i99/JjO4+U+LrN8sf3sQw1ITypAHMK+vMFezuKd3veSqLtcSpb0qleHKsqpw5hgmB/aqdhjT5o4aKFr9OhkGeEoyFAek6KagAhPm1vNRA7le6QBapUPbXkEO0Ztyh5hmDQAjiFsfQhUQKZbYSJdd7ZgCviI0eM5DfzrGzQvIIiEoJ0U6izWTe9znUHYDXa7s4Gxo3G8+SWiqbpl63t/exHW2faPf05V1K7ufAocFn2MtCGkVqLkIQgI21XErcMABdHFINbeuYBC93p68T0WOCMPztACHoHAienPullhpkN8CGa1p2C8pLxURjYRCQjl3hsS0+nxuiYSyQYh+AmEnSxltqIXr1BUUucVVpjiLiWh9jhfxZww0Cor/HxD+qN8NWmryw+Nwh4p5UXMInnVLjbxed/eOVup8ne+svNNeydyDolBYc6Cv/IYo0TKk0v8YJmEJUGm9SEwJ4TzUkiMUO0O2NIio5tLdYII6fr/OLAuJ2MRUZakL8g8xa+m+4yHNWOBl5hqJFXgjUK+NC3snewWFbiYg4qf1F1Besv6m2kQdcB3IbxuLpOXpphZx69580sR+MO24Zk5YhWp0Q0ccD1xxPDzFkU4d2kxzEUuDgk+QxV8Sn7W7TU70huAn3yD06WI4TmDRaKkfUXGSu+MGeaDSPu54zTKt3JcJJatZDX0ow/ru3Z7+9jhbnZ6nTzO5oWFQKuOO9t8QBg6hFdOzmqNaJB7SwNFBeXQLlK1ouRu1lqNnQYusZ534l3wdfH5XxnM9x3cf6kO7g5qhpBpzIRgMUGfkN1kgLv6J8lK6MBxtUNVFmgcCjriN7hXWvkDV1hHn/fJ+CMN4EqDr/BjTdv3Lm30h5abCBi32zx8FBXmQ6PbOxdFRlThz1yXTjWOB8YCpwpWBoa4o9OE9pw9BnDeWw5wUA6794rpn66zzLToMemT2OswF3xQ7Vt7fU+uXeqOOB5F3VJKbfNCZY9GEbyq6MBZ7OisREUZONO2If/kwComHoWKet3ZncFQ1HBdj07d/O4Tie69tM35o7XWV/GZu11F36q968QOje1zo/dVu3YCpOw4Yu10r3B14ST8sh/k/0ulopxs9XSeJo5e7BpX43Y4KdNOIOGh2sci4oyXDdbyB69kZYS9dQ2+xBFAhsRbm89x+JZWzgMWZmhcSdYB8n33rC1aJ7vrrxTEdIDiTFoJ+APOMlKOB8yo8M6YPJ2HNWhr/C9lB1ztCvOE8gLaNxbXfvoLHl2QHyGPe2hHFVM9IsxXTyzQADXbkiDqDXX4H4eOUBM0SriZOqRnVqXKb4dZnSjjsEQrZGG0Q/UKwAJNuklNwWGnb61fmCgUnTqrbVbt0zJRtVW4p74lLIVwr4bZQvM4rYGMCmdZmr72Lyw2/jAljhN54qxmGeCahWCBbr1HC0SBSpFn4I6cRgLPc4/4X+KXwQLPFqp595qpRu0+6wHXtUMn6bS7z1L1hP1ein7wUkh3mYprnzMsTUEMVtvaFYlSnZioFoL1zMKA9kWndneG4+wJgFKET3C5ZelOQ/AOcYPA4Z5eGLn8vX6gWc02DVZNxJe/sfBL42nSRzI4CgtQWqDBxM6Q0mA6ohuhzc3/wE68UO9RftsupQlENNmsNLRSSjxeeY4ndnxTX7FmHwbo1rmkqh3nMu0rwuXwR4wfGfF7NWR4F38AIdUlgt3Me9TLj0Goobs2qZ7lkUZCgjl2y/TDGUh0tPkBL77B+8nDTy+YoqCq7xWOV8bxCa5cEpApKc4QR1cBTmMWHBcOT5UDPLgR25romZVYTSztvYVilzlC6Xbjrrt5jzSN9/VdOkcET4SIwnW2GBjE6s5QV9vPO947jHL35F2+Ouyc0HTD4jyicj+NXFfCKKqXeOUxvZGVMgqGuPBajZgAuuK0Fuhuv/COt0mY6dYWFw9gYjmXBr6QI9TM="/>
  <p:tag name="MEKKOXMLTAGS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ubs11WMMKQMWY5b07L3krsaT20JD06MnQKD5tJA2hZ0y8eNH59O5xkHMShUFTOWejkJCOFNDkvRytWtY2nQeADv7rwmjhj5ayLJuAooP8wh63e/+Ob/mZD0GMiYMptkIigIqopSHb0pUs4CZ3iYOSUXyy4sS2s3xtMLCVfzg40h9te3aCwO210HOdgfHjfMiPS2HXAHB339s5HtFhRibZ0L6I08R9RUmej0qidqbosD00/e+1R8ysNxeuT0vnMU+U/rDYPq0qH+1bezCcUhrSIZXsDP3N6x6mFXP1Uzxlzj/AcqkBSuxHpMVsYUwIukUc0J9nPKjxv6nQ0RPCReCVXbu6cxqj8wbUTRgiaJ+mE2EEkXHwE0QSQ9mVuRMRtDd13VZSVBYls9YG0doSi2W6QTd3hBx1fd80lbQUaoQ4OT0eHF+yc6QIK4iStXlyKAUNDUHlqftgOCxYrzjg8JCqbLEYGfZIS4GERHU20NAuK+DvKH0KvzrMIWInipNArJFzwseLHP67aBfvX6e6Bef5AonrKsNGIh1zyXguE2tG2DQyxxI024O9i6QwZJIADPR5aGLqLRQTwJeKN0IxQyKQDdL181vxuNRgNOv10xwrfdSC//Jle8BOn1d2pPUP6nTROtfNCmI8rx/HtW0YgquNzONGt1XQ2R5iUqTtM/rJs21/2tUgxphlqA17DNsgz2gsNdK3pYxulOCeRVxCRg8lmHehjINbWdN9YJKqfG0VJPJa5r7RYq1RW4MuKeEbtkHaQpL6NU88Q2Pv3dN8onPEKDY6Ipg3WAIefx4oOCjbxO7CQ5pT1OtTMU6IX2JOiP3SvsmmSz+kAThNJKuml1WvL3kUApcvy5c8H1pek/hLCFXqN/lOyZpn5vJA14uIx7K2RlaY7/PuRkQ2Zcq/kHMl+l0ElO5XCbUHw/FGEpORnnmL0q0bocVlhWSg3nkDPDVPH712OruiJRtZv8JHYO/m3gl+5g2cfKlqzlQ0tHOaX5lfVeudSftEfR6uDeHfq1poeb+qXrpfksc4sfoMGDvTkger0ioBxJL1MoWVddp5K2X6DWW0tuEXQHblr+4fO+JtlCE/wXTiy1mXrZXOYYWSBbQdBP730bbA3VSnx0VbESfiCke/Hi+RSK6u9T/ssnjpz81EQyenkrEIimO8ByYuuAANRB/+0Lo76glM0gz21iX05fLIKsZwsQMNADp7SPLjseY6hwW01Of/A05CYpONfn/djlUNzpEFoCFpypwTEAk9nJE72tdv16uRWvS8fqLrsKFYc993FREH2Wd0b8Yha5zKtavC8gFveUPNhEWwgjyOKsKPPEMt91kUiU06pBs0SxkU/i6821mbxNw78qB05pbgB/JKp11BplncmhUViTfhwc6+jiNZT3gJ2UPe/YQ9WMV8/BVZiKRJrd9jPb+OuPON+a79SyhiaowtjWcqANAeyl5wyTrZY7GLBO4FBKn7AX6IlSYAMraGWtf8HgkEfJzl1/bjlXPLZcltG/iMkj+wnpwUzZik40H6VkeJG4MGdoCuKuNnNsTQExuNVQq3efx/bP70ixikqlmKq1+T+LldFs0urQyC3KN8witv/AJvai+wnh+FglUXKNtmkixNyu7GKd7P29Ucfp24bgdWfKojojvhPBkSn38VhDTtgkBSAkRfEn2gHMa+WJvDCPatxU4w5UtgShnaFNaxfzGyigTYikGigvrnsDnllZwqlZHfWrTVdv0cPvHwA5kEqyJiIJq7Nv//SIybBcw5eH7kBLG6/10BBbCMvB15zlJYQdt9U2anuBB/+mtr7PlqNbm3OK5ugtD1ZFMoN8XFJMzhBTdWVkumD96CN4QoUNxouHJJC8lE3L0kL56WB3Fr7Lv9lQfNlEw9Zq1a7zi2yTotq80a/hxrafNB00NBoJFT5HSnS1Jr22FIEQWD+M15Z2oOTY2jK4TZtkkPjlLBIg9ftWxXUa5Z4fXAPiAinxBW41RA1EbhOXzJI191DgM+DraHTxtcyPBKpzjgF9NhLsdwD5AEKt6ihtMEPeBdnlqK8hvyqPakjxPqSaqZI4bzCtlUAaCOxHrSTExtrVlEn6xshjOQh7iR6kz+UpOQsgeEnH+n0iXIjD2YKE//F0DUj3yaieaRSdAPSFCtZTP+rc22xjF1yNSQby087qVhjWuYYyOwSrUju067FnwYI7ng4dh4yjJadc6fXA5Ebb9jcjOStA40SESPTWoFcqnNq+LKw0/GHtE9glwvleU5SWJvWAV58dV5IR8dt8eDSs7wyP1bJnNtl7QXItb0IRn0RxaQTzIIzzLBneTPDlgTaA6cT4nDLshWTUeKOWWsS3oLlNDLrLpz1HG8W2XcZFT6qBV/PNlrcAS1tsQyZxbc3J0Tqt6Tqg9vQGzsrdJ7H9My5q+hZOXZmxCyPIDh1A6kk4gggcmkQzR8LQ/6oW4NJ8XJ7B9NpmlD6nUBGoqU5AyFW/XyB93CjBUI09VslAdImJcwQB9sqqhgHXfqn1n0FcwzsEs8uG44KGND/P85U1qec2VCMLG13/lI6+96smJ8m8r2FiCtAmr6cq9xAI2QkXmkX2pjHl+IJhGLDAV9bnMxaGOFLfnq+OG7sh56nnNCbZSu0ibYlV+fjl1IMB2W02a8jCQ2UT7L8Np3zZkKvaybpIfdTXLPK18EQIet5I5FqFgG2j8B67FeBFRcM5cTDYxnfY3f6uHOIOeAiOJJjUwz2P2ibitxXSllKM6VoFXaAU2SHw2STwbe3MzHS/cafmqZFTylEWhHML49qPE6+31/8OEcaZzBK87VA19JNBmWfjBI/Td44ZuUsvvrcwPKXaH3hzPPB1GO9ltWCjl9o+dqhx2qjy0V0EOlp5PZUp/sX2smFebW9ByB1Ayx+wEMhcyBRsm3758EF8gezCfIr0bW+BhIccF35WgaOsLgvI3sDMeTcFmrxzW6vuQADtNXKJlCeM1Ptm+q2H4YbgnyoFnaYLlfEL2xvSgQjJXmi2q580veFEhjoq/5vTIvKdn+qSM+U6krbywd/in8sb5EzfTJJRM6gTfRk5Iu1cpvB59vf3T5VRd0SgjXLK9rkBae64ldw0xfUC/5qkkrHlGI7OntoVPZrWX/8cA0cY2PD/1qu4MP+maZpphv/tbA+hILwL79Af5ZoXOgEngNk12FEYMw9MxhUZSL80i1SXSEkVnpR4zAM5auUbeJ85qv20fbBftbYDv5oeqYGnAPBSDxjUJxOKx3JsTDuayrrWIebqwUhx2lOS+/vGkJ3HMgBxC/kMsQRKOqactYT12/9Uww+EK8QjeucSe+cXZ0gJ8k92k7lU/5zsHCOzgMDgHY4c075UXlmL9ODk+B6WywYrhZ3rxPW7IhW8ThzA6jOIldEU/jY0KoaEZSvcZnw+TuhyRgErwwPDsq3CPC4i6srD7XtRinZS4nbBgAEPCOHEWMUDcEammO1eZVgJ8LGrXWO14F1M2LzPfR+p12b2MWsO3WTgDU/JhZC5qadLSaKlcopMZtNE+YLC+Y5v/AzBIIN34wmizr2KR3LnnwZU1jArTESjI4f6CGT4nREuiobtzKWL55NlxjQfFQ7GkThFFwg6gNOjg8QNsAgVUUDDNdkk0vsONfohU/nCumRv4zW4SaZaMCzdcQXZy03komF2/G4D/VnVRV5ioZhBcVMOCZYQEKj5QgSrcSm91xeBVtjTBM5Uzr1WhmFciLIt9+wKkJ0NPnjqs1JXF6wIXgzJgVyqK3BPAFWNApcI6v0XJ78g9AeaQUr67EK2YzB8hMhS9n2kd9MEEC7S+n4iXqQ6ifzpCx745x08sfawfSK/a/q2pzl12DLuDZNIoubV+vfMY4JI5xgJsR4sFiM2nYQ7TLNKAMoOm98WvkAalJdj1EMgHNqh6uqd8D85qDMvpKBk7IpuFR+G147aiHrqNq1SKQT+4+NqWvvRZpg2c7y8V43X3OYD4WUhWDTBmpuXJEw+xRogqBp9LSpt8+vwdEb44j5tsK47VUZmPUCoaMthhm/cdxabXwUOBSwVgEaXSW5BXWsFwgYTOKu879NUbO6Uc6tibW6TLCnKcG4l8laBDKaZgeAoH+BO4+YwRGicNx8+N8px3eL2UTGqKCB9AdBYoToo56fgp/wIOB89qwqpc3LlLiYhSh/ARTrBQEuz6GffQKmHm7D4YeupfRDMbdu0jxnfJETRVdWoJvJCmpF30mjWQuc//tm/g3BhUt8vfqURZggbk8v2GEDqFoLBuJW3Nl7/iOn9W/iq0y6tSOgVOuUrraQUU5Zk4oAgFL8jqKV03d8143+Ebit7Ej/z6CtWPITBjF6uOb8ezBGyobOQnzdnrzqe7mL/DSRhkq9eGl5w4pRJuVir0oa5yVyKBsEwa5g50QEftyiIs4bFhlmtzFvPGYOSkjr4YQyqBz60T/RYBMDGqH6giF1Fykvljsl8gjDqqpumaayEO5bmBJEkvMEgKtIjflW72V7SDl1PDqzpz0rJgX2pOEsbS5aE2OIi4vIDzq92K4kbTpcSnHOwuOArWRceFjOU3iiICu44O+coWmwiRiIpJ6EhFaA94BNWzdnbXEOqlxV019hoRm8sKZyNrLYJcbINQg8zs7+ccq4CWexG9PehnJHunjovyYpqhkito+WjS8Oc2Udts6Tt3gYbKRW5IXUXHnpLub/ZoLOxHsFA1ERvTmf9ADgwGRbOGknMJlXvcUcp+obt5lqewHjFcFL3Xop+2KkiJrpQyzeVzGFlifxsDnFvSaSECo+RLQNLdl/eLaaxnU5j5H49fMShG4PrXa4YKJwaYZjHG2Zwb5XmRNd5jQZuEf+9uRE8tnpxNLoIItOp/evUwVf8Eaq+EMw5/Fq8C/EodXaN9Crwv+y45w8tQSRR1dG05Zol4IGfrALfMgJAFv+Aqt7orTwfRI9MJfYUyFdVw7pUsqm/WiIM9/xX3Sf19GhsO2okv4uUJDudb0SMyS0oMRmsWVNwCVoOBmKN5/4ihI9Kuu/6wrzKgLONj4imShW7glNNm7SILzlUT3tlM+jFWN9eq33UPv3CvJGYgHkuXosz91EbbEMx1YlY+OVTdNkQMd7n2wqwXonP8/vgu4o0xgX6Qh+Ls4WZQjRPC8VjDnakzvBhZ4Y7Es6i6raNyRhTkEOHteD+B7xlEC0+irsoUL2pd1LYpfLkZhUw9EvTWNe5a1WuH5vJEHKIDZS9Tb1fz6DYHZccvdlLEaBAmEOBCLpTxyRTXeo5jORH/5CElDeobDF8yzsb+Mv22Qhz7RAMYViPUjhGRLvwG/juSbczCZYYZtUeNPzvM2u8s8hgTg/ju1RYgTCe64fjSo+C+FyYyGrrqlwLiPAnNaRenhdDi3NA+T0Lzc56YseLaptPwikJZURIZq6HPl1OUwbeawYcPve+o1RkT4/qih8h4QGZWl8/tRt/9uvMvcqIzORm9JUewO6gYYFHeHVpvZpKT6xO6uVo/8k8Ipjd3fVDS2TnBHcDT+Zt/seDbJWy15KT5WZdDRixGY+xuW5Mr0rOBoVtNx3qHbNkOTFvm3g61wUls8A3OkTS/JYJBdxqcv4nqni0p8RdR0crJjLBJUPWHFbABMd0d/yR0Skc+1hFQMAbw4DoSzElHSVroxOnzghZQiADdmmsjyjc8PHA3KZgm/U3pj3SvoFI1Sh6JG2ZD1bmQC07rwsxDObRM6VoxhdnlZZ6E8NrbDv3JNIkU98I3YvTLT9kiaeJ/VlTTFktR2PtlU8Q2dIOulZw3OtuccAT2wUr0Kb3lTn7Op9x/zlHIeSmbdhylkuKfx75xQvPmBbp2f98mLjPW/D6MyKYiMy8bF6itTS2+CrcORUPDvsF9JUpFLg2L35dCInxRd/xZC/OO8BJUjYa/XsQHN+iHDMZ+pBW8Ri1QhI3Kk1zk/E51YrbG9bolSrhHZuByOaqwM2FTt7Akc8pofOfK8BUTyjf9X1CN6LiR3cB82g+ZMnI3XpUJPP4tOwsZGMArQnKDcg8cIxv1NjIaQGQ+GTOK4ijmGV7FGinXIP8LIIKv8ey8rGwbfJol9R1EYS1SSkXirQDFrFbAUZr4K0MvVs2WxkbldzsGh5wIRVpfXZaRW/ut3vsGu1pghpAblw3vE4utnoNvFBZHgpfhi57t3EIJnl08YZBRNHBZN79nIaPtv44F7nStEIxC+LQ8ea2d8NsAIdI4aWzRCVpZ2UGd8UasgyK8PQmMZyTkHZpjRa3n6pidKNJX2l78NK5RTlXOlUvUaE1JfCUMNuqsXMuV4laG/Y4SrJBQJIBBJFuAFgEG7MKX2TIkh9O2RPDxgkT/w57S7npYeqoR5Tc8eBFyLXRGljS8ICVIS6HQIGO0qrA6W+KJCb4sh3Xe7CQnY7burbY7M+u2+wDbDWGm6+dF49FMGpvxQyBjdbbrg2w67Abp1gPjim3unV+BTE4ukajROIOurLoeD9dasDPvPhnUAAl86dm3T1RCle4HPIfUqnez15TGSD422jCq3s2FFcm6iMxFnrCryMftNFDGQACkm4HzcY31tXjmSCuccbY/7a94I9tFaW7tKPVBLROXiPCqLnPl7dJ6F7pXuCAvjr9MM6eMk0QNXis0HVWYJFACJGIID89r7ZSaRLSs6nBzdlkov69klFHCx60KdRwoDucdQFi7OCd4+27fwLEbW7h6iXEZA3r+lY/DBS6iK43zedBDh2/9bG/6Pami/t3FCSUvk54psxBWB0dBvElqkasonu75KIoqxpM3gofj5USfzJTMIV6xfQ+YmpyTUSKeQsv7/GIb0kD4nF42iiYydvOeFCngxa46kmwBw6k4vGE60DMrSGjmrtthHkfQIyTu1NWWg2m23hyGiSY4GoJN/+x1QbP6sURpqvXH4Si7JautVC5PCmHL/oYf0SExdqORGgUrSEh7ayS/NtVFpyRiDjr2Tr0OlRR3Ohv48AzBExogOmC8xpPw2D42/nuLaMtcUkeSoNldbHhT9G4D03IOruWBqv8/isy9ayPaFMmwjFpOZrXtU6ul+5Rpv+WYvRYr/AHtrXcprJV9djgMNK13xnAchpCVisu9l7TTKWg15bAfsqn5MdZIdbkWYPw3890CF6P4I7Lnc7xBKTT6zlkcTMeh6TAfuvaEU0lw4HsVS3DMuzAqlhuIZIqJ+j9L52H6DPP+gbwREecgLXu48zvU3hJShmNGg46g1MExfilCqvMuDV+AvkDbgM4H2bLzEUxVGkjh8eI2Id7lB/IKdObDqkXpL+euNcx8q40QUu/QzVQLt99bFk30hJFKWKuATVkZzBcHEpZtlp7GD+9/vSlJjc3ITLg5zbnmvMTOgeJZvryYejY0O28YM9TzvGpr/mJAs23+MDGCCRxPDtTOQZl0QnM/fkUlQouZwuVLI/hKJkXz5sFRekpZCb2Ex1KBWJHWBHRe7NixTK9Wivh1E5i5qAs1+8BRv224CQxbdsxzGFHSTHYUEiQCD1HiRHSnoGia0A8iaBVV6/OjTqK+X4sZUTEzU7eFG8L2chJJ0NvCZd7VubNktvLwm7E+j06MKk82mONwIGCwSLmDz76l9RrGHnpd6lL1PXzx3ktmFSMydJOAmQtDaBnqXxWeTwlcihsI8qVUjd7lrU9l3l19ruVJqLKSOxflOXvvPGo0qiZpXg0NpjVs8RKNqbrdlrb1+wZN9gp2zxqoFgNYS3+dcUPgAQBrSy2leKAsJwsy6TBS1l2jVDMVI8RIao+nZ9h1RwzJxIB1OYkNThItWktMeol7ynueTzlLKOsbgx6ETgMjhQhSH2KJoGvYFwvjknlOa05o56TXs9zPzcjfiDzXLbzMhGZWyAGatHBdAm93t15dSz7Y4tOH2T1OBhor/dWBSETg+xDzgqc7GGaXFJNoXfxws0bzUfdxsgt7T0OBjoOYGiyQN+CwCuz3Prb1IkiRCDPiAGeRwExZ332jAkVKM5QIsFgZMhHOUqwx7glN8ysJeBZmeYAUoVyU2bqHRHt8ujk3wht6NMiJEktRrVFdFhYxMeBnmuP0MI2V2fXQ8DfipnmC3ngIK3cGZmpPaHzCOb2zcMHHXzYQEMslhUi5Lxm9NxMrR4GJjrg9gnpuN4vlHvvFZqq5bAs7AuoeBBtJps9D9OOP1rVKS0ROFWVyd+9nXu+mt4o2xmysGBvjcpz2r1iIs7cFVrlIlWLmF0vRgT6ssFk+o3ekQ0TJIubrQPxRrNpQyrwv2gCPRg2cz5NYN52ULOySaYmnIKLfpzW5cE6wAPGhz2tmyj8ZUgZaM3I3c4J0BPGZ6uYdFs/w4+XKI1l/yx2WHXh1tfC/r8tJv4EMBPzlmJrWkdl6JONre3TKd1BshSAIj13TzPG1gJpzK8TgN+6gAXwYqdY17bZwHNx3Z5CstvgELPQZfB5a4rv2oifEQCPWoHEi6irHhItHbvcEBmPot87Z6QDu+wKbhlbSm0fA9c+2r5SPSNRh+xg3pv1540VhnX7kZ0RMrV0WSy88sz/qbSPoU25TOyLFwXSFozHyK9MDcHCBnPDpiieDsQDCBV3ckSWYX4aqU+0ETqs0KE1Z99oq7x2wodFICk2WNPSIKAazasTIM88mo1DtQltuhcgKvnqyK2iMBzZbhw9qzgtlu4nQCJ0Rxv5GcYM9x72wcD0TWJnTATRybnpKk020XuhLpokiQZeUBIuGuGCF1yprGXhlC7Z4gAtutu1BSH5181qq6gXQsDyE3BQZr8XDL+u/ZVvH+62Vc2Bl9uegtqqa0/h9U3XO6Bb4BAo2AU4ul1SwMrL3FbrZwRgypsyCN+Yrjj+dvUH/OMkzhfgJxgPmKQnu2U2g4UUIE2+e3ccoMYaqTzPuGYNRDnXloTzvp+gD8NKl60GCAzMWVKfVcQvLXSiseyhHGjDf9KUoQxk37URSaPMXaCTzsvB1yF3IRERdd9dugdN539qZqP//Fyyhj/fGTJZ/BaEASTm0EoR1Ic9AQDYgeJkni1qRwRHZq8xqEk5k/dwOvgYBu1orZIy80rqaIbds2ZMQVRII6dGWNfgBGVAUVOsIEDB3Gzy003kcW+DTnDDskONSPbaZFfXx3zKOWZnp3Ll+BhSB4u/iw0pySJVBn5UNS3DzSrNAQz6PApWNxZd8YVsKUDRKji6s7skeIFOroUvislR/VwgSMB2pXZjFMjpYVBE8Wpdo6IWIqiKdtqN7Bn11nmlunc9ign0ZQ4cPnRaZQq0lXQo9ECb9f7X9xgDuIcqRzX3cHa0qsorZLbncm3iu6utIqMRxpcCLdBxYdANaB5hKr+c+gC9lxmxnaEdmcfWNXbBTLZPx6/omG4OZ0yC2m0j+GbYgQ7KLeDGyoR/chFBs373KjILoX0AXoOIVOr7C4iQRCjhj74zfqPheyKP76Hp/uqRlFkO42+fYfvzrrLdWer42WF/v2UFHgxOZRX5ERYkJy1xCABkhiEIi739Sp/g8INZWaGcS0m1yxwFgNDPVGEUDzpXEJbkjhh8SRrHT+BDpEbffdz24mxD9pfcAp4eB2HK/FBmlEisbYQQfnIWl1TNd91WhjmABPDP2Og4DDTYDM6JA/hWoBiQRsVq3e18RN+WoswEk/a70AU3d3VFb/wfrjDDC3p+DKYyISQQdv5qHmRkSc3LwCadhJgG5Qu72WSrrKOoRgaouHzhC65wXSpAStlWZvdk3AdS/ZUAl7iGsUFQyV5T2x0Ym9xNLNzAGzIXkSg0tl9r8G4xtm2voioo/M9V5cOeoTDfKLENFyGoNTaFO/M94NZtJ8lUyA8Y5JIofowphSBqaS5PogfBqmCleIkLQCWzSjgm8/AyfDx/pTYekOfafe1MAEtjURSQkz0cwhNNIChuiOBqidIuFBLzheNaBLMdIDslvGw3IewyKSim2qIAEYFXdj2Gfp+UnJymej3PWPSchh7P3SJsJtYWdRM21O5TyaL103QlViGX6FlHtDVDk9BY1qSuSqhAEU4ZjK6sidk5BtZiGIJMJhscwsN1dDpZl+QmKGCIqA8amGN9RfEfZeS83vPUUkeX/65qMmobfHEznKIVO+C1YCvcvujP2s87LYEtYteHZm9JAr4RjElxTdqpVAUQrCZCsScIE94n6RRYbr4zwl7v07N9TIo4OzETzAqcaWr6g3MKRB4sdaOGHR4p4xzu0ubs9CgcNsFGa86PaPoLVT4R6N0PRld4jOqpfLeO5XjbKnssoV4fVtykkbb+iDnHGbzdPEGZgaUvGn32uXDmbHPnW+I0IWAH0CDxHogYSA8ZNuyVnJJwCo+A06GvfGDM0a4aPwo9CN4Kc8l21R9PXbGmdVpEXvu6E90RkZbRHyn6a6fiS5jh+xs7hdZTz92GdgCaJLDlFG2JWlbgja8fLP6ssA3c/PoYVPITBzTqiItoen/wkK2JsiAfscFOFuDVkUq3M92hrn2vH95o8c7Pl4rcn3xH8xeRb4Cj+WT3PPWskHZ0IubrV2shSLrVu9gs0Rv3hFpyGia/ABv+6yGFvm7yIuqgZl63kbk5KGJ6KgNbjmoq6mYEgAkl5+00NZ/brP7kZB0SpXzVFTNNCM17HvjBAk3hnpogJQIi/SYeTEVBKtiGL9aM7dJgJknYmuBZ0pzVjiJzfy1GCJqlPlaO8FtV9lLQ0TxLZIKOxgQ/DtLYWAyt74dZUxwQRLuaIgFit8JYuYlBqN0WLo+T0Z+GF+K+2tMA29qDVa/SOPJWZjbwmwT+s4djXuXZuXbJlViv5be8loDJXio8UpxzivVrcXsS+TZUhAsBVXNhNGaKeEjDl+1d6YpexHNRNQlpSv+xyzX1c1hX8fzaeZcLdDU5bNZv5IK7dzJy/hUMQ3vQCQNLlKRJX5CswJTY6YSTHSaV7/4KmUswcV32SLziidvxncj6iRXC/AvzLPjGfwBWVUZhuloJz86Oe05HJcstH7m4Gljhx/d7TNeR5rurqNbXg+hwITETfFWo/dcidLpfEzi+tGKwl1BlZY55/wALaH1cjS82xr+1kmb79U9ldNH9idXAMRu8hfVm2aXrYwJMC3qklRyZNL1+0mo3lWqPIKc+0ahaJtLl1uEvXoALZ+PMZk5b9rcpCkqiPyBTqV9+aoma6cFvXvB1yGYgAUOdmTor8GE50GLEoC/CQO5+q5hTso8lN4nqn1nfH4QnVgHBNJbrI42D0QLGKXNzw6t69Hv8/KeV+pZeLNpG76QzFH5X2RceRyxZaF0nsNbR2L3JckLIq6x2UF6b+oM9O/yfsrOgtLB+7Wost8qdIjTdsID9ARLdYPV8VaOxtfk41oKgO4/XddKs8oFI2aJRxD/AmG3DvC5WvMe5kVDyC2qPim+YMIfZp/W5PV4Zefsg79r1g2nbfVMhBn7KlK+1mlxHD9q8n9uzFeI37f7fgDPXtj+ZPLDf0bLZeVKyQnQn383/hFsG76qm9HfDbCHugATKj/tM3J2SAFIXlojkr/LkBhXZKRoqVOjRkt5DJb9QRBK80bJFbLUzbT3/5jfe5KBpubPkI5f34G6fi7a8vfG964QhoGt/j9iI2e44/NR2+jF4Xvv/WdLn1syXlHk2OVpxXmfvuKj4E5vfKab78+mAwWS/R7nK7wCrCbXoQUeplOOv5rEQ52VgMkg52dvIaW4HxiRbk1m9ZlUe20AnXgu5YNwVz/8Y1/BNNUCL9r1TMGXrLSe0DbMzniZYP3IBYyizpLyV14UZ8aAAfh+SgRRgCNNWI+/c595DvZ8AT2aZQ51RQ1XnUckE5YNR13sJ64TMWIhYgjEbYCjiS7YUpw3RgSPTozgJPT9c8Kt+ysU+kLYvz8oUKB+GutJ71bDFCgSEIwwrtJIbl1bKLubDp6O+SAntA6Hag78b8jPuOeBJZpjdaALrOPdpBdMAmkbBwjDYCYEEwqKefa7fC3sR7Vy3MTuPNcYofTJAqiSfwgPqaggGNbITo/riyXGEDOruHuYgcP0k+IKFkd/k6OQc+rR2nn2lOLNjcAA5kailHdYTo6NomUzx7roUbrh8lnT4FgC4RIKirl229T5hBIvlrf/3PI/DQYTCiIfrfKq0RtiECuDXYHpAVkQVjYHT97FtP52eTpNW6sLimY+IfHB0Bg97tZprjsKOd8PidaMiZJTqSrrTcK4O2zBcUOapFQeOUmKR1U9DCutyeGp4v5BBxgvUehpr+27oZZV55yG+zEe0w3NaUeGf1UfPy2jZeiM5W8yJMr2bnisl3yuPCeVgUWa3y7AtLBfE2qAzo52AK6fYZHewOph5GqjrRhqXbe9TMYngTaNk9vx5RHryqS7w7McByjf3gIG9RJTheuJHNx+zZshmUbLFdgdHp5ceDMtinGBhF67DoIa3K9NlIyHSj0ZJkkNtAsGYdE1wf/S2afSNKXSB2NI3dDMls3AEQlFFUHT0eAeUvnnWxk1Ww2W+YVKP9uo1MHt91JWbHyFFjvxV1zqK4dzPwFS29qybzsVfPkfBdL+L3CqS3d85BK9mHy0IkMgtK3Wz9gco8HksVg7PtJA+6j7MPGKb/Bp5eY2674La0sZQroJ6dsp7M87lNwqw/jXFiqzaTg6+9R4kK+Inamu4i2FxL0hYPD1cZoK0NNnCnRikZIeZkmh3PoqQiX1PNrva5XU+IPBbfDfL1it6gRNSRTGD3LpbcXvmkBhBj9pAX1kMrOeCRFjWghL28QCtK21DguobUCHmJxUsElkCiZa7gPuV1FBfOCcyGO8yvAD8FfJP7g9cD1oWz9ccP7JLUVnchBjHNXhYolLWePb5c46cPMhvDvbJa3ea4m6p+NbQV0x93zLcTsWk+rxqSdNmZJQJ6Odb+oQBJ1m3EebmlDjrS70dFi3iJdsoyL/TsKntz4VIxVvEkHkh/2BUDTvIUTnXrXBZ7UaY2/MV+kTtvysJE1lPZoYX/kE0hddrtQmrx/PJkt/AJOQznsGXP/MtWJKr9VIDhRbtJ0xJNCvmD3PigYaCPFaauuQuGn2g8h/7c2kRwkWReWzWYKP0a735XcVoqEt0LtL/947B/pSPNsb5mTv/aXf+UBowpjR6OSV7ugxj1LNW6mkavMJWrgKdjiJ1KTjxmaIGQ6ZBiei9v6iOF4SpRH+4m2Nykn/b/YxbUrCZgxYrOGy2iMnbcPTejhSSEXtrXOfVRuhh4QzdXy6Yc7zf5hcZdQl9TXON7ILJOy7sCZbw0WoeI8oU5zD1Z8QzpFHyNOob4/vOK7au/PHTkhvYSK+C1T9G0dF9fjjRATYijj0FvUbaAZi3pijd/sCgCkQNeMUPKiyHEr2CFtXGCRpzQYgmItdDEg7u4PtkeskEhEppKxmTucfyQkNtE5ub+RDaa+zpcg8kIoQU37vBr56/3j2xXIvVakXkRmGQ0S8Jglu4AmzmO3iAuUYkW3TVt1q3Va3WzPZI0ELmwhL6k4rjq23G6Heb4GqYD0tHZCam2QvcjyNnG2YnIdS2OBtjTAG2Pmr+n1DQ21MX31WpI24iGDrN/a0xTXH7QZtgmJf2p3rSVNUyFg1GEi3fahINtM35MMJa5WOzzgsAT2L7XUF9UwaZsOsqi6wKPJbIjWzGc8ENQHY4kHZ3x9rFBwYW5OH9NnNyL7jBzr9h9ybet9oIdAkzdLOOn95vgxp54NHYthZJosPy5luZLXsQ+SRKxyKcR0+ECMFZgvnVuUvGIdieF7zkY5cD3W48BRN/u6FeanvQSccIayqivHP6fe6HJM5eSmwL3uAdqioW6ah8Elaq/vx23+Dj67E0A0zcuiDW3sC8G7mV85F5xtsG9UydUKdSB0WWRlHXYFApzQQeUapfoOFUIKp9MTb8oANgHGfM+GMeQyp4atsGHw+OSiARLk8vobmsWdk64NiOfj+V8de8iyczZlMh/c4/WlHsAu15fuLhqIaLhd8N7tC33rcDSjQKQlD9wD1lS3vZT9UbQZQZ3ArKyVwUn1lNVN8qGmd/kWfHEv9gsK0Om3ynpPaJUXtFevecw2BWiNECJC6e2+RZlcfoSEauUTL00ecPFYlyCjChYP4D0/dhCsRDuuzlcXB3DTbeF5y3Z/TzHqL28nYn92PJD5tQ+NWAtSmuPFNOJk4hojQpEPSHgEhQRliLmoDN9cYGmYyQuPh/SoFdnMWPiFep3A74vatIRej8Fh3nqp5sWZ1NVup5zJnqprN1rLaYeVoFxZKIchKV5894DcfTwLwH5y5G009GRjQ4yVHX/ZmbHe4ay48egpbuC8KRGamO9gtTEoZypPPmnfyrDpQJnNV1IAsyQCzSrzg+6eKTSwoltTUCwb8DJyN1qXX9sm/PfMOFNCQtPYENr/CKJBwiqkIK397JFWkYv+mU8A05oY9wwh7RTwKJBibb27F0hE0XT6rPzFeFvNYWzciSWRoaaWb36+fmXZ0JUOBPmaplA0ROFyVyhnzjKs72NAr+a6ZH0lciOGXm8rN3HtVzI8+dT37vZHUVX7LYV1WLkgB1wPfkCmwBe1CkRR1M8fk4M87f6/ulHeSaVXfU+UpmIItRYOAHbXusvlIStcYmAWshWfp8OfYW61xBE73eWyys5zqhvoHBcOGtlPDOLr/9L+ZRzRJbMFc1zeZX2k6ffKKHT39aUsxCy0oi7kPrxUxnXmpafIFkWuCmR0Y0Jnt8bRGWRwmn7uDm7EBUSdfYvx0nV2xJcEJ0SM/kJts8fyhj97/68jbOfe9dtpEWoMqQwqsy8G0RElsJ6Mtm9mDTcY2lNUHQtvoGtWn+JCPSm/1LNjneWzWmud2Yo+6MzMSsdlzf1EJG4wr+WVCgIR6UDZI4QnLuHi/4gRuAdm0Gpez8uMsLmrvu2syrWDqfph29U1ePFGvKQY7Fo/oPgC34QE8rdUG0Yfm9eioLVypsJwRVmu8SDiTVWf7G0wrwO7K/lxwXtVwn3lz1j0o6YS99/D6qkx1uULzeNnrCKID+yC2fbeJ8UF85HiWS7DIGb3VFEUh++/3xteOOiy4iAHNzl8jxpW55FGBMTlucBiOsdOU2oKnyTP+lLh888nRVp5Nxj6a+65S8oEEcqwt5CgjSVWst0RVc1tcUeqLgk5BF7V3QRkHW1ygradYH2Qk3Nz0Vc11jP3tH3wePgRxMnCUT/+LyfbQZKf3pkXy25CopmLUkmv2ydaydd6ThedhmljV8f2mIZ2sU+ufz8klCb153L0nJqKQEmUtz79idw5HdJHROhXW4/po1J5ND2KbF7B+iF21TWCL5A2FA4cY/0DfNbhOXyuqQaQFRCYRAXwLp/Pd0GWBBv7ZbO/ROmP0lQ2a5/CpBvq9udqfy2X1yFi5lwLKD4d0rFZE/8KAltJQtgqUFAahkRKsXdmuwY8OxVTChER/Op7KkFzyCC8aOPXTBzDso+NLmszifQLznBo5ARwsSEBuwkg4Reu5qqsU+mBJz+WpUZS+IF7ptC6ZsOWD7adFpOzvRjeKtnnTkF1YDNJY+RXGKemSPc07oAZIyAmHJScrwyyKro4Wl350CTZrfQ61OXMPTpZRgw7PT9hVppc85vKCmECFF/fPdXeFYo94pYIt45f7Uaeo/HZeKIXc7xaUChKv1hoOOXH8tavZmw4+NmiWAmbfA7QNoOtdwYHRhmFX9r+bQ7UTh3Y4Wo5DFzcl5C8Oi+6W7Icq6ngxwCpbBvzfIXcoBKDCSJUJDpVTpHGpAYPwew/ifUxAvN9Mn+/Rtv6Wg+BqoxNVNLzCklz32ABVLOFOGvyma+hgMoJsIqm55P1uqAzGEG7/fRIBDVk9sZ3/FAdqdFIIXOgMW+97U5hR/f7EqagcPS9bdJaIxeNuaOuk9Ljj9dHTRfNTOMeJeWffLCQxnhjv2ONK4dsbKmy1Yu8DBo0lCLH+RExxEFaJRGEtXYjVFSJQoeO19aTgRCp8sYiLaywqF1QfaRRVKuEciqfNvdUXUsoWG/1G22FIMVH3RZ0dgUBDLXhu3XpXLCOkYu5eeqLIZwWRlJYfb37uU8KQ4HeRhWkWOrVwTvly/5zaUuaz6MxWHzPJ06Ew3kvcYDbkgvJkPlThSZgdf+aeImGBO1BZYyQhVPcaCJl3ZL+nISF6cTBP3Q4qXEKd5AU4iRYUK4T5F3ICiy1DRwTczRj63P4PVAcTB0duNF2ArYEeQeYoEcC2pY7RyU3csPDqYyvizAuNJK7+IBzYjf+s9/gPWMJ7Er+dAqC3FRLy+rbx74AxxEFc6u+FW7O8iF+heI6QI7YTE5oDUBXn3vlSFjdFsVzoGkS880gGs8jvSJko3a2frkEgvx6TzMuWMBYbv+qnJXQPnpdN7smWTK95gPaCgcP/Z0q922c9p/ctHVNjSS6hyZR1dSr13ezplCyVL/Gh3dx7X3zsxiuae4o/49ODJYehbEjc+kPjPOVg2azILSOt8Hw4+i+Y9MBq95MVx+kRQY4VQBJTtOy4QXJSw6LZYPuzTTzTuLPEGYOSBorESPb+6akoYNRNxyh+QaGaaMrVbhnDTfp00BhAmdsltNh/j4YeERca74kpYLRxCLDosR7Z4skM+WFnwQAsKf4YH49j9TumtD6z+kNFbdYk9zqDK4bts6YXAdFp3jXnIm1xYa8hij8I0YcDHa8TWl9mhcyjuWOxED7tONJZO0XLGtj2cLls0YvV0m1RkjK7KykRkFUF9CC1v68LccpMbKFjz2vqQ7bQSVtUMIN6qX9FAFNJ+bv/rt5RI+OYS6h7aAeYXqNQZakBXRquG0bY8MFy3rtSvZYrgzQ+pVBzHmuAEiCnmPWw9btShoBuJsxO6rUxn9w68hINOYNXjOmvqhYARXjlL0FtBIHMUsT72AtCyNX7fbCPUhDuWaHpLP4Mlosmi2rvfLWDSBomyrV/oV2Yy8ykTIGBAWoElr0FbPpTINILQHJHB07z0lXzxOIgHsDt3iaFukDl8sQSBp1j9sG1im6DvPXc8ySXMlMch/xoKEJ3LQIDmyDaGyEcZql6m/JabBUUTU+qWRq+REfM4bfpo+oiDl9gTKaajTC83soRSr0215EN0H4c5Ypv7ouB/ZP519cQ/xgTiPeh90ogA91MorDyXv6uK8EX56S0jqKfe/qlhIDH4/twv/MB/Zqy+qXXP6lD2oVqF43ONlZIunv8wjAFWuUh3McY13RmPXatXKQbKUACrrpKMHbRmRs+TggZ94YiRU0aGcJCMjPW9Zh7gfhGIVcAfuC0InkLHdCBxdJKk80FzdrJYkNNJfRYXVtQ1isZVuExAOuF1/J065s45jSzlLhqAaakR2gHCbS5gA5zhB5gqFD0h1vvTQvgI3u7ZUriqhx5P03RwkkqS7qNlQBewn1KXrv3fr1ocJbkWUpjniaF9M81P46TGwLb7W9ZNKIS7lhLAgv/qhtbAs+PqTNNgW/ookhvNBrGXQX+SyRmRrTme2XTIyzqSIbPeFyTPcouYMIWZp6Bh1T7vvny4JaDOaf5zvaxaO+qjEuS1GN75qAI7XAzvjVLV1KL2v6ajMv9KW3b+H0hzKQGpQ3Sk7RvHnQy102W0sMB8jFRMvdJk/9GTkXeGEPv8Vo7uMwdnBaWdfrQLTkZybcTt4gi575GUwB6RTVh4OOaRgHR4RpGbCurwToySYj6b38lv6Lht5mSmTU5G/Gw8IDMNe8o4KQcZ3y5ALIsAVDe9nxfQPRL4rhk64PzGavjINrhIfotZZ9rC8ylWROjw+rl3S6xHhRikVoM8Fd0rACYdUPM32Cvd+XkKVo/tJjin6q5tMLJv9ym/9xgkxBbvISlc7E0L6MxhcNW7ZbxzzRBBOTDuETSOFPSmE6V6XeTdI9alR5Y3ItRZmY3nkt407+2tfHxXf1HGsHpS+oUmkNsSZ8NjCcmxWUgqpQM4CCDTIh1qk4hQ3jKQuoA8bJQDeSmUwohYFSUwVMrxz9TNDSdz1u2P5JTHxp9ZJMjmfZboKXFAY4rpiSRjpvT9IjsYXq41/Q9eR733riO096o5WSgDrYH46e4ZzT8g0j7czlwY5d6I4jQqXQnIElJkSqsjqnnf7iv221dnDw4RF96MSSjI8P1l2z7lKRqlXvix1np5JXP6u99Qawg8PpGdGNeMdOYUMRXq81T0GNhBgUm1WRTZVIHnDHjSh1HxhQkDxQkwZGjcxPNKIxH3hjwNU/Sk08XryC3OVfyIz76KQrqtYdiIT3VCSYeGyoDnrKkI4YIWPBUx86geJIRxnCUfzHq9HBoq/J5HlbtbCOBMJxX6CQsFQRCTdTvWtSxAp3W6/IGuOBxVqwSEvRSSij1aM8c6CTK219VKPz+uREELP35mzTc6kLbOUIfmZvB/AUrFCe3TDUKGXpOyJdHViUH/4PMD4IjcT8DZ/8d+mnFKX0qs6sHRtM+kQR/RufKNjEcvRswx/bdZlDmxIaV/QSBl9C1ragXRKDiO5cYU9lcO9bSFmt9Jc14k/OUBbcaYOTnYmpCfoeGvOujxg2hrxPlTCkET2MxkENBMnWtzb5PjNYOU0xxcHWVgXo1WPkIqDGevPxOhUdtpnaBhLUVwC26W1MmnADbuHPaMPJ8sg2ibsD+yvg6x83mhkTTdR1SJ4HdPupBhJD3dB79ODtskk59iI+1kY9yOiseK2OKlJxl4FIE+eMV3bNOAABKuvdC3L5Yn983QusH3EKA3t0rAqnmIXu7uOyDFwhcT4ZWb7b7dUm/vWQ8f2hBQL3UDZlG897/ri27qHfkOqUQmtEN7yWPekUPVTQta6g76XS59GZ2T5DWQDQY2l7sYg83+0nFQ9vrq8RkHkAfPUW3YAyK+ysxNVZFNISPi8O69f6NVlE+XzNwm6c1fqkn9qm6aNZvLUFbHAgYH7CdLEqe5gNzhZ/TFyKF65GVjK8AKTH2F7P7BlEenpyjqO9Ym7axtBTDPwqp5zOUfDUpgBFdcVSmX+G2puH74aNqV6IsK9y8HKxRqir7iR+1EFhOxzRnHyZAoR0V53DARR3oc2V5lbpao5NfSt0BUgtKq3g+KGHYzAAICLdp/bxDsoOX6G0ctUioh7A6PQn31OWbbpGZA1ro6ifuW+X7hEDQnPelT5Py+jQDyZ+DuJeIiItdCTQrcl/hrTSRT5LkSCjn9EWWC1ha3xoyXkubSng2yiwctqjajazPa76f5JVRcKP+fgE1ztSyNTZfP1fX2BwQg//wjjXa5aO3ECZ178VA/Fe3jA5aRiB4RngeNJBJjMeuRJGEyCD6Q9T20AUi3WRWdg7QusFDZTaIPxil7s+YoVYAk2Ssknd1DKLbaIHNALa0EeJzGlhUdo/6XRHGrhTzx+VdGQbdD5H11eNyyBfvVBEvENMhVDUSOUb63b5g4HOENXrMzsMXEBnuxrMKt776UiBthvpMi8gWefNHq9W47uFNdAAoBj1CeyNwbneH9/A6WD0vOYNCnKOeOkYjlL3StAx1tkH1bP1LH1u1iyvLIEfbLwpf9aWq6JhSelIy9vrR3wuA9DSyVI7yyTjetK42vwzzm69/6mCC7nGenXWPx0PMZg6DyptDzAvLjGw44kgwQjJw0I5fNQh/lSC4cIvBZsVChwDLZYyqiZALeUJyVM7LB5JUfUikh9gd3YfO5yFiptza9OdLJdKuNbKmn4FTemrr1JwNYIguJmBiwkrgzy05z11Iw+6hSCx7B0jhdJ7/oroWcjMu7WW9yeFypEwHopaaK15dugDKq89KrSgSWe+Ez6xqgb1lI967sBfe4/DU2KErBHXaH32K9IxPQ7PqQw20C4O+S+27Ud9tT3a5Vsf/LEJWmXDXtXYmSzXo4RxmacSggO5wIdswUGMrmJbIv3fA+ngIKwkorLFWaOs0qflG2JKK2v8IX2KKnwClqopAXK3b/S6gveqMIbgxQf0Q1WpZeyTNHUxJ32Owj0DV49VL8XsENnfyV6HcrDGyziEus7C73M4BaP4wd6tn5JEsJQ/hDiyojvcfoQHLT4x2XLf+Fi184f0gmRZVjUunQAaZUCKDk6d+pAAfRI5EozWHt4nQYtcqUw6lhllfWyusfZtTPhvJmJVa2WX/7vCI58S902fS7vgMLxBXZRAB/PAHVAxQDQn6EJv6xz8fsQkUAidQuDRif3xZ6B7/QWMSRHboV0lvBb/zmBFznQNZSY9FmvEakT/KBQkeGI3yfXCHnwlvN1w+EpJKPdjWzpw7QO+UUzrpZPzNcCFAbwbyEngcbtnDN7Kreq4n1eB4R4BXFjJJekoXTuEGqiRJgLGVrYJfispxs5z4oJBFxY6oKUdnmDO0g78b8AZQB6q11Y3ijOio4Nl5QC22CZ9JuvjCptYw+jfN0k75scvAGy2gT2qjJHFoDTltGPsq2U2lpchv6eXZj8lwD/3Rh/63bAnRlWOLQLj1oZ9JYEqGsoP9xa1wEHf8GvOmYMdp8tDc7eUfSPXOOBmvdbanmRshKrVzDPbvZ+vlmWdvGyzFV5zmvgVG5F5BfEZWX0F3SMThSLMn1Mgoo3Tr1gps+Yq+K2hMwZFmK5DEjqgOlYcjnV4N4zWltWZZgAIMPa5YiyD0ng0YRPer+wWYiiieRyZTjkjuMvn0eG3DaX1EgtjyykWZmlDEz2UBA9NNc6ayoxOd8ZoWSXOXs4YTyoRM0Um9Uhpv/lOvjhPTf6km/Sc5RD339g4qCSxtMpOXKAvByuBSvMXFBqkB5F/Knl6kotj2b9fOhS87cL/8YYh2UUYqJDVaJrIPQ97lrN1E52gXGGonPKqjFWKrxOmiqGnoHwsqRl4YhhFia6m0lYX0Cl9vyV92kNElzCA8pU9ijrd10VckoStDz+w7kvZ1E3owgI6veuafcbAOQKcAHMhPm8h1F5GWX0Ra2DBGtZMSvLmS4YXMBlX0KTeitWATqcsePq3/tOM2f8j+DAQqzbMlehCMU+jTw+DD+OedwqidArD9oEcfodqoD94W8+nNdk2TRu0JXp5IFVpRBwfbcYeFkEDNFnCoASmM29iYZ3vb+X6S33Hld+OFjj/jNIKoWWHhj5AmUBu3V+mppgM1hP6KXCdRl2vh4wNtBz5i3jL5sp0OPzEB7ZQgpMdsfivakovJzXI9bpowQYXp9jh1+/qPsJYH3va3kgsTM13GxbX7r2tSq48ckQjjlC1VkURWkqDTOOtT5G3OblSgDMTlEUro3CuucR3+bc00AYno0456gZ1JF6Hsw/OYyu1QG0E749qw5xmV8TJAmAzuU1x+HhwGmRRR6/WLIiikhDCjraPLMK0MSvEh5UU1DKKKnCo3t+kGbU0CBDxkzvFDLRiinRX13Hm+huJuK6Dr/qmmXS/vlCabSe5iZemAUgGO4lpg+4NZbZ3kfWLWazX4MdKo1nr8Kf3ySshPZueri+lUYCsOdnAvi0b7WTJ1u2gKpTuBQJfy+rd1305i+TV0YXhQx+4sI2qm422Km9zSR1e74i5rkHfnn15PK660HeLPG234htSSwkcNYHuMm1iNC9W0S52mliktPgVL5TJPfVg3+Cuv5iRPRCTLUgPDDK4t3Ehf3iG9rnimTLZxBmhH6Q4Jwa8s1bA1H3bM+iVWyweeteDpT++k+OZf0w8XQ3uGoQWYl/3O+jYxW0M7+mja7WSWvYRGjN0MRoGwRizHquIDjDnuHf3HxOXUM7dXgAQ8kg1JzOjQDjHNin94mQLM2GElDckMGkU0SG42ZNIVGt0nDNKKLI8y9oKCyj50tzMylvyauJheQKAmVqjcdRCtbobb4p3DM98i4u4nzttFCTtX3TWuUfx6G5otqIf0hLifYnczZvz8zvzxa9GRZd+yZQ9JAP0Br5Nug5/yamlIwQSu8tdfHLi6QewxwKES6gRS9NSfMixdIFCU+KKQ4As9p0WRgimntrJk6uBEQXuIl16WGD4lLTvOPji4yPvScOjy7x85C81AAsUfpDhYliRsm7IWBl/axoXPOSUWpAHmPzn7Ghg8QG2HjSRAqhvqh8YOUmJbdy6LVB4IgpGw3PL5R8N3bqwLWUl/aE2R/b52p3Vmp+Tm6rpuxX4A9tPX7U+wrJg9I/FKQ+E1MfgZ94H++WwmG4TyLbW+AZwhyNOCjiw4pksm/6ezFqOBQIS1rFRcJMthn/WYHcj8Aw7kgRUbpH/O0Lqh+pLFc7GSEJYkNijBd32vYBP61y3RiGNbJu+gadLY5OGjIZ7YMbGytklMrEN3ufmwZQcCCP5xH+lPYoRu6DzyN9L5HJjRKsKN4SHTy5CpiqQ8o+XzznNgfENCKXdwGFhUuIQ/BgQ0TXrJouBQf3HjNc4g3U8qfnWf0uIW8c9Jl3M1hSLpV4Zyz5St2PGVw9/ebstBlB8HXuwgJQPhOn0E1JpGS5vYhI0n9si3aqWTTqynO5xO5gw4Tn5vN4nktQ0D5+Yhi9pmOv6Xuwb2/fEq6LziHditwkv2m4rnMaOb/A/t4Cji238JkBkYdrhiD6X17mvjRRYn5H0Vwg/khsnQFm1NuCjv3WQbRtCqGi14ogKfJJflCiu0AVUgd2JWVUFP9WA9Y0gLl0yF7ghqouBBya9V4Jj0z5zPQssmYXigPmCQPUv/TWqFXMOKBxlcy8y4thMnPQ0v4pZ7uy3h7WfY+Z5TXzFhLxvkrmA7q6PFjFcaFUTud3EkE74/Qg/QLJSwpzShP3LihwrMBuUmkWfDSSrCtPlJnXgdIEpwbOmD0pVOTzfG9nBrUhgGACtXA2lmbaivzQwjicQ2aAPrgvoaIwayvlHoC8ut0e34NIf82ALyhaYLjLNGaqdFe0Sgjj5vEhdPEnvO7lPFhsGg1a9HsJTm9ae5LA/UsWTmHp7eFGdS40OdeNVNrCYWM/1yLeRJQWXj6OlRj2MU9WjH75DdS6OyhaPKJB3QFLKoHvgkmpVXb/pd94+HqKoEjDVxSgW2EcKFkbX7DtGX5smqJRsx3TkcBZG7zbVLYPfrpmoWAvXZE5QRH9WipHr/LniwgF3XPwTwzlmMUJBMWRU6GbhtFAfA2IiInkobU77wceF/0PbiIQ8kOJzziJ35auJ616tnywjdnFG05111h9eaGqtMIJwYcUq+zKx/CWyWQ/9s1MCdt6SnbZrNkus6mb4HypuFWLUliO9ydY2H4JFeRwrayzFsWnocVIUR4RKNezdDg67IKH1Yvqf75B2S5BvDHUEqncynFJ8lphCAlSlHR9HkxWQqb0IwYFx1/qt1W6uxnt/ZNibfqsJW+ljgE/gpu4VPcXtRyRKU3WOTdY/N63R1zw+MnjA8nvW/UYEz+3dZEwo9/7iaccWucrcperEdCAJgELZOmz+QlgQ0lgqp+McUT173tTqq+NIEUtwJ8vo3c9TmUANE/lKWLMtDCBQxjlWmWxK3oDcFZuEBp67w1PsySZm2FXRP3R+X2uTF8NctySaBHpqEFBCU0W2pNzDvxZI8mJhCVDE8bTtuPb7IZ4AykV/TYD+ToPdSQvtznBkfwLi3Lv6qpOQVYzxqzoxtSrjCW/O0MXf7Sa9h/olrV4zVDl5Dk/ZrHonMUKCs+5sCe72aO5rQcoCePFgeXWAi24xhnuBfi6B72PUtlH8pwk5Jrry4FDpa1u97oRCEgaEDluqbwfy7BTiduesQwfUeNg7lSRsdUF3qn1iK7GGRyI4dtKRbuEo1bYyk3sScP7Co+fBGLY7SJ8GMDQL8a3iORG4/tjzCXUkQ+R1sEYZciV8dh5BvsTmvovAoE8t0TFIDWhyOT9cS4OOD3xYRxbXOsdlaIUZfJSSNpazDN6AKH1f/QGt9uDXPq2TyAEuNX1374bKfROhYOn80dDMmysSzz0PCOcsdAyH2UCduVDGUbAH/x11Y0Xho6OGsku2a0nRA/feMvgJWJdjQ1eSB4bACmF9uG+68z7eAH2nhVNGdnYvHiceVJyCOxoThA/P8MVz3Us0NZ+HsyHZvurtqtQQTOPXUfMZmQl+590cvcC9d12nujon9FApmsIEzk2v1mkvusUMG/MnwmwgHqkT0dilt0zQOOrJ2sfLBvqmVl8R6aG2uPMOxSHmSsKmhZxT7jdQjPhQnZjbrsr0YkSngfsIqDVbeUdjQJDJRE97/wII+zdBILNRoQ6+OtgZL9Z/sId0n0RuQx3EpcsRzOa2A2CRHZF5Q0uIj4YNOT7/n/MXlonKsmc17bwJxsOE++XU9gVl1Yy1mLzHuqmiBkbsHB61R3iiAJxkUdBcGNk5ZFJKoqmD4HxZ3ofbg5ofcUl/kr1Jd2Fh/bxSj1ovWSDn5TBsHT1MithbVIJ9uNoRi/aGNMfNDuGcjSigs7vrxgOCFQ1GoOiqA6Zu5TFRPMO/k/SBFakghJZuukF1fVJx9yH80nE9rAe9+9j79pP3RaQNibDQSSC2MaBnjgzl1ibiTzfK1TW895OQKuFYhyInq2H0QbtrvtzcnGupN9YeNx7bcMLKnZzwCb1WbNM6xEkDR3adLUcBXR8TdpX8kTknw0Fzk2aWaSpMbxMUwvXcLGvUcUDPHHS8oLtHwTuBNAT6VqDyUqYckPIzvvUIwHJ0Im66rxfppoluIJzezcIc53pAC8EevQ7g/m7KzQcx3q42807PptUnzVLo852yuTXii8oZiiH4tnx8I/EF/KgUGAMM2syyunyTmvPRE5ZodHrVyMq3B39Hkg0ATLs/9QQSggYhao4sKZ25t5HHa3c0LPu/Bu5/H/LhEQPismFPBn90NQPieMHan1e5iXDnlFwFuHzke/PT/8XlC/U5YvQpM8mCaR7LsN6UmW7LVKoGs/mTBMvi8Mz9n5QrPAqBnk5QgX2AE2lt+l27Iiml8JOwC6fLP7Egaw/PfGBKUcelep2bo+K0eDJUMaBXtcw0KYR3+MVFhzQxs1YM6E8ej0bxY8CHNoPOX1zgDfdKmYzRLwmkmdpD9q68GxudAPx7P1h3Bpe4pp8TpzqFYfZ2oGqfqZJ9ro+st7/CqEPBMxEvdDuE9zcCh6LGsShb3sHj1oUddlFU5H090kXavNwy/SvefaPgSYe1okHKHHm0hAugzc5B+BIOiuzciV3TgKa4MKnahS72Gu3BhrTFxlB2p3TuragOJB24aqhdsECUMl76IAlV9B75iaeLXwX8asuTynIUBiew2AIphIjyPNwTipHEvJaM9jE1spi5jsFefsF8AaZxqrcDgQ5ZY/qF38L3XBw+IrZFaKHKlhAWQJGfd8HonIJ5T6iOeFJey/rS/BzZUbmDvGOs3s8QuZ0vKX/4YWhcCUuDVYNdOtHISyxe8DyILuUT8ysPACf22XdBqgvngRf8dqUCH+1TJjFKg2dMGED6GPG3zDtG9LzkSA2Nx0FqoUVb/63XxipGO9WKcxzGCrWfhFE9uvLJzJEp1TGoTovOnQ/GevOfNQgRgViWPEPml2YS6z3WY8PF4bE/Gd3Jz7DWGWT0QWCVADyi8Yevt9z0BCZRkbjxS860zNE6tvzZEe0P0OS0IGfhRAK3yp7OIGXEX9J3D85SqQSVy/WABUizwvlJSARQt7WxUNV5uo0JzNw9OS9InmV7uhAtWTCjOGAzUXQM6+yGf+/DT0y2flGidKNnRWpZ10OsFLDU6ZE/2GzKvwgXNTBcL1SFgTKFyOz9l18puT9EMKo1MPloQxSExKjNB/36lp7pmh8pzlkRz1m2H1//HL50M2t58Bl86syQfubdEVHC89kzVZiwNXTmHbZfrc0ujVVtUkEZDQgnlBnI6z3iYuyvtnYHu0l/yIVsS9w5FDF6Ng0fIjGnyYIj2mBr8NLPT1FB2x3eRBnlABIxH/ptzmOLoGSOcRb19kRoXwMq5uwvxNgWJI8zfbTKuiNBoM5OE4Mbvz2/1eTCt/ujTV/5w1NkG6zNdareMcHGB/shhg70KFroTfhzL34eMK/w/p80BAAof4ZgFDZh979oR79mZqfnCL+XCVAJq109ejUYHLgKDpdbI5C3kt7qLbjnWTf/3M2Y54pMaempRWlYeSUhXVgLNnbIN96igxQyTmileOrdwYBIT406I6FTj0x324e7eT5kosgVzx6GSYpgbNdyWgMqodJI9/AUbfEGjsq3ppfw8HS6+65yOjXpxWkBuJ/w80HNljely6S0ZxyRthvyZejYxVttpiAwSqY8qWlfJBsIVE9vlji2EJmBUPHvanTZJhsRBfctsugHJAYrndk6/5930YZ0Wj9oqmHJWwZc1/Awf7dCrJn7QsFL1i7HgXE+hSG1RNSE9nC+9kC/4L7mw1yTIbpnCJUDjvZPQV7B6zjPBKd75DvOMhO07RHhul9btjHX0B1c4KKK5W0OKK7v/nEeyHG60n93VCuyWE8ntru19RL9kq1vthsnZqEQsOhI5DBiKo8iVcqiXJGofuL3ucpbtXDB3D1Ac/TONl1FBfKllkPozn/I5glMmcZcixjAT7grejvrGZNEsdi8kOU8VlvTfigLnSvy/mlxQ8pi+n7BEgc8XBCle2qXnb6D9M8gcN2bJoxBfgwy0y0CPoG+YGKhaGMDxuxbD7nj2wBKeSFLESvAwSriGsbQrsh1VYHC4+qzv63cjt7DocJOyqYuVq2pEcFEWexT0/lwvnhqCu5NXuEx+wzdsicgdIjkkvFs7aKpBMnHJ/I9i5FeVIZybMRlSnMNvsSHom6LSQZZdush4HDY5kt4HSk0r8ckm9meJ6T5rvhE73Bj650iN+PtsOKCXqO1YzORSbJz0/QxmUJK3Q4BQg6SLXkji0Wl+G1/t7U815I1u87e0QjTj91bbj6lr4jYzVuoSlu6l8rvQUJ4WCCagFxabc0MdZIC8MqV5TluG2CSIv55ftpUf+RBkLhiyf5nya4qsKiVHrIO/IEyZmoxkmHd/X+y+55cISr60V51xA8EYksvRw2NW7NJGzbwWWaUtxb8GNKxnoswabnibPfrH3j2GgpnnRpX0r32+yaiNSZaZr8WR/4tPdqvAY9C6ITwlL2LP3O6viP0k2R1Wflib4rVy4kCktYiXwj/2NMBL8SB0AchWoZpBLHjbt/inchrcz9659FDTPewwiDODhFEtneYwAdc4A3ZtItJwgSEbGqx+YK9b3aO+QgzC0+j6yj8Y6ekqIqbWL5V2FFSgLVMrMutU2FnpdFaxngWk3Du9TenwYDJK+0sY7Q+vfLpccERyvN5E15FUcBgZQyMBVDZC5yhptL+FIVLGf8TZ+wB5C3GcanfPTk9KP4HedkS/mlb+YhOAITfTIkd573CbU9I9UfH9dnDVQDOHnwVXMoc1xHp5g5yDclWkuOb8ohdyMTW1wUTIogUwi3I35L3M+nnFjdveALyzh7pp6YT0azn+M1rQ43LQ45C8+rJNQ/Nwl6I9JDXz8FyX87tsuk2/h7tGQqXtC5fNiLoDAaQj1rBw9OjJDfmygXpo92TTNCMp/WXXghlMKPgv3Lf1DvrWVF+8R1RUnag7q3t86bLcbHikx6NyRJmOS+YJtmRh4B+HXN5wrNDCBytUA2i/vBgthBrVNE9iCwOZdpMHhbV7IUElR1UOYQEMv5TNQ0Z377au0jluNjXVERJFI83Ls5lmGekScdI5ZKS1SBLU8vHGd5hAy6GoQzbC98dfuBjwr3izFkNORtRbVAlVEbEHkGzzz1efol0GvaS6KQOwTZD6DEMNteGfuQdOgykxnCwWKXI8QjNhGr4lgZg2KDWpDUY7hMsmWFj4QPJ+qEVOTAQLvvXpvUHn6Bg1lC4uApD0LaUrnx3hURWo0mM64sZbHowJYZQQ166XS6UqCoL75CvTU8cKoNX7KZHwAojrlPUo8gVbHxucYvVA2EuIaRZToaPzbv95rDFjhJzwuREtzrbZobpvJ0hckJrytNEtlrTpL5lBTm6ImLnEwIsGAe9OBbQ5VCBLd0uoKkRYCUxW2UdkauGXKnq3I4LwuC988AwJ9RMIniJHRi7ba/URTx5MWFecchHQ/eQzE2Tv1KEemFYh3BkNkxmOqRZeDejStWlttbNx9u7Pnpoy4O+KljdRbu7vSOlLrjLAAuduB8w9AczTz+uAdXtx1aywDFV5iLHdUXrZcTkO33ae4Wxv6pV6fRdipRByS7faH3YP0+x2wkABBphvzSMnKWLWcs1lfF5xtFqsBPxHDQpDgt8NaCoK32GgvPW6RlfqJhgf+eONScdP5XbkpsCcA2dV/BGmTsr+ptqp1z3+yu2t2cDlBm/x525Q9vQvGfiOvWceIaVZ6I32NqaIz3SGDlEz49HLSei5s38gdKrkHHDCNqRJSRXwOGTMMrJcWEAA+JcfsUvBmPjFZ5/ITCS0/pSlYqjWnJNvZH/AWoes/DhQ4TffNs4ST9J2blHZ+V4d+56BGXIasQheNSNbq/+mvvYqSNw9yy4N36PhKCkytbJ4VIRtL684R71AkwKZhRI8smjH43XYsq4aLeC76iat0yJQj9g5ekfg1as3qtA+VOAu4EpZyrl8A17IoEddELdbk0bODnpSvRw2De87kCNLGPD7x88bN0rPNsWW8+GAFCs4n6aRBdGJSXqE63E37WbxE4ZN2FgnAeUdPlDPsYmUEVBxA4Vv+f3qDecL90KyX5Dr47fkoCG2DWWn/uGD7HnUdW3879ueNvw2wqRtjJhrA6fgd3vpBWMgytdhGAppy2IpBlcFbjslfvyhrkBphZQo06EqRRAXpwNmwsvt4AWzUgx7l4Q3okjYmXR+DPCEaFdo9Z0JBC1kZWgZ36TaIvJl1wzLAzz7jRDpt3KxnRnN6zJkttRVkBQDQ0lI5lvKFV55FS0tTzz8xHMFe9sv4gptdbkrDLXt9ZCaXZueKBRoilfGAr3RMAwLK+INXnR1+EFilNgg6pqvEWJJk0KbzlkkitE1xYOkObr+zrG+nv2Cb4oExyU+V23tOErMlZ4hKMuIVQvYj5nySTlSJ8Yfdn3CK92hQEip3vaMPJy64P5qdqDPE/95FkVdxboDXoZNHUW1J0JbbvxH8dvTnWO2rzVEz7MJJKxZAciPhh+3RKpKk5F4yWyLC3V2TUlMAe7jaRFMrsurkOHrDPgak6XSExAU5QCPQPwnOGWw7+fko4D+mN9UQTxV2smH6uIo5n2QKcc/2w8C77bRnjjQfd9Jz06c3czBKReyKXtXKlt6+pjGNTA008e++D4VFWnl/7UI8UnRsDudtoU0eud/B8eUoV4zbANlPWiUvbHvZjhHu18rx+nePVW9OwMu4JtEixoCwcTv4ohuMgVd0h5i7EOB+wxPNGOsSMfIuCH21yqQVnAgEOSBztIKybSGFDVNVjQmCggTWGr9pn4Q+EyEp7DoeJtLsu8LjNS5SGQu0buF6F1GBAokbwQhfWvM0Dp51ot7ih3WHY5zjFsgUj0qhAPhB6FeYpMXrKJIlw5QGC/oQtFvZr53t4ejSdZE0xp11de/ytd77nsOqwkWvqpyA392yIvJNP14F7rLdV98mUkPRk/xfhp/Potj4h9Md7GxHk0XN2PLWXIhCYQMsdZj+vMC7EStd0fdCet95Kwk6FyFW6alllShmIcZ8Pvag3pkXmMQ7PkMpGzzjJo2Y9kPGx1FU3qZS3njGsmPmqk7bn5lINo57sjw5Ylgp6n9JsGOaboFUvHE1teFBzjp2ukt7IRQ8mHu0HUyxFsJqhSsW4tfwHH0VJrdw3X2RJ7C7946EqFYIWO60WFO0i6KGXdCUHnz6AQ7XkziZrKn4R9jLgL+jfWzm3atorVudg5xLEs7BeiLVP4NqRDE677xIL3wnVNLy7pABP1vIaEKn+KatbkE9hRFZWWDdtQcjudh1pT7RUxQVT1tzxUz77hkPOjNjGUvT66KkB2TTkvjallIwJBerazsLTPro2CZE+H0Cpou4jGtiKIzgGu0O8IBpNtF8jg19/iquzzvW8DNV+srBX+KPRH3P42VAmELBfHrYRw0zS95XUm3oeLMvxc9GwIs5pOJvK7OnfIYFhtv1G4mQXKyCZdhjXXgXFDLHq4grkpqY0bus3by/Xcrdva+fGAad441h7wkm8NXfRMftje3WCBZMxoLnq5zi7E8+wEginSL5rm/0FDR0BAAlYXBlTsbn1wOh91ERLseyZdez8KR7JYI9IvI+391DBLdtvRfIbPxoAW4HMzM9Ucm7ZKEhbeWFq8g706OiZfz044M898GWxmdtFsMAmEaFBi1be1lBgk0S1Q8JgRxxBkNrVXbtJJZckfE5TlaZFtlZiKiaw2ey/EnMnDOrq/zztE2D4y6AHcy7hEC5kbfFXmpzShf6GCP6eTiQ8jhFTBPpWrO4uKQB953OQe1+lt8Y3wBc8+3d2EEwVi6nbgCWyqhYz9tif31XLnOBnqFm6nu5FviyTVnS+iBLJPxmlpC6k0Vv7WbM3SJBQcmXQ+8eBL2R12oL370d9/uW8gB4lg+W9MJuRVqyNypcq/M6kcNegai7gI8GES/i856AL3dBJqcHyh6fKzYPONUfkMw/4uWb8l+nLJmhioIzv+1PyroGzF7mc/IBnRW1sRnh8cl0laCiegFJQBauqbhUPqWjUC5qujTMZVfJ/LjUsT9kCtDo2DMuB79dRh1F98EUnvXKKYec7ZrtjSdBO2BMedtZl92kQjDQkKRIa6lwsVSNWlbVEVnvvJ/nlfeYEfYgE8DOLHlxDYz1vNJkxafaOWCimc238Bg3hJb0zeDwOqXSL52aWPmx1TWJ9UuJgCCgr0uBeEZdXI6n71gzEL6EFMoiZ8HHQJR7jmpiHaCgQxPrbPbps3xXifQgPVcFrOVYI+1kMlFqK5+0tXN3CgNJbN4sQ+qzy0XJg94pOfWi7Kb4wOy/Mli+D2T1zsfuQ1nvYeinIN0cAcMrQjSzDigvByA0hRnnugdU157TTMvPxfHgOxcTvKW30whTBG94rx3YY1llLFFSrcNfuY+drBMZqNSwxQRRfxrRucvezy3xLuvrXcZVwdn1B9cfcNMQXxwLrR57x01Dy8rGOVHPd1T3yWfiBo7VS+4jC4w/8noZ3W+XkbwUkioAwoS/f7CCbXp7yqtyPGF1Pa83K5i8ypGsU/7HaD9Nh2PZc9Wu4GlwSswxRPFrghxg9xM5C2ful4y+q4N/ir/aXSDHiySSRZUS+"/>
  <p:tag name="MEKKOXMLTAGS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ubs11WMMKQMWY5b07L3krsaT20JD06MnQKD5tJA2hZ0y8eNH59O5xkHMShUFTOWejkJCOFNDkvRytWtY2nQeADv7rwmjhj5ayLJuAooP8wh63e/+Ob/mZD0GMiYMptkIigIqopSHb0pUs4CZ3iYOSUXyy4sS2s3xtMLCVfzg40h9te3aCwO210HOdgfHjfMiPS2HXAHB339s5HtFhRibZ0L6I08R9RUmej0qidqbosD00/e+1R8ysNxeuT0vnMU+U/rDYPq0qH+1bezCcUhrSIZXsDP3N6x6mFXP1Uzxlzj/AcqkBSuxHpMVsYUwIukUc0J9nPKjxv6nQ0RPCReCVXbu6cxqj8wbUTRgiaJ+mE2EEkXHwE0QSQ9mVuRMRtDd2fpecxGXlB9yDddHLNy179o/wM5nkSPAL0xjCmha9yiNJQmLMZ9dWXwW+sL5WQ4QXrHsRZJvjFOeWAummpd/vliRqwhfOEmJtr1IDDxEwPw3iUQmckfpgbUo+OyRQ5j/uYnOm2NkbRtMTUjIBMumT0urxw9EbNohEi4q1JQ4rq8J5Jls/I5sGXx2Ak3LaiWZn0vjm3hgg/BX4AGhkm13a1yMDQTeSFScDJG3ukbsvtgsortDYC3B951O/gKUx7jTALgBA3YRwE+RGgHHxC6iJemt7wv4UdTw2ODMal5iuiJXrSUDMKPn99Im5d8lDIIpECl4kmcHa1vGpUS1m+n0s58+S/E1NAWiQwR/QTjJu80qOHEQUOjDtba4bI2PlEItj6M+KUaSzGdiqnarpEO4dcoLAHAPB6WZg41kWh491mjscHudjOsMfIJ0ZAkeYEAq0pRJ+7odOVBPLbinmKUMInxRlEZZ/U2xF62vfZ5q0EG55EWdwZuwzYIIfxwo5bufpMBWGkznmaC+eZNXfCu7AGK010hQplGiSYsv57F7JE1GX5pLOzHvSgxzwokqfkRA0q2QmSPLjAF06YAz5L50lVpIoeT0WkBMyRdO5s/ZJUxjNEMhPhUeLnsIrreHkcaAfL392LyEbKamuy0W2rN1PDlxOtS8BZ1P8dXQlOaygfI/iT09S8/IbO6Rz67VFdvj5z2RDomVOH8uLorTKl287ddRMQPSIbKA9qrVILtbinZxAMEXvKIWZESJIi68MvBrlNyBb25Fu+x0jJEFGiRdDsYiS4ACzTkpD0mZ7QUYMil6+cQ+QC/fzyl8BpW8ykjkjFz5lohOjDdFEnoS/5/mHwOi0rpAGqNjqcDIIXWLKGU3fYegjdAsceNQFadj2xXF65PcR8Rfv1wIO+Un+BF/P5xyApLT78qD2SUZL7FiqEbjwWubuCg4szdT1YE/VUForuqSMcruKrMmbWDJTaAdD8fdAMqzdP8J8+xTedHLtQ2vNf/b0iGC8ymRb3QJH43dFafxUB4/cpSg7ErfKSqvDrdNj+QjWMN+0O3y6D9zRLLERpboTp76q4N13kFaQP0ZIAyWu50ZINdWgJJ+XM685YdHT3hcZkzjJPXKZXd0gYglOcT77v2/uQDpG1Nx0+fgFO3lgvlI71gVt8h1iJQI7myWFkwYvq7j2lKhlAxB2Lp6CmTquJi0cG6suhcs+3Rfet1T8yCk3F2nI8eBpLUhk5oXsjeE39lYfvenTdqZnHV/272ogD1P9JPWKyHsIXtAGyjhf144JxuiE8uGS0rUXFVMjo791JqQTZQT+OVqMBqF7RIRokRpZ6JnHpB2PPkqrGBbMOHZaS9cvc1ztnchh1Qpj62TrYxhXM/IZ+HwSdqkYddQXMyrDPpg5cfODFWxdrM6bAvaVtfOhNgFD22pnJbBI8EUeyTacy308oagzNLXw3HPXduv9LA6AA481u799RmNvsyX5TyGU5QqVNK22cPbIYcqQJy6HKCcM8KfLE3vUXasl4H9OFVH3TGDtHG2GONcx1hrDvk+EI4X5Vr16eGQALyb5Dq74G3LjPWDSlK6oSsXRhsc9765cZ/wGZX5rLT6ZOC8eFS4gvwVIdqUrvOpj/YTmTbbTGiR0j/Cd5H7OdPFP/nBik3V0c3Q5jfHrUva1afYd9oZMHNm08oQahbhy4BvtUEe1aDBuE5pWCh0AEfLMJad/imBWP6rcpj5KJTkZkscygb+ieXAvPah87N7bEVBnCTV7dYJBaJAQsUHN5XfEX81BQNnw7GwrbhyfyKbJcDTrKLowfW/bfyAmMZBxun1qGni8gF8p/mCAiIdApwWr7V9KCti1icFHUKOzX+s7zY3s9b10dBY29tuFgvaDdB5vytDBficRmZLZ7fH4oHFBG1kLeap33uTDr+dCQ4dVdJDDnoMbujtXtP1jlASBDje2VCGm/oBhawtiuf1sruULho0ytnMuzDhCsNpBF4GggmHP4aWDR6awyDKxlQPCp/qyi8mrrRLf734xdh7//E4pxPxMtIkG6gDY8+iBIuMfwzg/oZR0dVp8Hfsoy+3gS1UTIkbbbdSdvgUstt7aNI1BQPftBcknn1g/V75Ap/y513FjV0eDW4Kc5llAPLN0qVC1j2E39TMton4EagjbeKfsZsdBw0fNHiRpFXqrTwLaKz4a5/WYrCwuFVaS2awDoplCAcH7n8YL1qa/9abx4CxLoAzjfd1/cBU0zq4xxEpXWUDSx6Fx3Lho/1QmYW6a1WbWiBwGb6UDYaln53+ULkLxRPGL7A7cgeKexAiQ3/QThzeBrMbISU2M5V8+As47hln/F6KxaEp9ZIb/fcd5MBW+EY9tShkBMAE1ztVia6MtaOHcvJeJBWQ6ljzB0GbkTAhb4a10MXgwo8NcryAVhrLZ9DFVcIxevbxNfzdQTze4jz3BqCV9gP7hzOWMFTzovCYKiHLdNir+18rfKuj8czhPbGqwkunDLXRj+bJ+TLMNAstZzdaOCyjdZmt6oOisdw5FkTdNv2/KZRC/ZdcRk5hTiEZJEWhe8kD/s853BggRo/sfStYXFsuTFV07jqo1AKNHuA48IUt4ZGW7zsPtlQep4apEiAovs89OlHaA+or6EWBLE6Je6gtE0beFZFSVqDekpCb5EY4nScjf9E0/dqW6K1lc14PZ19P+wiaYAN6b8+wtXlNR4rpA7PeYQnB3dlu1lIGgq9Syfx8DqLQrQKY4QJYs2wMjcmr71o9tEeZJucqWLRVfHrL1Fb8djPNOrlJCMb5hFc0UNJqvFrpFt6ZLfMuqUmVrLw7U7hIACKhLf39vIswQH8qGI9ugqyG5qwAS/ywu8e+ugdU5GVc36duEUJUJSh7yEqZRpjPczJGMmFlx/PiRYfdXBkvoadI9ncI1GcTQhDnAeBFohKGv8tIHCuv7ns+Ie+jdSQ5pNPbjpf3CuA0V8FXy2T0xAACGMDxUXRjifN2UcnwjnoX+5TyL/GBKDT+/zmeBg5L2wshp6zFQOmvItfIf7kP6OGzhkhtBHt2JkY0Y2fRsvjzL+zoxWrNbeRsHQkpcJ3GwlC6YrTpemDgkWBgYM17zbfWHNGR7lhOB/51NGcUqeDbSe8bI4gew7FqoZUN9gP3AQzSubfMyKdwjRQbmNc8LY9wYnJYZJbrhFfJh8Ei7/Qtb8PdLVGLhCMkhDX3Cr0YAx6M/uxWvTRbRxP8q1c7oU2hD65a3plE/R19OGjR0cO7KydQ4oOtmHILA1Qk3bPK0i9HtT8tnn9iQoT7WHh3zt3yJxi1gos9iWKMXPRaERweE3MZXaIa+3SzlsTkEqA4IWsx49Tkx/j68l5+RE4saX2Y2REA+lhaW/l68NAR4Yse15cTBrfheON0NRBVg2DTUvnjzpMS1JdgTeHdfXuIISO2FrC+YJiVw6AThKrxecdA/LtClsVdv1425nthdGeTWrcC2kq2dAZ0xlIHhvF+nL8q2dPqaeFPNgWTMZ4Qo5moNIPMYr69WYMFLGXJvti91GWniTBxklm7at6eXLJjVjMN96ICTL2gjoZ7CM/ANhvJcDUjA3FF1J3eHEAwy9BL9I+uR6KQs54Ywz+cvvRI3h3CAfEv4PBOh3EyB8Pl8u2TpebUbdlXyQ1j5Tj2T7v/da2bFj0kU0Y7jBpMMuoGZaKcaA4z/GFQa8UnPJai9+ceHsLarMHjgA1AP3JvyejQ3YXp9fhcatq1m5SM5a7/RlU9gkoFS0ekaHORTzwT1G9cVnYgX1JnP4BHthN+8sc3wDP3oq/CkUTe5IjJFANFNwIUosOQT1TlV5Fh0iBEZDmFcxriTAbtTL1Ki2l1WFGgMVtD3yvDFJlULkYj+Km39Nkvzq5KszYXc//6SgxHO6Clg+zdfJrKz6vtlRFM2+1LOjv7+dZfI/tVfMQpPEeqNOFpnKSzNPhPBK6E4uPu0FiBN/Z9t5TTK4OWgQukz1nGV8t95DegS5vUetATw2NyPK/cGQ5LHtOUms396KOf1b2Jkzxe4XztDxis5ciiVDxIJxFsCb6pmCewmXLhICQKT1rGOCCrGOx3uordf2zTqpcIViKner6ccoyqyQvkjhOPkogH35iJOVQRuYk2gDcvoa7JfLemahxflnDlEsXDd8X243lyLBLxYwmI5c4uM2p2jOPQq7/FIYiksKLnPDQXzwIdQPWgVpo+uEcJHisniS04LL3oOrEfhoJUOMkysvZT3uCqQYYDfQGV0OSHf8P/K7H1PwSo9oPEWYmDWWirC/2ZcJdpJKfVNKpRVWOauw2ZW1kB2DaETfPMYARKBRIMDwYh/a9B+7+0txqfpr9dHUOdQY0XDlVQaSp3VBfYO+7LBnzhfNy63Db78Lnph93EsJtpBHhtlgNhRqSyB8GcWZXggOBBTSGSN784EaKEkk5oP+XzRCOOAzT3XuRFcBlkn8r+No1aYTzcHbFPyuKsIobAXfu9cIMxvGMMQ6/IqUpe73htN1ltO2ocnAR9vvGft5gtDRnIgs4z0nc2locqjMHrKJ9y0CBdXHWPSDYIW9BqXcOTtN6ADNVuYngTLhVriPfcWMMWpp5ta1WDfssMZ/OdF/wONTFBLk0hKLCDez3pXehliGQYvfZqy6HOT54TvChpfh/5DNYf7aFP2gxYnDiwV/qpB0JiaExB41rutbtqYD7mJ88hPK4FUVlymgmFROLEXaxQYiavBYeARG6S2O7ZN7dZrbBaRNe/yUtfIayL0RT0dOjcGkB6gHzJ//zkHw0Y+bhEfKiMJ8GuVF2DAgIVETWjEw2BQKg7zAh6tG/5SEQHawqWqoe5NPRKoxrgaE7Y624ocJsaXjRyHgmoNDK5IBZf+GF+jfEIMJCq1XIdKQVll9/ctz/5dfjRDlz5hd0v0pa5wpgxUrqb0kqGv24TaZ3Mr8niSf/mgpvP5GXAvGsTIKziM4eY0Nbecib7yNwSZoeWVjDbJpHISUcS5Im3pwOHMSXk/7xxr4Y8NNpjVvoFQHbwdMOF87LTkHXCpdOcsvqoL0XU9UV7XO0etj4uFprM/XRo5hJyyHVR0AVQ7fnEtGy6ip1MBfHmYlQ6PSO/vjLxUGv6diQvPQ+jmt/sEHvVq4trfV132KBZkMbY0AI846i4iU0I6OnUv6KQTDGe9PMxrABy4hmgvTlT2FBCjp6v++TyWJBeRG4Bn0i3wezzQG7fYrHgrsFDPkJTmzWuAy/P8EeGV3aRIKQB6qH3vpYXLLtyVyB+rNWJcSr8sJ60av9aiu6jC7Qmemu2L3sTghmU+Ko1WYdXgcZcISFq1LNaYtyEGkB6wxwdfTkxsA/hDGUEH3zjYH8B+6u221oPSjI/kZbYcEZvvQHlTVaNbKJSJbI34i2/jjcbaUg4JV0nBu6rXIYPioYVGFbczUayCpEK93zsEBYOAsneJOoSV1GnAdu7g+wHcAQBJ8rhUjirPgg1kuMsyCIcygJxXw1i36Z6/57uo8tBskLfIitPLsRTN7AdcZ4lyyNdYNgTLoV4cdmD7ir1uRTloyuHifTmdmuU5l5mpllaj0euTGNohJ4BqKo26GiZtWlweCYc1sFMZehzBJeWrYSSXZ/B+XSyXNwHu2ncYQin/bqH9CYPNeCPjcNgC1rWcDGpCaVOwy51myU2qhgoeI3MC18TDJyvNYjh56nztK1WeoA3Zn4D2zKjZlULS8Ih7aBsqtMTAcgR0rwmdpO1sXt0q4WVcChrxYDjk621cgAEAug4ByyEtFA9jGnQNX8qWtydYkqCK1pEx07nRwEs8NUB8XM5/QRm93Pvq9WiJuCdf4n85/Z9YYGHWf4vKSZhkUvTwvyBTWTSxqvyx+3fM4ER9G26zGY0CHr2wbYgdy3n3ja7xC6z+X0ewquj/Tby2S3noDHHwb/+gHgOko8KHYvn8/IL0sv1F4TdusQWYu0qwTAO5tFMG5tD8pAeKuA0PAnkoqKe46qnjOSLjLM4YT4CG2M72AeGj7m7/p8+A1gC3uwK4Q5mhKkDHCUS8wRm3NFmE9Yb+qXLmRdEDtSsRAdlS2esLNsy1ayf/A71E1hAlHkiPA2rNolaL5G5KCe/5N5lxJbDDZkIU9yZEzViWYk7raQj3ZTnlXNUdaNzXNaeSsg61QH6wUl7EE1ApEdqdNU97z3N1YZldVasV/afMLKOHrQS1i9T0SlbFXSMHK/EOwsaEj/som+Vqsh1L5qHFTr6tGfnsA6OVq6ilo1DU89iMArORgPhWp1GSo3VjgkyYYNAACBrAEGvdzJhxcUYQHDlofs6JIDMWWCcWp7lSWVBgozpYDkFQOsgwPN1MNlpotVa/C9IYE0fQiWy9qYZvPlWQfiX+obMzOnFvEufcoJp34Zy9pEvQ+rCPhg4+zxtzySrBifgEb4rDDm9IpHqO4Nst59AoLxt5dvyeSOu8nHP9Nx+grqyYLsXr/n3e9oSvUY+cVPpDD+2ejIn8PWrYhlhmefGEgk5jdxRWnC4y1KhSHGYGXI45Ze8gx+3Pa7a71jsN9FZagWbPa5JGI5hGFCS+0fUaAQ+RzoHx/l/tL/1635C5aWTRo7UKERgI0Op1Zc6qrT5LuuoqqCR6WQnWsM7U/5aBnQSS9aaF62QE4mvK7jCEJ2NndQHesyJpErMJPjl1fUAtyKQdPhCOXt1Qz3OOQj27bJRyORUW/qFDhpqybGd2UNxGa5IarrO7GIes9bjodxaapuowAO4HKyJQro0YvndmZq6PX4uJgfZqjgI77h7vru39d+hPWUU2WvqBmq06AySwsqkAEFz0DWa9lpmTGhr7vMMifWSzfTD16QrbqdNSarpv7Bh4AxGSCU6qYBmNCjoIKJAghNrX5vH3mHziAc/KA1u4MA8faYTAFONHTDqjyk6zJWKHw3woL/jauaxDaVTUtExnViJNoceBFz2w0Ek1cyuGRN/CqQIUBnf9KPcRJym5lj664LWnQdBpNlU1oF1KEYpDPbrJ4G042bJJnAjAmtOsPJaifOOPUdSCIvddi6KlTmUYKmNbCgfPbg/341q7MQ/Y5j55GMnyv3yRz/M2XIs4tIDrBI6+uXgy35qcG//zo2BPonk0i356TBJPPH+nOaXv6DAdQ6c6cCbe/ucwAmiPnh9EGt7cFnxLo3LUzDXlttiuYpgrV6jmHpGPA3ZWOqJwX+BTTj+b3Sv69p2PaeLp10sb11SJc6wEEea0JvAbZgxAec8QmB0M9T+CF3cfXSsBgN5bXmRawHX72ZyCA3h3YBw3/UgBMD2p/Lf2QtBpTeg9rGJyDPO7fZggd9F06JAeS3E0bqsi5wmhlWckRBECpT0JiFOenkCr2PasqmYkRTaqkFHNlFxyJHXDVCmQQ4WfyR90hCBjhuqABVMidB+9uGTufNvAncZY1TeaC4nAWWHfhinDlYx5yMSJNYjJGj2JwP4W8E4dkZC7ORaWsdUfHca+xrDvGFtGjQaC3ObdbNCj+ifHZVDsuJvBNCAfu8eH33QJAWsmZXuafQ9r2Hv6ZtJQdwQhv42xdYNScZrIU1BRx9hlsryVHU+W8lfSGantE8aeIYC5BMTojz/rsq1z7OwPLjcDgxR3sic3iMRiy90inGOuTMh8yc8yyScq1wzzzO+8bQa8uWu+KpcC/O2zlvsxWAqzusWuUTfzDXCNMNeO/vrMAdomupmHr1LcSwK2KW1ZT/SEyeob65ECz5rKEnGZ5XEDAX+qBo/esFkrEKB8xTJOE8OTCoyK1QXGsUNqUn6wcSgPvpnSYtIkcyshT5kNXe6AuTYGb1Z19wYgo2p+sCvhhntxKSrR+lPE0XFJz59XtCzgJZgw4CqUNn+itEn8pkLgClki4Uy4pRJxhwRZ4ek6Bf15T0Aiw3m324jpPAZ3eEU+kNjatS9CzuGGloAXJ3MxU/Qm65ThaBhfNWoTSHg7usnedSgkzS4ulCaErfPvZhRwTtGgPEvxtNBtSgaHF+oMc71r5F2KPdnM3MdVC34+/AnrR3PO5++unnEwYVD3WTodlolbMTe1DwS3LpcdAgpXoEteiBldNTRG6V80BBsnk+hUa1qXehCq/w53ODn21xhgI9gV76X0wY/2YrKHfJhZHc+bFWzbCOAVsHnYc8bSxRNECgW0gk5NqgpZKZONOlTe3p/ZTpbi7rILeOH/lyoKOt0fkykdh1d3QGr8U1Msfylg66/lKXV2Q+jR02wGXuR2hTiYmyG3NaS1H+5aarhZCwLpJEebiXzjNnHzu9mTIfEZzAyduvfRLsATc8mlE05KG8f9C1IxdrzCZlnY+EhWDHdFab4eFBjZpaI6mey3gWqUXpE/S2FfhojpGegddFBTUcJUxRQGtac2iyHIq6HQkKFfnE6owWv+s1Z+8kf4S6FG6KGIXF34U064fjV1tw3OSC69+dwIGhZUnTRj3HBi9C0sI7FbvC59l8cq+KGGmIl9tmvU7qGnPAyDvvq/w7/OZTm2NV0kKfs5h8BtBvLhBLCpj672BaHIFakAdIP8x5eU/7KE7BYG4zRRqUX1q7btVSxCiaoxAFmbrXB5wQ5oAgqDw2dd/3ey56X7poYPdyTaFDAFrBo5CZT2UccsB7AcZ2GslEV85StMvi1TxULGY8YN6Mn7qi8BEFWuZ1OgaGccqKx3EGPS/4dqXFXmjZqpTmFg4wPWu+v+tVZNrDotxd7Imtf46kfmx7XPKx2lsrxsp/dccFJ/iLIaSCkA0ovpddIXilgxH3IpQSvG41lXSBi3JADeu0diAutvSDVTLmCjB5idr7l8GhtghLUgt43q43tbis9VqNGZdjvPBIxJbu4vd2+bCRjSLohE13RXUBWcDLJxtuWBii2IP82o/4QaoWYr05lrzB5u4f84Lsr+ML1qx2dl1BCXZ8YQ+H5R60jLtUw0uN67qFdJHWH3qM40oU+L/PUwZq9j5KsIu9PZNCoNiByRK8dtABj1gVPJ5ui2SWVgfuPnicIS0S5MxiyDGKvG6fz/ZZ5aBKbQ4vO/tSZYTB0XlqXWf7Lg+Cl1mo4e5yNaGdwjmviRFJ02bqe7WAJ1i10Lc3tOXkXZQ4VftPglUf5t9mnL+oHSyKJMRCf7lyoY6Eqr6HJLuPIA+CHU3M631ZCrlbwzcYYagt5CBQbl3CDngBghc/kswKcS/C2TqlXJ87csqPuW1RFzyZ+Nnvt2yGqYzTFOwyiW3PDGJsNw/Ks5ZXoYm0Ip+g9wuoQ5gWSsrOijktZmP4y5DIBlIjgztAVm/5n+VLfyzljLMRXMDdhIOx4b+264eOH5/0a6TdIAHvhDHBwDkhjH+nfw+5je/SVY4NHHbZeQpfEOwaMb/bEyQ+Y4+pkukPNEtAgezae8LUkGwaO7t3UmSsH7nMGNy76ePu5S782BCffJrkMGOPFYh+lg02xSTrVPinKp3bE6QmwUI1tgumOVKWOWAUFP/Zv8vp5uidXURZ5yy3pZgzPiDGl9TOFRLvr+2S1qBQof2Zvv6nfz/udlXCCCDOBEAen5e1LqSjSmjpH0uR0iLHicdEyAhzZquQh+OK6nBkGtSBFbhFQTx3thVD9qhDyboMpxcIHzgi8lbNZS+/WXTw4l7+tcJ/vQMmjnN6+Osxpgi3KtAq5xMt+TLSXKwDgTqiLSZ2cRwMBdc5HCq575864IXtnLzCyxyd9Khe2Lw7pNG6PKHALul8eQAXAATQJn6WJvrtqFNIR1pNfiMwD9bzu0LWBIVOSDuwtL6P4frr8nAtAk8RX+Yk1EpcfP8RdWtFFvjAM7pfrLT6UM58c2oOG4XCNv8AL8lhX+UxV7yqU5mYSjLLtb0gfNeX/h8FGsmCG9jSyNz2YgYsDqpKAnRZbu5u2POxsCc9Glc6vYX9HoEj+b3xZES4doVhTtI7a1D4T3mOfMsT6p2qveXaipWQqt7E7/vFpdzS75gxMfQZ0D+kHh9wuyaEyEIY8M/fESxQQgF4eTv2k1jN2BHskEmFEH3Goc5nF2fkdy9a0bOzkuNTCJgJ1itlDku9hAD6/8DQhnQs/lfb1NTqhAe/fsad7m7zb8OXpbvUlHz5A7l7mFJ+skHpFlBTuIoFD4CFuO6w0BYXYtABX9x8NToXOI0WzJ7DceyH5CjFHw1JzU1Ps3h/wXlKmDEshwfeFgZmJoIU30DPxpUHrnIG7FGYJOF8IUAlGTQsUnIKfXmzYY9+KmApa2EoM8lnQDnIVZcruBxFdHopw7NSEEzeBf8DvyK7epTrqjVxVhe3NI0kQpeyW1IVdf5wcnKChQ0r+0TWxcrUb1eNt0ko4M66zeuZzn7dBnVfcdwvnwNm/rDRSPxAsMpVAA4/5jFFqKKPQxQKqEFbT46vauGVQCgOHH7R7gj/Ljj6cF4mxS2VFSzP81YsnYEAEp8A402ckwchxgY97cAFYb5J7DxbpGFiO3NaQrTOChmRmGfn7TCWPbyIPq2GIK4ly3VwnUKZoM5D3UhXPtsgr/YQ0MSEekVCj+4RDOSN+zkDliAjYMFpmhM+78A9Sr5x9NXt+6cwN6MPI02NAcUfc/qy1S2loJdBL4ClgszbrnX+5N4h6v0ImTMj1am/Lng4hGWECEtBnwrgUkq84eTHgRIRZnhl7idPTXRptO4MhDQD9bX46IP1/2U+uQjen2pqOiyMnbsnxmL4umvmddZKRBpuIgMTU1YlUywJk6ARh4cJYG8/IGoMU8XCDJafGCz5TSL29j0JRmOEAdHyN1vCS7I+suYw+WQoS0Modo2QjE6kCRu+gcjleW+0SKsHr7WQRpjQ/GGAwGhsswvq2vg3mr17lD1iUfqTErPcN/Q1WV2VoOt/IlR+bRdrkVdIVDuP6spn2rrt3Q3SRjzBH6G/tKRIj/Rh0nCK3FMtEqlQUIScDW2B2wysBXcrrNMiRKtK9czO9cfza45Fx5PfyYmHollCiEQbUAuvP4gmOP/I6/T1memE64WGTvdD3oVIC2sWbUVI1rSb1+WiRC9zQaeWhaGhTu5MCBSqwC3N5Tk5Zv8vPX7ZEjZ8BMbU9wxX5vRUVz0qRvFR/G21zIcDilXxD14t127gKQzgFMZzuS7aOY5+8m3PlwlvfDOpdsQHn2EN9XlPV05LZfdsYeEo/k/kTPev7hHINX6dq/MQKlkU7xmVkj1CNXkaKOmhq8U4/FUwEha+moX1wY+OeFHKiiE8BXllC12HqC3RqAzAy588mqmNmD/EJFHGQWZh+3pFAU1oOgvpNvBa0XyJ96aZ5Hn7QhEP2vh8j8inWMy7PiHQSjbNkw5TxU+TpTf8JczviF8QfY6iE4HgOWtJRPdDufIjrf09Ts75z0G9lELN/NxKJu26XVv5azxvi+EzR+katQk/FLXQEH/OyDhjObx+cVyu7sggpTiS07my/W0bOH1TMhzr5UEexSdk8c+2eImBlqgVw1cHSSLD6H9udCDX5icbvRNM5XBc/DK4NMLOzC1/GGpv5RXPcyStqo03tXjaXHY5ZW9E6+FaM7EIV3L4LcKXrZd994A82qmkFm5+A1LK/EXiA5Ro4GGSRi/O3daz/O/v+XQ1xqpumYgOO7Odz+OHo6JuWD5a59DlWLrRSvO3us7yTBIr6hgNCfFbmfUw4smMrcgUgqeLW7SU6B9amK8L5sn1jOivVLw7moFPRhhs4zPcIAktUkJrWQ5OBBz5gaoGL5v0nPA1cllyKS+aTe8W9l96NVJg1f/SLHt6NH+cNKaujB/1fl03s5EWL8yVOgcukI2kpAXJi84RnUrO4xXFjKDPD1nSAT9G+0G+UnXNaVldOfBKk4zuMX78u/mtm6h9iN8Q3YWv67H1GWlWMirMzPxDpOEY66Cx1+5ubEJbyvHFoiCdT940SvdrsBUp5HUGTb3yXFt/TQEs9Y3wiflwKbA0/Y+E25O2C9xV3TdzDuyu4owK12FXOzJvLulYFT8xaEjXYzZSmpPPpL6QrS1VB77bMfuRAPQ1uisJ9cPE9Klu/s4qwUL45vV6yJB8vY9EckzeW3MZ+iNKjwznWu8FmfS6uZSzKV+5xTRZpi9JUQHKbZ8BwxFGewenNRDU4Imd5Lg+nXQfFoLUFytW1qD3NkcnEQeq/+Jw1xsQbuYwK92/A9oK/yunKK+wa2cn+s9RXkhxDn2VpdlnNnrmE1aZmpOwaUqAQqVj186Rf1keaTAWFusXFN8sFahbODFO6PrHlDCRJct8bJPa0GKkZ2jIVOuwZfzpQSCg/2YdX+X5bqDlbs4VnGUkKXimST6wDLL3Z8bep5PQIy7jor8BvXd27wfoToZ46blVkP6lMy+M9gCveMlbvQr+hw6lSngXNDXmFjfcuCSiskFQwG+uF6pA6UGqj3WbgCD+oAmDIuA5yqhrpdZfeZv8p4CqRMGgl97Dym5SQ/mWjtIXlufkysky7h60LNCOlqiGohWLEhH6TWRghcFTHRAcFqZ3EmmmXwJd6Lvr9A1b5YOAvCUx23Ft19z675ieTE8cWWDiLjIRL9Qw+4zzhCZ+Bo4Rliz6qqJTMO6AYFBcPmfXxEoQvPvQQdrzmb4omlHmMrmwA3kgvErDrxEQesz+AoLtU9A0ROzRMG3O+VAaG5JgX2uXJzf37+WqrRUZrPSjH6BQd5HqJkq0Gs1uMCfffOcvQ+rpzuc3rAYzc+QtpENahM57R7Z9AJMX4RysPGvtf4uDqtGoTuWJmYDnst193GNPNAXST1cST5qOjgJCA0OW3LhL9XO0LdTuTcM1pCWk5lFE8zo4TrkGtD9dmdcD2EFahLmMfjxVHK21SUpDDHGsy4ywMgg3x1f+AFHW7MsuUgdeySzHtVr4PH/hCrUmBk4Fsua0pISeLWYVqafvkOx+jCUwrMDSTPF2cHkjj7EgZWryb6VKV09mzxZhW0zv88da56+pTVHWcpjdVOGtA+TxWWKbdEiezXYhSuJFvOwwWwtGooergOobebf81G4EiWoa8ucjIM/So9yETdXdpYaSNxor2hCZskBm9E/LizUGrYSXtQZXOmw0CNp7t2fiiX1Vuhvz61N5GRpvMGJZsGtK+r/2Tewj8zKXrxRaMAaTwPtVpp7XwCvSaAMZPp1RD2lzIUGyg2jLbRO07Dwu1DrPgxuOrGdqdkWOPchYMcYppR0meTMypSXQ3p6Gn9dshlzqdlBmLuAmoUqRUyvv5xkrAnjtNJbqa/P8teAL/sozc67etLxLONc6HYsors4OsocHJP6tBq+gp8cSegRMW3WRJcuPncakLk8dhRWKqmw+0c0cJMXUxSm/0eLOclwUx2KK3BzujtMJtbJDMwXW05OAHgwiU5OQXTSy5ZVsVNWIeVFg9emLoypAlnY8EOiVcdCw97bdSurxoXOT2Hegi74+QLmLCPQuSo8p34nD7ozsxNsvGN7esHLPMGMvyzTGjPoaxA1cu7W2TwmWNRrxwBzlOSvnRWiQefYKtDApgon4mSntLsH0PNBgPbTfblYHBPCqqC9fKZXMeZQmyt2+egxsn84SbPDLYcTNX1BXxOy6nR+SaX/TbblxEqd54AqGIRWkTT0fOwiaVKCv2b7SN7Qr5Gv8Bpzszi8Xxh/GELHBEqIJ04uz4yrA0CIMgv4B33tYd9DB6vZeZL/ZiduZ2Vf/+tnVMUlaL8Mci3w+6aNPpS6tVe3ansnP9asm/+e35DuXU4oOoUahKtA2vyr/dOTs1OyZyHVOPsRQxN2j5PsLMl3tRL5vqE2UnVJ3aWoLHzau+ulXbE1hnPNukrmUNu/Bx5BKT9CslomsQ9wKI8xFxNcZIj8vjTyUzrAZmZfP0v7cKuri4qtJewk7ZKFw2/19woaKbp26WE88A9V1u7wfbzxiW07TgCB1xn5uN1lQhd1nHccjf0XDx8/mJ/LaJKNsqkGemrFaElYkErVgNAwYtqU6axznDinq4/MymPnYHJmIwIje8eqScmkePHDaiRzPAQTMT6LO6OSHLzhYZlLbOPl2oVBRXg1XfIM77KMthFfIkLorlBppd90JRhBOHFDI+h614uXnkk3VA67JwmqLXuJykuCBjlCpah6PzpM2IvuVlXO0elAUNMZULRqDVscPwo1YIPHQMVdA+ObsdCEK12zrUrm/1Ls+fydjiioCqI5EvuxkEORhL/08PKbFFzmoe++GHCw24EEAfeV2s1T1fK08SuqvxovSpvIL+raErUaqaCODENGGPGf8D1mubQ7s48qJ3J2jp5jmO/PjghIDCKCNuz0WQorOF5vQX1vsGKNYtWZ9KoVn0gdFLoJFO9iHlIOYd/kJDCLDujPQMkcU0e+a3cdTMq8EaDOF1rTTwn7Op32Nv47y9zwhVjrfT0m7uBoGNFxPeOpJUFtT30RhVBuSwIQUFNzt9tTisDYarC8vYs8QD/VpdHwiDpdq3w/OrX69Shrf2oBE/PwSHC9bt8WZ4/MOyCoo66M1pz3b1C2X/hf4scE7M0rzxEHMJRhnTQLG2YQaSJ9j2zbXf71WaJTukf+8H/Qo9+k8gYuODzzx7NeWtvoEZu+SeTt0zSa7X+IJewPtsp7EYZc6dF+qoAeYsQcdT2LeIR4eBewV+el2tBp0LqLQWHdfShFabpTrWfj1YLPzSuGBry4rc0KHcbwXCBw3qWRQd+7MkX3qi+VLUx2oyhVQtdOTH+Plci+pPru07nA91NFDq8604QE9UJQ0G1iUIBS8RjZo5m/NhVHey9R3PhVkih5eeyIAZnSJFHr90RF15qgTMiTTmre3p9BnLz5ETHnV4Q+rK5t0TyG+Y/MGZIsOj4Mwu5td9bIv0pwM7qKgcFww2lB2ZnXrPu6qsHVLPDaMc+SFP5Fg3r97VVjd7880xhyP3zFiOYMbFRfDH+7Nx92N9OxIGAy7FsVbKkgQapzkutV/4Dlhewxh0iB+OoHOXP5ZhsFNKyydSNRvz+PhRcMo7COwSZe03dRFTiz64oxkPb+EpfQTj5s1kpYRrjV2y/kegJs9CaOoEZUy5fW8rPc+P9JnJahEQkF+TqvAhCOIL60PjC+DUNlJ4yCTfdakcqe4MYjyTNiCjWsCNYqM221A5lcFIUtSpU15ioWYa4MCkzM4fd/nUHi2HDd4RmEp7jnfhE8FeVx+RvcnRDJV9hOIfNXACM9slonAX8pueVNFtW827ANvlm/zYNx2Q7M2mPLHQZ8lnGgzECYma4R0g5W81y9OlPvJVgkFXZ50XtbpNno88FesRoKK+g/D4vaSQR+IpdIsap4HSK0bfF7s8guWqv3gJJMzHsgX0MWz0EJ1ZNQf+yUBOD5dADhD2MeRK2cw6A2MMVyNxUbcy0+XJxuS710gr+HTvhcAMo/OWb4681gp3E9nfdCVQeuxdpfacPQmenXrfgRsgNB883VDZZ1WjT8V6dnA4IcGzWblXDS0SLkAWMpgTeYAib7b8ZcFcyyghKk4EwErbbB4GIAZnYN2J+4mtRHyAkBe7hlwP0WiRmN1rpdvuVJM84daZpLodUfaGa5GjX3rqD7gZN3gH1pHe3xlvw27oRnCT4FWp+aK3DQq6UpJjPvzj7kwnz7gxOe9FaqW0DGAIUoTiDyDBvuEeHxkWfQKfHjbFe13LCo73bg5X+3NPZDz1sKIFK3g3JBf9tXzP8gF1LO5qmnq+H8x7HZuFkIxrLL7OFIRJLiGzNur+RfqTdeUCbzDlYoW7it55UstPh8IPDaD9O6OJYN23vUs2EcsC7tv4bD2vjZgL7msU+zBkgRIGfFjBqfgzMVO2D83XJ2DE9RbceNrBRsnCCelOIr9AG59OxJMaEe+fWVjDIkrI42aRWDrGpbKAPZfZ/poS5S46hhOA5Lh/V3X6Eh4UL0QnECt582o8iZa8kVefYYw1PqA6SAi7b2qBiAGsqxKMaXoXw6hzGLNLyQ1SMdxMaYybvHeU+8T3fAR1Op2xQQHFrQSPANkB3KcjN0y5/6uLijVPYrg6b79ka/xXqJXnaO4A+TA/N5dUDeOqI1lifD15/otPxXsjHy/SCsMR3x4zb8tN2XMJJkbQx8L5myaKFNW2ixyQ7P34V/P+Y+vMPdnuRDC+Sd/Tw4g6nxUuAXLNbwIH/cccKbLjX0ZfyZK1zw6ey+Ug+0x2Q3ehAhkxljsOIEVw2njKy0mWHDUMyOB1RuwyOrj9cLbPAhrfgAt/Lob5NXFdrBLZFrweJRTyiDRj2R5+lJayC4+vtCp+U5Ok7MDid9zfuGc5EWC1Gi0jRivgOVz8o+mdiKj2o2FmcJdwuSvCeC8kS9u6yMpft7wS1XEejED4B+7Z9Xm6zMfCm+k7Se0HhmYFzPo9cm2+Bd4EJXXDqxisr880z3bypFIAzj0LHe+Ux8mMzUSexYTJaZOcjiCAYrwpo+l71K/klHB3ruufNh2eZa67xBrvv4VByROkQHJa/++yjvSWSjnb0pGVN9JNz0et7e/BEu3kdtAipOC1csBrBQsN5O2lBNfkh+uMIZ5hpmbQQMDJf/+V4Nqx9mfjkzrzAX/rPlBTfgW0oGWtlYeuadjWM47NkXygiVawV/IgeKGuYUnp+Pdzuu3WOmWiXRET92Ombl47sOwOvIdRVu11+l95BOVe2/RfNzXSQLj58gvJy2mmhTLWdir3i588LbZfyPCQ37B0Zr+d/QAOaM5CS4n/0eLbe+CwIqNEiMKfSfhXXiV0dlETmsuwd7K0XA3YzFBD7aBm7GY4JFzznCkrXD6GrjuHtduIGOEXwcmRvS433/jWl9ZfSUv9HMUzz85WBrqNC7Fie0t+8LVa1h186yRgqosmpfBpAhRvhoGC3N3AZiuyg3eeg7C0tHM7e5Mk5OgSjmO6IHOW/P9eQ29s9zr+85Esj64YChwSqgZh39dQ3bwlWYXcjp5INfHJk/c+81p1jkD9Mo4Cny0itKvV3d6NbtDCwoWvdxRPiIGUDSFyUsHuX/qloCMiAq8KGX3zIn95P96ecBQGc5B9ykyF/D0xjhg2TKoFmDmHRAq0mN46PBBdLZ0ObuePQ3Nnddgs2ny6YF2aeVY9EFeKyxe4tQ1Vu49/w1Yy2YNpf78y1ECU7PWBdCADX55zpCEemwq6NVKNLcQzkSUURJ++ziAP4dyAkexKT+pGKc1MyGCw+xbwdqNn+f05vATlE3a39Ac+61mfazuNrkq2kOfLfGx6V/ifwxm0NQDLmKq0RCBKbS9nrV5LsiS3gkZMUwjg120QlnKNeHICtadOliUl+2+XCAbIR8zk2y2aUA3CQDsgQqulkKMUPwo2SKnvQblZBYB5tPb+G618o5cx1C0XTak6ujAratkPKj7jI45jfk+XuKg1I+iPo+QUavEkHDmg6afdt6Zcfdfji4OMwKxowiqRNSInKRRO5qDYBVA+XPk3H0be+naOL6N3+raqiDyvpsuBhzADzZTVIlkaxVNWrULYarKEkq4QCiAW5NshDUzxN81a+S0cGGaUB/kInfq7OXCxQ7wyrhkVFQwisttZEZGy7uot53biWQaAJhSJEqVTwPOLqabUdspo+q57lSvtKYKlbqUmsXSUkjistdiLY9yLE1KrKjrCEBXRXCodc8jkxDSFMu3RODShE+b30TTgtoatIiH2ON7bT/UkYHTryhMuycxxeTbKZEzanbMx9YUhyxeEqDkCSSWFprtzwnZZQznrcCFYKBGYrF6PCXL9XLCbONiy+LBfGuP/k+OUko8zQZ3NdaNmh+lHWd503dGfr16xZ2fnbD1RAKaK8pK6OUohsq1KjiqgLZrEgqdwZ8bcotfylgfRThKFYj9x2ExoKYfeLapa9ycNBDGQMqflDEffLSWkv4Li+u52+infO1608v6BuFOkPJtm252kj+qTad/mAQJWIeh4ZwQzmNtiKyhUikeP868PXKrcMQndDTfVKnRaBLu6HiKjq04/q4MkbKBzjFaPsXpdd9MbJh0xD11cY/LsqpOHHfm1TqBbEHq1GXDZJyVEZkfkoH3TjDljZX8wso0v+iKuO8qYU8zp6riyQHpXSOq8liEl57o2gNUihUh8wNglRSYol5JljdQNY7+MY2GpropcEds48qcthEwGitHq8MtHAWU4uuYDU4OPE0QhiUGiIZjH2NOb+PnvEAz74Mft5El0bckV+4zuESWactPCYvo1FabignVc8pjvv3lFZoxOUzrO4hkHg29m380ShcO13MP9dlE2Ssq6gol0brCa/Jr20/DQzmuJDXYGPxLAnks0IVB9TcOf6bSD7fsmQSMpfj56dAT++B/qSdnhCSw1kcQFZPvOewBXkNLG1iwzJ0kPISwkj8hu8f64HZgfJTzbTgbElVnH8oSBS+8/h+jDzeHJJwfOHThU7mAH0qzbBZzenfkxIE3iRQuTmcw8JI4i37saEaRViI6LHPnR7qm/CFEymkGGR3xoSiw14Eb7gE8ozGkhBwTduec9pVc27fKuagQ078Zsv+U8EH58dFhPZ+Dk/fZVBwlNM6SbqWlVkyn+Y07hx/8K85G5UkakUQIJjYhktu0sMCfWpd3tU1UcSy4/emXywKbYG33yoUkntYopbhsHJo2MuP4/LJJ7ln3OcWSNdGSm16z/T4O2qTcVVhackOUWtbBTKaX87tuB1yQPbabNCKa9mhSWBh+tm5ZWZCJk/xvrfIyecseXj7ca0fUz8AdCVoGlun0hjp6mBX97chC/Gd8VqIOje0capDsAxvg2yqboJzPHFzqwVh7Nxy8Qs1XbRPy4b8ngNGU3+uM64E7bL3bzpov/PGPdvwrmWVF0WMeSqH161QgvXj6xwm6brK7TbZt5hug5l6X6Lo4mzzBVMPrx9NYXL4Qxf47y6CTqzlmjsJ1fWZkvkgLbx02ZWhqfawExsh/fEru2zwUkjukT/2CgLvMTv7F1pgIumXxsrSqIdugjfdYZzAmBvZOWGv1cFG8x0iClg2pYEmcmW4sUd3x1RriVVUbc1O8GHRXRgJowhfSPSbINFuQ+1XIGDJnEIC+Zh3HHdqUW9UVqHWwydX72gSbxQ/m5YdMSjAKUNzrC0VI7v2k08UhNLhskAPZ3UgREsMET8rBWb2FiNBMDIv20DocH50XHEMDpI4QT1SugUKiCdeCe+QFXoKhMsw8cGJrG8ZHEKc4VSCRv/CtDhcJ6w675WW9hI6SItqCZCck1QSQEnPSFlA78HipVTXlQE3nRmjJojvw52RBlVHOw3D/LuNJ4UbiMnmWpv3xzG6/uOyWABeqRw5koRVM9sxVAqdnC/bojLnL79m4d3suZYY2YclJ7tj9SFYr0xz0dElqO98/qq0cu5pcRIGGBfmJDz0HvRvpFWugI2m5n2BcmrLwmtBKdzX1wKN7nA1lXalnHR1ukK85moTtfVqV5mBMd04kQCr1e5LQoRyBoioYaZ5mZ6X9LFQzlEZB7OyihQlHcYnpIv8hNO2sMZn9TzFVFd48lzBg5/X/5532bjJ+7stb72uNZ6idYKB0QKm6mcM2dteEtC1sZiIY6d6Rk9PWajXvUSXGDz2kWiMTwdydU2J8BifqkvR55IOQuoKbPqex3bHf2GWle61bRbtmaM6p9tVh9hXhjknXgJ+5p644zXo1GICfWGJc9x8R5Onn5nfEDQf1VShLsv6eIKDhn4Bnhyv6Ncc/ZBp/TLWstNznGnAHeNfRgbf7Mw3suV6yNQO6rWh61vprlOG9AYKTtXiMyPTwmNHT/3Dui9HB6riI7YRiptAdDRSRytti3U9WzFWs2V6/r8W3Dj/MeFegXfeFvzJMPER7vx5pQZqAU5GZn5IBfdGsdn+tIzNmHcZgwSMr+I5aaj26Y8vjlbL1v6Z10DtCAeAp18s0jbHpcnZMXLLdAqtqMSQlJzkfooFt68M4eDQExKafCJNeobCzK6f7lREk/vS1WMczMJ/4au7RTwBMVZqedyhej+K67OOi3O2fBgO3+bEICj41IydwLqk5+lujOtFmQMciclfxQuamggeoFy6dRYdhjk1UAD9AMO6wBDnCFkXjqwuCYmqeXOz0IUUKGOE4t4Hpyqi0C+9DoEFWoIsocgRQr4KusjZLxgPj85krTnqC1RhXPfg945eT493N8KgBhMjF4Lo28hZZhSEweLUKPvGHvXqDsmORSrIUiR1xlWiQ7ii94H6LGqM1RWgSYTYCfIcj/8r8XMrBRecSc3pZtjaPaS8vnLvbvCfvcdCK55Lv60vnAnCi/tZwzkhy/ZOv8yYTzxBjyKoNEyq1dciemP+6ScaPDEdJ61X/t294NbXKxDd0V2JWaA2qGKTybESggfKeimMAPOLwJcehDXmylfomrEo9qssHBwWDOVtLlEIC2S5tIzy+lA6NEHHURcywiWSgm6U4KXt8o5dw7RGSuKBhvbJqEa0VUXJqAyM+H0s+8sJmUZdWP2rlp4/I6A9nAXwxg1q+iqYXRmhMfy803KjTvxEBBc9lCpRGViCwbvaMrsp4unq9cbdcZF62uqs/BCNi61911As1bKXi8K37h9P/5D3dgyAnIPqP3kB754s2YA/YAW0TbxbWigAOzRVgde8uuVPEF5FlZEdt4R8zeqzFMv5HoaSvlnvU4tBWAGRLr9XIkt/9Fe297H9O3qDVbCmZ+nmy6Zs4pJTSchwoeFPxJId2Qubfv50OE3wQ7LSDZR/lCVhJm4LTR5wxNraitWd6IOJPopvpo6POUKYUadzafFiWt775ldIpwV1K/Y4TjNdQOb6xS0jb2CXh4BrlRZ1ok6KGw6XTU4XfoyFxmU7Fsa00yrzKRbsamopaSvVE57PMdgA6kzwC3V0uN8TEv1nZFucLwcM7dZcsSZ8Y0jdB1GEHJ2ZpUB5e8K/hBaD2CsaAiy3cGWxwLHAss0iGUX7cXKmmstohn7YOgOGf7L7gz7CN93pYz3/n7MQOMlMecdN1KqF7EdYnbJYOxaS8NPxtTgh6r2n/PZ60r+degsBS/Z2cx428T2ivdZb5ncwpwxpOMS1wtC84/j2ngiZvMnFkCv04SduNB14npYslQJQY0840ljDYBbqUJKp5E7KNWPUcwUP3dXeaCuMSMsqUxD7Q/a7rqUjC6TyILqxK99L/T6PIDebCboFAMaankuJwzzT4cigOCzzF8MGvjqnAVQL7VYS60kVXKBR/JqrurgxustpViwU0P70j6+hJtO3GIDMdfVpxLFKID4FsqRE+rV05pqQpmUaI23X5hsaPS68cGaw4t1BxVlaOjG6gMjIOJuDHEPg9p3vSVIhQltwMnD5ImUtuqe9b7WrjNMhjczs4nyjCEMLvr2E245pD0lZ536V5KvdHrqtWnLc+LVWx6O0zEmWMa9nAvQFPPd4iP4CsXQeoHt5z37Kt1bt6j+I8TBzrucyRadcX0fIt4RVUNrJ9SmGvc/aTNj1ZqbFvPU/8y7Q58Y+lpO5GgMoDE9bQWDOsHd9Qy8PqDw5XSbu02l4fdtwYF3VLye5KK5H6y7f8/Ulzm/fR1C8O8iiAULKhZRzQ3ZkF5K4ignffJR9+ZP0TGuKc8Gd4by8fdVkoL2ZIE+Mglw4Vhvfs2bdRMAYQ//ZOLUYk8dVdGzYtjAIqnoGpx4prdq9f0MIS5jl2J0KtEa32ZhHwlFJ2EbZGdLhXuAWWY7xqDCjGAA6HdvF5q24QXZT4HPJ5b9CVLnGqWC5io8m4RfbrchT1UhBVDOoIdd8Rnd/02GJkmsA/kYhrdBcY+l1k+YNm5mT3935S27h4q8ZRu53+eJL5cmL6l9mwJQOmPMdwpMyejGYM19/lH64Lwt0imbFzTF2VZ6xzz/mGRm/MBp0yOv6jrVH3u9L0VT0XbL8vwnKfNpKhxF+mgQRyMTtbWZB6D6WYCfZpPcFj/lIElCWDMdT6bvGkkxjNa2f2nf6lyX+HDrBLrj98glw6C1yoZqs9a9R8uSUpOtwIQExZxyiZI3PGGepzyLJDzhsm0DhtiyHTVMLOyKWj4SEGyNmQYnNM54S48Q7B14XAZsyGkAJpaAgXS4NvpRWdIeFY7yWYA/sDWhT2voAiR5Qv+GsHVh0plMlomxFvM7SBFmkFAGzTMljwiGdGp8c43X/0R2xvjLMod2PzLBo+YvQZ0jJN6yW8ViV9DH8goBaaIbYDLHj6wXoVQXZDGh4F5ezI0SWYzqBGk0HOgz1iPghNr8dJPENkcjOru3ipE3xs9JuUIJxHs78DNyLhj0/R9Fw+RX6edR+tRp2RySfxgJftZBv+sgGkMgmGq2b6C2qbAFz2MIb83aeD2ok/100zYTi4iM/pG/u7mY8SIN0O7jq9eBUTSC9wtWTFMXV0JoAyDU4LKcwywjnhuA+HoyAv4ReSkNGrYYKfQRxMOEHlO6rUiDVrX02DOV0NQLPaQvOb8BAZgBWUa1Mivo/bzsHaEwffFQHaY0G6QRrewvRzGWsWvgTBrre4Pcr6NxPj4waf3UiX86wZKQ8oqy5OvPexkEsEZHl+ljSvv9QUG9YUuKVu+y27hE69IEET5/W5DoHGdlLn6lubETXhEBOD6dkczqO6mv8NXAR6x+13trkh4XmdfykpTHpqzpWBtfVOE6nxbDbN2+cu19DOUhNDWC/8iQjP6SYVw/Ox6Sp4cYyK2YaEG68rZXGj6NPsy+JQ6Ogp9edhDvYx20bhUrcblMKg3ZaV/wUu1VYUswqtYdiKQAXSZDuWWF6ezwwb3rn+d52KD7/pAjhl1LI3MPFYc6VX6bjI2tDNrBC1s3yWWo+eW5ATZWmQg4O0gryB/aSrpCbjTS0A8yvBQQP+s53cbEOpOjROrkkOquFrsf6e5Qt8oFYcRqNpo/lAo4gOXL+rWH/XyD5eQj4oJyLWAp25vbbugSlDKyeAeI4bFu1dpom3f2PTwBsOXdXl6gAe/gLpKOgPeVmymBZrqPo/xdScBvqEnLPcccUyau0h2HAskBvZqIFUE300Inkbj3Q47GQg4nSxC0w83U6+NpLMFpFH0GI9kVxL/J2nU9dRA9XOZm9gb2eZnwudtt4Ury3r2Ucy7RgrGyOnLIuoSKyuoRTTsMSozA1HlOAa99Z9KPtB48Qd5gE8MFP5r2DSwarL3wKwwweFr/ddo1ylb5ukjGBKtYIueQemDl61GWGaGwWXPKepp9Zd6YiCJu3YCISQIDwYvegjCtxlRQfZQYbCMqZxkwhvIKCy6skYb2OGcveYo5ZvcTs8GbnpikCvRXAW8RYtzUOygvUzi7/wow+G98s7Q9Op9v74iRX8BtyjAEetyGsHzBZGK/IThP6YpOvYmfusNApRStAW0oHlDrQDbvawusutoU9GIL4vFiHKIfz2IUHOnBgVdDIes7npiWNqgAqGYSH5Ui2FmLbtOCZmKGWCJ68Y0L6GrDqEShJEu81X8cUHPsFhTv9vsgEAlNXKuJEqPcKCITimPkGdsjTuxAlFHVWKk9xw+gR4s768ithudcNeMDAYdgIIrRVJbVPLKkRnpVLawRGs8QGw0b0DaNuZLBgNfq9e64ea58bNQ9LJkQ1uBsggV1f5nRoF3FUHi+WZRiV5Zheiy4jG+L9j/KPXOXZfPB+RMg+ly05oio9hgrEyqJMZyaCXtfxg9+ham0Xfe5Ob+y1KGjwf3sFSmeoXKP2i46QCYjScOM6coWK9YY3vqD5Bgga+pxUU+CAZBVPK88IPtHQZt2km1nkonI87U1H7CqPzGvFo33L4BYVFpCtnkKR2CA0p18+KrnXaDAo1iLkYZItzbjmNPRNmuzsjQU2RgmirkwdcmuTOkLRMTlNZcQLHdyxTjWnIt9cYqt0FG4t7adXI2XGr21UQI+JJ4kVUGwdWiFKUWZSm53lXE0w6BHq/NokSOo4ZrzV9gfIYQhHrn+ZB7DoLKpOy+I06c1XGqKEAMvCu7UiQbSVTJa6TXIahyfJ7vABd87VXvkl6wE85pF4h5G3uqYNl4YNE2AxRvohixz+SmiRyHwh+HG9//cYesxnb3xBVF1ktDc+YYyiwdntiR7igJOzb2xAKzjaMa3XXbG5oO6f2sdb0rvU/J6IGFlN6yT2PmtcIRIyhSi4glEjKhzo2VPITBEoBhvzVZ7/R8H//IMjuSpJ3r4MrI583O1at7u7Ym7XcWNJfwS1FLNfWBdqAGvOd9pQMwUnIRAPsZi62w8kDCBeCE1x22hFtiSgjP8CYIRspetvIEfelZLjvBFlgHupcBkDcT+Y3cYqhSsIMEwOt9MPRhB57cZgZZ8dDviihNgdH1VtD+VyC8Crtic6J92O3MHaQuYdX91ajIhftowH9E9E/E7IIDfI83PsMRLVeJT7lIpNhfq7m9XVBpMUW0U8zHFHsMk+42aLQQUgajyRKrpqE8AUQrI7vuXy5e6Xf2Tsb6U24T37Jkb5NWzIfqBthx/PtKFdAk6RT6gX6AMb3n0OZdDB+hIvQ06QLy/aTJr2k+bF0XEyu1jtnUnvBmgeYzviZYjltNETFpf/2oku9qjGIDP4jXBNYnFsPb06sv0j45M67wwc2g/jyJnsacCHOpyCA+UpHeNAb9+QGeqcnqqazmE/tb9tfkVR95v60wdlCTLuxCCHWfuGSS3q2hlOWiIVlQqur+V7fRxAbKa3kV3ZGIQhdBZPZmrE9yYGnWoOBjcfjJiRj+MZXH7wwDe1kTOkSyO1GfvJRgjtlzE5s3eQRyHNnkJyjKEObQtMJl98PVM04I7LW4A2X4RvoD7d2rNZ84MsUtQfkYHv4RrvqNPg+rgLrfQTJc8YebafX2KLTwoPSlC7DKZYYIo7OKSExls6BIOEOzk9KJ0Us9sbbZsmfrWk0FzmZJWYmWLZBvTmCJbXCFab/XxEcWVxGdPFXDUd/BisOpWsNQ3JfNMAXmSM13p6+PIXBOndA9iAxbIbRYKVzRxCmNQW/mk0c4z9xlmj6IQRly0GZPpTuHdt1Ex452jQhOrKyPmF30XLetWbwu2cNEIpcL7N3TtgkvHQPBjEhFYfRNX41Ams60lblTuYAuYv1k8EYlcm4TKbWLM2BsjIQ+fri/OSXJSTEaXDsQHMHkcoMzdQGNIgT1PmW+8glV7+ZhxJTpjuZHp0sOlwzQXh4OfyTeA/IXnCf4DbB2b5xI7nKJc4xzxn9g1m22E7QrQ6+3kYgGS71ZQ4Ou9GXA60uGq5dS1XJ97acmNGwY0pTbkurBinnjzRn3baHuEQB2+n2GOHGqBnrwrNyo3Bp+9HZ0p2b8Sszt9Z65A269q1kEXkrRCG8KdDvAuaYa5C9Yww9l8rTEQVH4w2tRf58aWYKXQZ9nshjuyeJHpNRN3PN9TbfKj/KtTRJMYLVsBgDud283Q5N5lmun/JwiJFYL/+V/Ce/8CiUc79YeLGWLcqegtry2OTzjIEeIe0Trs0SDE/31nzjYFAXZIF8wSVFtqDKxSQJH0MF5KSvaNK7Ya3UqcQ2VG5Y+QryejnETQ4iKG9bIdCvhAMiGmYrXSrP9STtiACo13uKwaaTYUV8uj8nw6f9q/GzSaJ90JmIWWv2owrJzr/2OcKeYvk1nDiT6sxMyWd2QEnGc5TS9g+5Ljol2iNe3TpfNKbSj1i4brEB1iDyX1zYWpcYagJOyn2di7kW/VUqWb1mO3cS3+992Dxpq8+oKTGmiEFAhys4qdtze6IC9QYix0kzthsO6ovBu8E3V+5KGzuUHrqcpTM54MM4UqB4Lr0Y/HIMxvz0vkXoEliIpEdo+z1EiSP2UBb80ZXryEJEA8ogjRDOq89XErnrVg3BrcndV4LZWHoHzCsMDSER3lmsSU39RMv1//87QRadDITTg6+nXbTcMMx/b2cdwdA4n1Z0Gpw4cs7abj/6WNIkIvk31wIYrqwVlHyWvn7yRSL830DuCh6fqtynV3V5NCe9ocJ+6okBCZ7rfAbsZbwOGpcARwx8ryF/dTUYddsQl/UpUeAWEkRoEp278hqEvTHIAXoZ5a80aowlTuj14I8pLK00Z6xZ+xoKjZn2+lR8jL/KVUrtMKAIW7X0+pIA+apWFsWV8TMSNSEDdH1NorhbuyiKBDcu+ozPqCwWCA6vZYU7qK6CRpElwbxeTKQ+G8WDh+jTHXl208t3P6+nyCgk5wFs/Xh6pX5a5NFEf/1yzBQkPNC5hdkw5b2hWE9eVBMsB/5uOIyuLIFdbzsK19bJ+KtJWW8PR/tQpTb0YThoQ7qbjaOk2FhSl1QaIQFG64WoSx4mBy5YNa4jEftX2CqP2v3rHfeNwU17BUh7rz1v/e/rk1BGgLZUPgAlSkR1VZQzFPyHG02MDIqItLtAUsbQ/VsSuqYoJjOFeZFQgPBIWra/gnV7N0r15RZFt4t+ee2ijnrZC4fV32TPcNtTHdwhUt6P2Hkb0rny5VtbOtXCWEQSl4knsIeY9WHVC3OJJDD+NTGoHbsUse3pyikHqmRUQ9UN4kCm3tBep9w9oqK+iGYHYAzGOPKd8jswgQZEK7RAbT+IhVg7HjTYfq5wqn7gs6hDrip+efnfj6hOaiIdr/lcILDPs7hYPKFVuFN//lPhjDZcfjVrQNmlQxaj6BQZX71ncCpEgYgCKhdTraHoAgbrRB0K8Rsjmql6T+tMlF5QyW4X3ABAp4nZzAx8SdmhiBZRoxJwCZyYfr5/jfqjLmkWmId4ixbyxh4mQ881xCum0LVbTRNgDz+A7G5NK/BHqiErE/CUd9Q8NLKhyaZCSC5NgsF3Es7xo1HyXI8G0ZWzmQDW5nVccC2sos5fXLyd+mwzJdUr/4OTxt8dVwbjJtgVb3rT0kcN42ZvB3ZExJBiUKPWW13PhAELt0ON2eDgNh6tuBWfHMElCBXbYgGUtSCYlbqH14aArvkFgp2qYIwEv48rVPkLaU5CwHomck6/45AEncUfKmrgxnabmz7uZgP5voe/2tQsoglxpJCcPszrgtYjoLLxHxGdvhdg6ffM9EZgucrDJKxcx0imBmlM3fBsATXTHTX5W1bIdPAs8vLMy+8MwAsUYJZRE6aZR3tZTlsJGic74aZCH1GJmyS3k3KguVDJ2+tHza1h647B8WEMJQ2n/wegm6kcMw0iH2CFq6MlGBmAnYb4NIZkY0cr4fcwHPLH7F+3QvID/REJY1sAheGiqfy96dyv54Mxu8scVY0+RKEq0lhsureys2ovW9MG7QqG4NsXYo57MY1ZwiFmey0amkSmS1sVAf2ZfiRkmnv5njDSAauUG63m3hJEmm0kZ2LQrTrw2q9cc8qxkINLKP2RMansC8pF2mpXpBIxr947MvqZn4c0jnC+tvnZzL+Oq+MFBLRXM+7U1hmHGsaO8y/AvCGy49Lj1DLp1dreyBG45c95UCd+ow86gJ0My3eYQvyOflYSuZk58dhaGF+puo8/97J2NjJ8CQjMMPIpBJ6azr9EuKJ9Cqc8YBSUsT9EUFXhOgeZ7gGWT9t1k2xkcZWutlF+c2gCg7kKsfzr+Nli6hxvAr05kMEm9P11jVhh9D4t6YI/Ip3vgQMdWeVNNBWfdK3nvyNROXNNOhvozQ9ELp+O5ISmb3FJrz3xsFSaSHn7+ms61iTMGa+vcZz3+3rhN4ZV3l6coCQFuR/SYJoaXe7ZPe+1/p5hAplk9E1FM5vGfEpPP4zpXD4i3lVCFXgsA6vTVjPtORpJKic5SWc7vTT5tUO51GFJZt1f8hjkx0aKxAQOkmVHag+pCzV1tpcDDLkxFiTXqaFEOmYkdXIz238BS0/W1I4EsGussNTpuplqnLogwGwpJ1wHvY0HFwpLJtZmBa3TfbHc5RRevoEygGUHiSrfxAvxP0TR7ExrRMy4/IMoq7NrltIWcFNqmh/iRV2zcgsYnxPUK7D1U3zJ902c5NSunXmzdjXK7C2C7sxoCd4jqzeoHPhwV4TF7d8VUsriD6Vm0FWkZTHRIfYremMr3LfmS+POK0Cnz5BcLoG8Ze9mKasUWv7mppsfWt82/39FlKEieHM0QHH845aH5CXCNYpmkzvdAxU1ldf+2oQC9IzwRbpjwSltxXEvShe/zK9iKtbWldP6HHX/Ukj41OyoxCYIPB/W9cHA2WA4ZZyL3nbhIBlJ1muKau40Jcd6ku3b8UXmufYZ4pgsioTIpOaT0Qzu1aVyy4gOsrN2OKC9mlVgEYXf+pRVeNojdvJCjV3cq/1P26ehsZOl+BGoT+FB4nlifNWZGoQQhZnyg3z6uiDpyz54cgxE1NruRS2edLdSQWWrcwI92V/E71PUbSGOgJZIQyspbhZcwGWkR4T9mFHyhO8JzCP71J3saBSaCot724L8gbqfxcyoy52s6aGAVxTizsB1HSKgcTSACu7IckQM/HPuRm0dsZnzo1qP22S07iqSknwd45dYvwkhawazCG/Fz4bgXw9+5mAJ7ZX3JcBLmp19vSIIVLxPzX0bFG1qKMhTQ3xJOk1WNupNON7nY10yemX5lot1ppZn+hHGK02/r3GJyl3X47krQRhsVPtgVw0sT+jAt/tdfErSfLaa3vawUFGe/h8QaynFn6tQVChHBH6msQpyyh08+QGcsKQVEcEhN8ohCTJ8cnOYBBgjiw274AKrbZN5mjHIsRql6u/Bg1u8+DG2uva74VUjkACG8RAgmwgTUFANFnXYGf5VdQy99ggVhMXqI1Kec1BQiNkEnl09LjmeUk1+JSSIICoaZmu4Ch6w+S9tlHpMPZ3sCbCDppwk+yBnYoX3PfOCssWzsys9QtDQt2547SLzeJEhQKESn1oi35S1xPBLrFOR7/lUJ2Tzt0tCIv5Aj7V+EXY/btd7dyryFAeZX1vTlFon9Gou6qBh7sJZL75wFv/UUrfRWLasxFgxNej9cC/gfEX18BJvdM/rgJNNo6p7Z/wXhUBjXqLUuKns03ykYG4szpRk0TA5b7l7bzyjsNranLm50XRmI01uHbnmVUSY87JazYAEZle6eV7W/KGmTqDXR/FwCMTzPL/rKNRKsG8yXlFq2n7wm1odGWQEMIZ7Jm2EJwIB2ZYEIHnsINuXk0Lbrhr2gIpkF2aFh2qD1ggbhSt7Fz0qYnZ6k0MgIWAo586+Jks5Udj4PqdSkZcRjHkZ4frrxjQlXe6hyWrtdrub/QUdxzX/EhuJcF0t/UbA5b/z6tIZpZgW6UtSHNPWn0wKnjT6GTNzgM51pETw+JWda9/CKSPDtz+oLstG7ZkQ0XQB0Vdz8G8oszE9fnpJ+mWMbnRP82jBAET2IWhCr1gPrfB/bRHbkIEJKAKHhpXc8j7vDN2eDZGm/N1B7JY47Vl8uY65eXeFWlJnELOtgrBpjXHs4naTRvqxW/03v9lCtyk4oOVitf2hwcho5GXm5cXoiYzTeujwAB8SqU2puotwK0Mgg/G/6jokps9hb7//kViiLvyID2dkuHJxZelDW9W4Dh8NCcFzMQpsqxq/fWtaEvAGG4oLADUwznkGHSJlGJBQ5Vi6FQQll9BrwDP8iS9PFyQe0gy1MqF7BiU4zvpt7qU32urqde4sdIneeZOkoKOwLbgggRMM8YTicnm+rz5vqp76pdqOZ4Nans4Bx1P93YKteMnyCcsMQb5gSvoWRfe93SFiCDnCl+j/kYdxstmzGUtaka2Ju4PkdlA/YjYBU2CdokcjqusE61YH5yC+Oju4aZiLpYQ+xaE0qAIGWlb0bpD1v8Rl4PZlusbDMThWuQV88BFdqRs2vSQd8VfhQZysjEGRTJCJd6rKtdwJCmrSxOMaYRgCCi2KEQfExpwRwr1yphSD6OcI7cLiVVSvFR9MqU4IkuBRJZzvf3rtoIrOJcE8mIoB7QrwOKJ7G1HuH0jylWL1/a62BKe07V1eJEhUawnAn2cvL45i41ZQ46ur6cF8XiG0Q7eRVfWyMrwuYcopqb4HPg+Oxkh+wBU0cMVCJiKHp/b2miOR0AfD0fmLQipfM7K5qdABQv1hkupQibgO7lmZnhKDdmfwqqhTjlQniBJuMe3f9/gayDoFCDXyUKglFrBTPC5BO8PnphbX9KdtUA2Ocg5ON4xlze0cTCBffm00Bjm7GmG4h/XtgC2+2W0yLYy3nmFm3/r1x2sBTm3GkvRvjaeCVA/K1PKKngtECHBAXIXV4bBojdpBd69lYcYiCB7SOJWBv+QPX1YWT5SzTdOq5Fl82sdspcjAMKvxaZ3BO/8qk8P0lmCZs9EU6Cf5Iw+sbTwLj7/b5VG4+varIwniMI0lKf6mOhuyf24gQU1ZkjqXMv1WoWCOk5d6Y6Gj2GlUed8V58S0UIaFqcTJyrCKZmUPmHv9Opp6llur3bRC3uHiqKMjOFEkLQEdu8IiLM+RMJRAm+feuesBdngqz0EG7o//1s3Q7uu6i82prCquDNzUScDvlfmd8/8qkyRatuTl73H2DY6/16O8LpeXMfSyPX+5UHO9JsL2z89vu1bwJoqvJg1y9n1VGO7dQKW9av4f566DHU5Sd08HL2WPYrsB4eB6Hpwyg5O5FBd+w2EfMT6md3SXES90aeOno/HYSIy8220vNcIdPYCm+M4t4KDsBK983mBPpol8ZqdXEVXCnpkbxt+bxtxqGEw0x1Nag3kREsRIJlEACLF1ZsUNckkgrsP4GQpMtmO8n3nsds5WEj09xy/fKyP33J272ndXXrzYVKrIRX6Ni1A=="/>
  <p:tag name="MEKKOXMLTAGS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ubs11WMMKQMWY5b07L3krsaT20JD06MnQKD5tJA2hZ0y8eNH59O5xkHMShUFTOWejkJCOFNDkvRytWtY2nQeAGVjheqG814pqcjBHZWOk+/LCvotofzyX+w/P5VNBDYdHiUElWEsNZlqr5W2RJeelB2+DeVHw99+gXUyqzIp6yGDMZNqZyhG5pdB3p6af4aQdZXD5FOzPS+NpLfM/JC0ZX7/yfw8o7Z+gx7UnN5lkAUbfPizxqaVfki/eDG3EfLRwY3F6GDB688bWu/76dxu4NFDVM9SLyPtX/AWQna3tG0rqD/lbFYgY1GQkQWKyNGJN8fM+seuBeR7SZFtCwJqoKzqha1f5QVagtFskqAjThBR3b+lhUmbKxd2P+JmIy7tOtedZQKqBqDFvV8lzLMrIF+fkOAHDcVfbyNrUPAk4HtGsHF6GsvOm/lDnMXeEvSr5Lm19Eb46HkBnaTh+kGx/Xor7C3lSSnyH9IB/TlFjRYsmfgmoMMIjBgLPdyfaTaMkcESjqSC5n0NiYdvvC9mMYdxTxUmfXQTelHEU643MDmmispH+8AzJr3Vnfu0gAhfxPxdyKIa9X657PdDhMunPZzyJj4jnWKk8Brp63SFXlIKr8WA9uqQSTXP/oDJapkx07/JR5+pMg+h9bqh2EKUDWQhdREpBz0GjORRb9NLWMNRieXqEuCy1aMhi8hvlUs4POipcgybmysnC9Su31YWEJmew9/PkIHrcxMbdMpGvpdDaUELdBsCXMd58JlP4Te/Vv9u46XhCdGNEZyozEZnXz1sFX+Xs5fJ3gJu9drhk4UBV5nHvxgdoZ5+YiHy2yFirZ97izJD0ctwVmSVXJGDXN/V6GOXY6eCCkW56kjYVY77dDwtGiAZYhES6bFIGZqeGCZITI4S4kQWiTTEfUHmAAgKsEBZnnNztbhwPGiyaP25osJzj20XeLWGlv/49rgVHPt34+6+SOP6MtML2uZdDdt5XuoBFkTwSgIb2xmaR9FSsYx2vot0CHwm0QO1awbxEoSuwwwi/Nk1syS1YISFGCnsTjuTVkneqixR9bPQm47HkbwvlF8aSM5+lfDha18V/Kh8x27250uEJUOisFPzokM8OQGODQl5KQ7qQGHRfHZzGTayBW0LQS7FE2nT2bZ/xGWB0YH0z73OdywPy4SKpaoq0Ea3oI+Rdu9qxUXRT5YrqieXhQZz4xGpG6Z384BE7tO54rTtV5HyPIc9JQlHqOct6sj0HUGpKjNzJYCH+ZsRP8H2ZJgPSmjbf4cxQpiYfxWmUbOx13/OEiOA6oLQ3YhS8Brr2fymlJhyut8hXT9sWrmnjaLHoM4/5/1/A2pNyRI1ZfjhDZx50YMZrxuv4aOqxiK9T/wPvyYJ3aMflnQdwtWr/Foya/1CdZNrpUhNzzIZf1uACiw+W5JOe7ECXU/EbA/ns6D0rCLeNNa5GpQYnyXRcYbmICGTAZ1O9ms//BW2rN4usb6oFg5GoBMdKDQso3yuZB+N2YosdPdcwWJcNaRttS43NEd5XOzc7SPydFnC3FMIFRNxGmdBZPsjC9zBmg2vrYRdPWd2eh0fwhnNB2tSp123xTfgrB7uFpVBfHNj2u2hBqoJODeZ5pe7xjsVGu8UHSin0bCIwmxvDnnpl9VLxvhfnzEyZpFoR+3smZbr4iYW3MUZ1HVNetiwRmDmSVQgjEbddNwLx3SKiAvB9aBq5kkQGLRmstYR2Y5YaELQSxeHqwUNzw/BU24NfxVwmSJh7wAwwUnjtr/rTDqw1waTVqKO7NrR3haU4Y3/b4VzIuR7yNteDaHgAXpaoVeRuDuyHOJ7awml0XeZ8/TA2+xlBl+6Df4J4z/YfkZxqYeRrOOOSUthSA8puBvrEgkSm11FzlVEkvpKjER7BH1TXHw2GJStJE/dKPD7j6yckCpMs1+Iv3B/xQ8ytqnz3JuGWgWAANFOnP39CnhEGljBcoJeBzvhEsy55CHoz1SmKysakj2BdrVRFB/I3AVAgWsFMtPShbxl0RuX7tNQaJ4zJepZqUilUDnDpQX3ZhjUK1on77PMZ+7tI+ZYlzpD1Xg7JxAxNsG9yJidTl6KESbmqpG1d25Bb+/L0CJef2lNJeHlZekJrQ80VndCDvenfJYoER7vtmkwsaPb6RWsdu0FgZcJ2IH8JrE8WxJZ8RlI+8pSfNPhQA62tXzLpeBxfW9TQphs2ccNoaqVMtuF1ir/mFMVyEQFlrSCXANzyo4TWrdY9uDnvMjZU04Y0+Mi4wt1SkNqmSlwyrNlxRQHASS+7gccB+icenTgPcf9LyS+YNcx/TuHyOk/ZKztVKwjqiY0wnlsIJKlICg9Eq2F4XI9MVt5ZoZvJ1myuC0aPMcDjg7YrNM1FRYQ4ZcLu2yyYMrbg1agxU09UzEhFgzKvIyEJqo2lxEKRXLJUQ1xWqDRyCnkmulzjt2Ah4yibRi119LNSUYIXewqfTZMOib5k6x0/dHh+e3CHn+6Z5sp/sr3Gt0jPbIhlt9g3bKUL+vZAKLU40P3pWYzvI1FRjRY3HaMCa/fioSqweuKC6dk0cmhyIle1b25swbpGfQxSlXz4xR/LnlR7NQkz1wP13LZungV5S8+D8bqp0b3g0LSkdMsJ/IBQL1Yfqkqh8O1C+WZHpu2pu0/K01vJ++D5ukVZizeTlagF57ekfk4pQ8Njg/erjgO+NGYQhP6LbkCNcObnAdOC5OkWNN6SxoyC/BInjf7pb06jXZ/3Du7tQx+LTBmimkQZzcWzK9RLBjOiHT5DSdgyFsMFqfbGgeUV9iilS4Ce2viVCGWoS1jpjgnA9/L6L6C2mjC/njwYte8YIiJ+EsJrQAAOVFJ4B8yYu+lgj8PqO29Ou/mVyM0rYCb7WIiDqt9CI5Vn9EeMmNEmbOKAjareL65K0cHG4MJ1Xm6iejA2IYas+eZC03Ntcupw1T91x8fTzjlpF6GQcYZqEAteT5v0SeVR/IkGtyWGujlNr1fiXn+Q0YhyzmOpRHayA1OKzOwN7YmaocRMvXSCdW4l4q7aJhqMd90CYmPkEg3Kp8EusM4/xUlScfghxdMteGNXfNoPTag+A4Cr3cRUeXF7zZY1+WjdNRbF9XsiOTCqpzk+3SleoMLddAfWKXTgnZiXiA8E7DajqukxPtuUbHNjFMzVaOlfnsRZjbEB/KI3BThk3q4UAgt14SFbNt8O5fRTrXolVeXjb6nQ9TK88RtuDPeFnXwl78Q95uoyuXLbhvJtwUEMg3xYLiFGtH6u1h47OMdHAfsIe31KI8d66grXwCO8AMwSy3GgGdnvNmH6srrpioIkq2/bvybjBa6NsiGz/iXy83EYKbWZuMeGoIdJJk9Jbjo8coFkGMgWk5tsH24B3hHJbgUjY3m812NRKS1Mf4tN8STVNmfg/mEsPWlvhZChUb7CzG69M/HHPWlufOFI+N8AFzC0RaQpT4gFeqsKKn49qeBK7lYXqQMPnUt/lg/q+3SqsDgt+8cax0avZP7qxmnOTpocYoMFdfrQ1pLnWcs4z3MPyyb8logoztEQiLQbd1feiHf0n1M4gJgikSBPPwF++UW2YpZ5G+MZyKOs38WTauCGcjm/m8SHiYvPfdkppGK9QG1V7c642eqKu4v/G2QUHbpJj03OxUGaOWx4ZwnvA2xEMm7MqLbJdZt9ozt/lEkMZYXXkauvqKAL93ZoTLwAsn7S3yrO2cLDVnbMhMgi0e2HJwbJX+TLeKUpf1jaxEaJR3Gxp/mqC/gtl5MwPmjFNFAF45ytyVoHM4Sj/9YOUXOiN+wmKPYhs3QKbjRz2cDBnRU+YeUodt0MWFP6h5NdHWk7TvBBnoZXeWT55BD9K8tB15yV3x4Pw5zyK0qI1gzkJ3i6Sb/blwmJ6Es83dyUm3rb22yIQhj82mY4LJhhBydQVpiC6C8nr4fZ8dkAn52o11/AkLcjxABD5LjiuJRRzBYyhbhg4ieDNag3bz6QtsVt3WAgmIc4IlISelIXt/FpAh5FTyerwurMR1WSG5F2AHx+OFPgk2ajvn0Vl4vH1xnr4J19dCUlq0JvxIv7//olRvDv1CxlKNdh1CQoAxc4N7KLyur8Ubpvs25TQBZbHug+s8B7srYgcO68hQq9o2YyGMyPo1lvBLnRHrMyPHQ+veGmdRHB7ckEX3roVdQaQ7oHJKlMX1ItCda6QHhu3golrqmijs4qgtIZVWh74DPtUKszimu+3sbe1vIqQSSt2p19VRU8jVv8fIxvsyZuMZyzcGC6KskbBeWK0G/eKrrFat1/dCVZE67HNJ8DP3T4tVisVG+iEbf8tV4vvnymcHqWqdt8nwUL5vkkQGkywtNXUdQFs6En3yuCY/ypyofJHbFc3X+gx4qFzzsqaSM+b9Mijq0Vr8aIFgzp9zTXXDwjkEBZMMErTJWUm5RhRr1YoDtsbfygRypfEUWwzakxDxpkpVcR6a3oKMrf0NBgIA09rxrhoEd+xIKMF6E46YRfnQApnKGXupW0Oxv7hqcsNph6RZOeY0IOFPTFW/T5ZIN8UTvyoRRzLa252KWITf3U1P/BaK+t9WWo3Cbh//GLSqDFETE1l4PpdDItDcOYullTtfMxjXWukl8NLBxUyVL8KtpaiZqtNxJVxwlWtiGJxo8LQ3BV0TO01xCGUWmV83v/+2KjJeGaeZR5j7ify2tibK7ao/QTAP2kPkKgR4nHV0OkFNCauMsFVMw2n8MU+ujZLPAW2W1s8AEePIQmpF4QSxtNCO++aUcWB+mubkVR5XVWqT7CGWgi/+LYcsjGU6RWdE4QhAzF34HIDntTWie19sWm5mcqQr/AssUnxLmfbItTIZYIP+EloFlCwsZTJECJUNBsZlIlDkOgEW7h35z2lGdUnYwE6dct5f1S02e+O1JHVhM/pKYn0b1u1+/SIT7dIQ1IkVuOiMhDkO8iTrQdQUY31T1NcjN7mNshcl+A1d1mBCbtrkQd77AejPa2IGL2egr4C2nnnkIL1j3aIUqtLEVx59w2H4o1hWlJOtOKhvY5WkqDFausagh+9KDPeCRUPcSkcpSZOxatlebEaAualQqN+gZNPFuXMKsdLcZbJJAMbtqUveqZEFVeD0aPSeh9oLlZ9Knuw+oi0iZOyPesZZylqyTsYvXgdi+UIImatqMlV3LDYvQfRte2E/M7YHf5aklU9mKhn5fEJ0TSDYWMj62YIKn1n9Gn71ZCdmmgADnTtR8b6K2Uygv9+AdbVwRvaAz7iYorxou5ZfQIu0nxNB5j91TfGQ8FoWTbvYS8yLbQPb1gvnVOYyFkDuzUcpr9j9nj5Nm2HqGWjzyu32fr2xtZY9oBSLonRn3NHkPKT7kozjdLaSZQhVL1R9qsXVt/Qy9ums/hd8MBShyI1jnft10SougGaeYVUG2wbN9Fv3y4NPrr0LQriy30LIlqPOcOH5TJyPmQ0Sz1FhQg1mHMeDEpNHMbLh69n4bv0x0NdWagAP0+X7W2Xep9PrCEWozi6RBM7G8S8lfSi1VMPADJTH2gJ9ETdNtcxNfY3goS8CqEvJSOZFAqKPbQWYK6uuyF/h1Ph9vCJMaR5Xcg8mXrFCPvWPmnkgHcJJZMQdqfuPAgvmNlxUnoR/jiKAxOudwe1+DM+w7Bg/W13271VtcPX+ivqhVTC1vIzlvG2PzBrrUrj9ZLd1KHEEypLS/jFBNjuUoybKBshvWwgjnO7jjIoTMQmhO/EZqMZSQWnWuHzo7NczbmoTZpAS5bWyhayvwZ9uBSwHJoT7hQbShDZF5iCKYFvWW0rOAc3aG/SS7kQV3QBf4L8zPRxV7HPebwh+Xu8hCZMgg6/mq23WpYmU9IWPqrzpvGQhe6BkMCNL4Pk+oNKaPVhJYjLObum3SeQcCy1ZMxZPPt1WTvhNd1sujDiQ/lbU431w7KgK+TzrmYFlEX87eQsdXZ5ST24/3HouwpgA7twVag7zw/Ra/WD215lq9VOuNdR9uy+KrCajJOQjoiGpUrx3IrzbLPajSktTK7/aBlPEJe1H+d1DYzkZBC44eZffGxih1T9wR0htwGMr3FxFBW9xohYZBN2nn1nVWzWp6uVF7wuz4tiIir78PQrAWOVWJ7WR7eDqCVLmeLVd6C4DBuJVr17NE/92vnByLW12x8kOdhmOFKy7By6xB+s3dV2xpuFS3RevDs2hBYdimRoIIZ2vxK9Z69pQuuUaCZZdXEhw1B5OQKgoK+DGRzsXi7C1uKMDPS961iIiDT4Wt8MHNMlc441dFqGzTUCcjI9TWDAvmZs+qbkRBeu9WKQ6XIS59kLSLjRMo9AEh5J1y8I7GKmi9aXbX8aCGm9OGG7GgbwRvqYIAYCck7l2PgXHN09fAft/44AkJw1ZFZyFXaI8b6MhBIVPraw7o0yupUg70iYWrHQur1Sbak37kaQF//BinpUksYkgdOJRTKrEtERldyj/lDuyaeLz7tzngDyq45109jRgfHsOV6m5Uuthh+2oAUdD/f+rADtbeMTDzkd02SD3EF6pql0eRPdfScvxxHVfaS0Xovwjm7bJGhiiSu6I9QRXh7YeFVnUthIr9VyF4h58WluEl0gDsI1zqB6VY9ssn7idwP1PNuyX5q5+VNTiMPV6Kyvk1v7VmtTgZ4fdj421zQvuAR6b5FCdIx3Pr6pvMZVNetaQ42CEnE291vvFOtJAFUFFRDb5T+WD4moVGSDJQKJpJn56DlxNqVUfrVObde1qZN1uCJjSj+TCAKJw0DZVLzFZ0M9GOk8z6BdT3B3OFmitGLFrBYEZPyk9oeCwo3+zLLNmXPAxcSXASZl6po97V2jDRrvKC3HQiTYozudL+PITouU6uJgkh2p/ZV1PbxeDrlBRLkiTqFEqv1Fr7nmAO8FcZO0CTU/T7vRIlSULLcOUIPi2fNchsTEAGaY6ENj3vLyFQ68o3sion67V60rWVb5Wa8S51iZHVv193f2T/LByl9DVwanMbqHeGhJitOn2yoiPTm2LLgV9ef6T47NmD1fuOga8A1F7G3rEXDg1hX8Hq8Trmm9Za18I34i4k3rAXwndyG8KUhFvFTkgzNQ0R7FrmFxnCfxcYX+0rZ2PnoiITwKf8Lo6lM9/VVCdGkxpm6Q+vVzus1NpsORkraevRLq5HSr70VoQzdUTXCASizTjfB6RIKRij7v2dZaiYbY4poYccxPT9041vJnnfW6bATsuhAvKbKCOigKpTa9MoOGTWHDKXT7ZiFeFama6CZS79udlsyrJbZAiqLOepsmxBNnTxJ7VNU0iAUglkynR3vd7ZCjCWWtJEKSlJJ9o7JH2YrfBIBRFzWDtr6DkfPb9u3Xn+V5i6wipfPz9iq7+S8iIjnkboT5nZWFkfAxM+m0/P0TnWH58az2H1EoPAtUD3t9+sKSGlyYj0aWjYfwTPnMFJN1LhZANRFqCU8Cz0851Cdntjs0tQke8HDJS1ZGtjfergnzZTxXsYWVzxGdwuVgI6lDcOnxHADABg0oyetibxUh1iZFYijY72be6TLpeQhyFi5UMKlqZ0QjBvHsed4mn5yRw7wzGFdjQhIYQgaAUMhlZlVgI7ku9uCLjlfmrO9GjpCxd7cjFFfFinGg1qvYQb81cqm5vT3JSpEi6MFLJy6pXofWmYr3l3slgLQu8MBj7Ydf3UXRRuIvqCKNMw0/B19774T/JjLHbSRO+9pHYxrDiRtj/DspFG7gLhSANgVRjzruKdBSfIBfFKKFfap0sD8wF8yDmyYLnI/qsIjvEC1mHCBEzE1ic7GCQbpdf7f+E5ZdOF8C6oioVjMGBl1N4M57Pe1HDp9m2lMUgIZlZuldvqQ6O12jOC2UYiOPFdMxKPqryByL6MWguDr/jVB0kZsyNdC+uaU3r0EWg+JG+EaOPR8Kd9lwjd1yefwP4NnxnbTKDNhFNU1onaq3IJ8LLb9xylmawJqBMhOdYw8iTcO94JrslL0CjYN/XjAhxDXHaszbABYatnn5zcqSGp6dev/mZecTC6VsQqeAHpo+/oPm2DozJrPStM74Fsf4l72Ob7Ayf9PYiZFA3eBxM107H/QQh1tP6KoiveFDH5LVdx0cHgr0XbJRDYb+Q4XCNsLyLePvr8tlHKwfRB/UCUD1AHlNiRYOz62l87eTNfzKnTq23No2FX7I/JHie3kySUo4W9lc8PdRaVu5zMP96PRcPggAGcHVkhumTrOQqOJsJWuZ/g3abCjv7TIhDajmZNYUUghXtGy4MXnm9MpBdM7Hj2UX+PMHq+sMk4mm+RCIyO/T1AQPXvAzTTxVVylJXzXRAXbbi8Gqm3JjkUqHJYj1uQBh1SktX6dyAulDUM5IxRSxmbBw6Krxp3f7/CbiuN14Ajj5o///7Rtm1qg3OI+gMHnYdutigveqYIsaE6Mo2zsg66omAWntWeTrLhbXtbcrUo9YuEP0N1wziuAebzWU9Vg03+Ahj8Wq72kq3KQ1RpEFLJeM0rUkoEc92qs/53AefKq3fA092yCxSh2WjthNx/g6FFaUUeh1ODL1EoMwht7ijy3joCdkWM4ivxYKMKhAW13VIufZIixpHk9hgX1ZXB32Sf6k5lQ6qUcOeTqnAzEvduGma6Yo63bPHVTyjatvBkJo4lJs/4VhGcPHYdDT677zROUqgkmgqYIfog1z7esa1kK2fBaLrZFEISiCPGMuzKJ+ztmCDemx+UfP7R9fOMvV/A4xQMIbsEHLsgNLENo7UbOH/swtOrD3bKcciS6PjWF7NADjqO5zQ6G5zUXw018VxS4QR3PfBkDF7rfzJpu1Y0sjJif5yJCcDF2biKPYLxx0PWF8lwp1Oe1Z5K7giQQxeB8UPmCjXBrVhtpr9qQZqq/gT023WQmi9BrgkDxkM9ktreIr7ktpnkJsuUhK6wd1dOKapEAI6qHdsd5bu1+sK5di9HozfOFaicpD+PbDIVNSteBua8bpJqr02/S3/10JfR84sejhLibUwULWd+cZk8da/+jSyu03PQTLSKb6ZcWug8P2Ed62tNbIk/J23tE/LyrDWVV+2wsVl7+5DdqCgRACOF0MZU5xu8yZYxPWq2N9+S817ElSAgAiJCDmKs1FPfdzfHMFhZoxvuaQWvXRCjQSqUOD3xfTaEEIl++HdRJf+CPgcjLrhxlag3tRF6eACov18p4lEmewd/yGCeVfaz8PK2Pb0U+PMXOkdh1c7qbhighjzIPPAGA5RVS5BaXtliR03AuasACMdLMZnrQamYdv68YaXo2/lxYl7rlypvNKAYmasfoiK4VI40pdzKpk+DONmt9ZDWsGQJq9TscGg2NXX9eBjVgR1IeW5BJTQJUw6UsRJivCfGsB5phHLPb1wR8u2NLcOVlHpAIHeYFYRISZIcGmhF6CxpXsWDn2QtAGySm7UuAcLwgr5rMW4oXujK01/ajAt8YSZgmcntbkrzA5eSLYFM1KNnWpdwnJMeHq4OTjZ2Gb8EWI3o1cE80Yyb8s9/2wFZ5srFsKuFeQVNo1Pww09l4qLqZ0pPVXSZ8SKgrcsOqSLxyNaeayFnon9ltPG7uQNruM5a4ZS7XAkuY9tbVveZlMA0egfGnfM2O1b3rl79FyfvEVEMDK8uLpmbxzdhprPRsU0UuCJR6KimSjc7RZxzFDMSKt3IC7sdJSamH06WFykAsaSNwTN6nJF10E5tyQ+8wdKNx5NAQRcG6094LpRvd+51quoyCUJUf2aeIshWAW5eh9dF06KMNYoiG1IrZ0pV4GOGYh31UttYMMt6SkSpJ2K6z42IXTg2mDa32hZogWoqyz+VBZI+pHly0wHzxpGNP+9Sfzbk9FmCRVVN1/pgV38i4e+eNu9xhqT59JmfxvEvygyLhevJqMe5lDsK8PYDCCHudF3hruqj881HGoIgE0Pf0Qm546gV6w0/4wXAzYvDvyX81GZ0DpLF9LmDB8BhWIi9FG/fcJxJ0utxpROhi4ditk8XOiViPckQ/9TDWobNoL23uGvo3FYlY0WghtE45GODwNRHPqqWFr3lAI1Geksl9Ql1hfHS3U8TxXOzwuwlbsbZp5yDVic94LUj1KeQma8F7Ewibk4QRkjR5WZXdAUzKUk43G1FQGTwFbrPdNc2tJ2xatAbQJASr+423yN1yw9P5ojaI+iV46h2SnTsa7aO8hNykxe6OzbchbWYF5cOYBaHH6fkqNSsfBmgWLo/FfA7wFdHL4MkFwaAvScsCi237USgx0tfVkoUWsXq+BnHqy3uuO23uaiFfmErJFnlu5tPTskkuqp2I1BnfZtCvqHI2ITbP/0FtuzUx0GitAAmYhpLecjxeWE5Aw3rYjOAya77Z5XEValGv4C09VcIy+aLWtSYDK7sAaPLOW4p3l9gB3+xp66R36uR6kOcVfMqzXkeMEJ/LsEst5TBsOTl3JjD/9lood28pl65y9W9TN73ZDftZwjOo0VWzk6K2LxtYbseDfbwQrxDIqcCcmFHz+4UdYnWuc293qBL9sJn6aiD/MqBnmcUlucW6Up3sV/mt8wAfbln4v66HOUXx/w3m8Xuc6O4f8uy1jqFiU0lWN/9GdfoZnPAtOKheOSH40n0/2jIhwJcXSZdcYI8xI6etCfjhZVDY72aI1XJsdr6mcAHvI7VSi8vshPj4i2sqshqIkb0c93t8RgrQKGEgsji/crf+rDLfQArfELRxUagzJHmdndsocPei5mT7Uyj2fJrKN42jj3lWv/BRNziHfgKxYgxk4GWcVVZdFz9je86GabsbHqQPmuidwrBK/r/R+K0VlSFNqKJZuDVlcSSCDE4GB+p4ZbXwmEa2CvcSnffS36x82ZyZcmqr2inzWL7+PrDK2id+vT1hgNm9UFuTNnz2gy2mR0lVY89ixg7b1oSrFhKaUxtTwn8EKiEPDGDBkXU5aj4AHZzgMmXTH01qHGZixtoIx7ZPvHdBTVicKXbvI+jo1lDaY3fUdqJ/1PF6JaGeIZrFoXaaCbwt47om3bGAN/pO2hKi6BF0XGBDGDVhguMGdaUIjyjo6l78EPdF1iaO/5jb6+MtVaTkV2spzl6LAHfeAdZqT4OsRUwJnLGfCBHbrb7LjN18mGPmJ67M4oPShIauOMV3DLMAIUQ8DJusnIIdH+94Ab8MFF5LJnth2ylIWRVsTMM4l8YfzlsocpJAA9A2PoTZ6LWCWRLQwx1W30/yRaz8yTyV8VbpUB8GuFjw6ZPvOtrfpUxdcIABH8umR5+jxk1EOO9GLvGrt/pFp1yzgUtueGJ7sD8KvrVymoRpO3ialjDpztNxJ1xkr2kR3dYyRphAZ7v5zqISQSn44aVcZQcL0pMghiNBbSJ32my/jgUvkx17kB+Mqb7q+HlIh4ahqB7X1hNIQgwFCtBYs2e1vQ+lPKNV9LuXmiNVVPvB+fcR/ous9GjhEOKfCXU1yXxqrcqY8UBv1SMCPUJZGhpdM1lDxO0NQC0NfSnn4Wz2Ocjupe/7DoEA0c5NSnwXwdOeB2JCba7tAUCa3n8Di9+0LYp6GdmHpqOXbn7wcKHshq0EW2ynZVdj83z1XZUXms5f4zAMQvey+gCA3Xxl1yICFgvtCGU+6YjecZRicV2GhM1YM6J58CuGLcETBl2UEfAtxRWqbZNd4ECbe9yzHmsVPDogikYwtMZZFw3lUwGGR4M8auGF2rdq/t7Oyc2Pd/M9VTDycE3/gI7etwAyMcYxNnGN5+BxU8ofOzHC4l/CKdenVKvHOH6bL4Lvlo12ZOrQ7Um1/YAYeEM0CLCKO0FxCskaDzuDYqC565Qv9p/wDZfgbjdpny7/yqFj6t4MU2lp8OTK2NrQShQllIl7i0stBYtD25XhH6gYMXcNGXirD2fABcJ3zaTsZDYosV7Etva6XkqmpQibselHRJBxNPUMnefq7wrE2YiuEOhSknGRPU7n6lG/6QXXssk4Yuh4v78dRRGQ1VVQYWEbt5VDEfO6JKHbjor+3LeeWTKnTe4j6trcH2EiSoMZaiTBKX6myKQZoc4sWM52eo1Uqxiu2bGO1B9hOTyfM7kPjnrHqPDb7Y4OyzDIwQfi/3MeOSe0MW2hrXkm+o18CYY2qxweo91rMlD8ACoNr1Bfa0NPMm4BgdmY8alx4+nn7sabbx2EvPF6DlDDQYDeqqB+rlzBYWuvzO6L9ZmzshZx03izcnv2odc055GkWrxSjRDRfOfIJXuf/4ydUKrnF10XvQSGq4FA01ZCYEZNjkcQ2yr/NBqt+OwdQjlUV6LS4s3jtsG5VAtqOwFsaUWC2VHE+oUi9/MnffEes4j1qf8SlD2NNUVUIluVMjOUm/GQVCzkfEWugttZUOrEclrL7wYXtP86XakOXjorCON/wmcIGsCHYcTP92qdtMutnWLTOrsizM5YtU8utsrSppvevMhXFwZ5rfH9xhTQhric9poXR+j4E7djx5K2ecLXmBsF8LITo6XX8PqXAK83nh0nqgpxcXLVhjn1Rx51fhWO4jPQsY2H8amLQGZGcmXQV9wD3kT7k8/0cPGKJCg8bUFouM43XnzUtSFZ9K7PH3/Q2oHwUzhhrDAimXXCUtEE7sWqwRc92+IHxzA6BPxo98GU/q4ZRNadJfarWd6ZeMcrpubeyjS6jXUqjilxbn2dK+0XN/MxPbfqsXac5Tvf1QzQxmgc4xxA6PbA1rE5PcipqwuBD/JzUQSezfG+T7g3xTu1C672RHkHJCUY/7MhKSUnoDjvlfBQEfhysZpGyQVVcpJquXodGqUy4mmIJGfOBH/SnHv/v/etBMBtT2HJkDfkui71O/c3LlCaOMlH4yhaAeU72u5w56kCm3srrZ0bKfZIW5wKBpBt+6TBTQ2dm7IworTf4ne3Vuc2az61Yn8DoNclzFD2+oxz+ueDFmabxQA1d+UNQ7SIWxUpkXtH1SpDIiHNtPwg3BF7ZAuGcz/5Lcg7oy4kvuOOJV7VnDDVZPOEu+GBn115Q5fC+cZhn1jWX46qpyok7NSaZgnw4lu7Y4dyGAwaNRS6ldlAFWcIacF1/+/wQHrffN5rPxTS2Nhsbqe0Ahcdmi7qGx6XMiOqeXH29u+s6IwpJmtzffOLhkxtQVekihHryQdxv85PUiENAr70D1J/1aMj4ybymn05D8dtuCuD216bTWlF0/2Xu8gg7g85YxJCAO3iTMi7qza86TfAKuuJ2dIr85cNW/GEz4q7BMktpvjnCAnk5l8H6NNO0DMtns1nwqaVlzRZWyvcPUYV9LSP9Png8AI5oiqEUBU5L2vCIMd+oG7ztNv4XI+oGjj8YKABjalRkQm7sB2SgdD/vOpF4gAeoI1U2t++lyzErK4dWhQfuAGHDh0wlSRNkqWacjfQcKL8ezsV0B/wxPNyf/HUVvDRUvh5IyWxP8AEkVum+a3WRBlRI61Bb+sPYjifibPdA88BPqaHqEz6HUkf9NegCWRxR6O9AfR4yCCsC9gRwiWDAx+x8mGradFrPh1lHzaQ36Fgn6dLmgDv86wMnlcUpvrb17xXZqVzXMgLYtekgulvhqdK+wgWX9R6TcF4e7X5v3BWkF9R8vjRsl8gSNI7dXLYSClGHrKzvqfUh0dwa2hKIVtnchyGe9SF0w57P4Tdqs2IwV7e87Py9oBRDcuU7b2E7Sq0VYMEkTow1CyRvcw0y68Bln4EzAXXV0BRM/FUbWai23w3QFQeTngwNZXyP/kJyIIWWEeoh8puAVDlGTDOsfgY+WrpDa+9f797LCseHVQrvwSDech5rDuxxoaKj8VaBbIC3BOmr7hr0gmC1pCMDdcgFEF7cfMmxkxAJkn/Hg4z3ZQkYSMGDLNHBTsTv4Z7Qu3CH5JXaY4SGPTBAjNeH52HQ6S+vdZl2vhqxTqWCweGU4rZUsaLaGCYbSO4XV4quqebw17kmVk6JioFCsrogTJ4R/HeYPkz4+gOJVm9/eDPCl+9yyHlfoOq9Yh/v8bgKZ4Ubeg/VVBDzGjgWdGkYaEIwrDfo2+tLKYcYBLY/Z+pK5ROiNe/9piapme0rCcoVH2e1bm2Kcbo0v82HpMt9fmsGeYJcLdKGp0iqBpaGH3KmePLe+q7gnJjRE4VbWuOLLPg7ljUH5FCRi02iJVsgzv4991r8fUQvB13P/g2uPAxCz7GVDVb3pJzAuJ3hhmiiypaKFzPxmkZqr/JHtBl7WB5lDqW4nrpKoPXUCXGUOhycCaYpxanVcs/hedOw6AqChn+IS2iqjJQwp9jKtrc52wHrF/Zrgmft3DDoj7EYGCcEt3Dg3GlELnkmLTCu6Zxkaq2BhwAYykgzAcIRNqn40LWmO4ujVRwrt4PbF3ipj8ElVAMjXt8uuUkDxy8HOGyGJAhW1WzacUwcr9QHU4lzEGDK5/eugEThmQKxDSFVIDELJ6cn8+gxgazoENggkHxdLztGnno48IkwhjI978WQqS8b6/4D72/cy+aOEzBlDWhrrTRQr8iXteWBzOrFje3/1wBgiJl73sN9QA535jOQLdjpyM8R+qTsQuxOxiPGXEYEB+9kC7JitIFRCxiGOsBUSyoMqfFt4/L8sBol9tDnQdNYuSe5iNXSua0/0ExymAwP9LHj7ag104/qA6haPMEJ1gxKOp1nn2wdMIN2GhUwyQ7/yQrFeMkeTb4755G76Jdvvm9WrwTl8pr3DLOeM9VabG8c81RM05IxLT/YruUJPISGHdi7ndAC60uz0jZQerznvD3km3vz0o+bF+KggctTBtsKv3D6Szd6AHvFN//gyj2zZMIfZEUuim1u0pnSD6BcVi6zNx7LMjDlaNrg/GRnUH78/a4uAXki3UdL1IWUBqg2EjOzLWNeI6tjIxY2/8ccAi5F4tCtK5uIaGW9Mic/6DKL6VepTgrt30VXEzMxS6+55kbpxAcRQqdlNedd3EL9C9PPh1FtqCI3ogvh4ThMumPrsJU7sdYp5ycYgi0SaHe7rN8bKy2sDfAvax8VhCMYlueO+OlqQPtrk9rbhmYdOtFhizzYhIKRaOZEQ4NwMGJmaxD3Sg3F2/zuU4JhTk79gCf4fNNAumCCQ73Qcp6ZtZGgVHMMkxbSc5bKZcRuiP7CVB4ZQBHku7Ff85UX49m5jpyGfvN2g5VQ5TCGuRYwlDOjtxhj9+6o5TPTeNREq+q/KTSNXuALAg7TsUBH5PNolgMoU7XiAznZyA4geK6dfZgj7+j1HBoUOj6k01dtxUdbRibPJASzW/BfF47BPhR98cbiJBWXMQa1BnnI1n/V8uYiDIE5gBxlD7pBYV5DFCgbFghX2T/svw6W25qYlxHtwO0mUuUMWzRjseD+sLDUVc/BBAygU1Tfaf/3pCDFF6FPriKGTuaWMu+mQZoEKf0kelnnksbRwjUCEc4oYEwrnbAnmjPDtBp8VT9QxUW06lZ3ZTTUl7EnXDXZ7kTPACVBsateWD341YD1tqGin5LLQc9cVfjGo7rxg0TZdcQ+7LWVZNEG+oNSgXuudvxuCNdaMzWGNgP8FVhQmrc55qvitMnId2GKU1fZX6JTzb6F+4k5DqkjK8SvezEhoRDbv4JrtRJYEOOAG9Bd/fheY0+gdwwzBjhYWCY5rV9hB9izEn+x3OKxc30mhEds5O4OzPk3fJR6muJU15ZHbhc9ce7u2zanRNFIpHvBezEewLa2IBq6HiFsy17xXDxEVJtf7TKcqpMPsojJ8QB1sAALXFx2CCTSxvtBVRf58nv2Z7jSTSxJCfwTgqHkeOERAJc+J2u33sqasJn9Vx7Vv129I64tqKV302Fb2FaZ0EY+HXs+xW8t6P6/jOciw1rd/44Kz0qtYtPgLgiI6CYTscucqC4hD/GyW4r63QY3F+Z3aSjp3S6YvkOB1EvxvPzyKUqtm2OCDc7s88cZWisNiYBor0KL8JFERevIy22JsvvFxPAR9wYRUo+MmKReEHwfMOxT03pUi8pxjP3YWUSaYSA3yRkI0ZHa16r7jNN+t7x0Ly690k+sYe78hHzMP74GXk9N41RE8xevyv9mqG8c+g29mxPlo7qn7D+vyiaBlwwvute/1pMmzV3GWQKOiQPhN4t5JEluvVqywpQL9BDA6gRj/895Z/lvz+uva8go6be5hoYyFsukEVoaK+5i8YLlI69X1fDFqQUKISWRXsAdxpVqf3hIlks+Jg12VuRxKQ3T2apEjIWoYtbx58OH48wFGhUkuuX1lrUbeOXgIIJ5/L8+VpJ6rFLTFZ/r2UsX/xU9JlHfXBHI23Y3c/D+x515P5J/HtBcUGOnQIFa/NESulw8OsfzOQUQ5JRWOlnTVpRVtAS4aCAvsemRZnEMgXi5lNc2WZ3VO0cHQFIxrl7MtBdD2RXetF0stMg4J4FW1yqoqvAuQtJWWefnS3idgWlsmy53UV3ZDmZ00vDoF6OhDDIVxK2SN29/CFR527bYc0A7Zs0WadBH+9uK4wI9gY1Y5Fb2vgb+jqwDONio7w6BIzQgQHo6mQdQ8e4UQhI0P2JzouaSx5bqL2tBd1yK9e9m3mckOT9lptquE9jAcYA4QX50vTRX8H6OnviCvlx/JP/JPYR9EHj4xPCOEOc+VTIg9fKtgwwj98e5OMtACZpqv6NfSNKhGDD2BlQcEvJK59N5vBcOb2Vsd+Lms3cUvEAcENs+2otjICOFk2r9bPThAUE4X+BEg8aM8GmesQn+44bcjqFgMvMzinF+7iaylyccBb0T1ErZHROul6B719IqbS3lQ2JRm0j/uXaoyCIXUVwADW2LP7nFZVCgNWK4gCZ6WP6q8Q+FYfpqqwxGyhVp/KKeB3dM7A7Dm30jAHaqg9qn8tCeZIod93I+6sEhMQCs659Lw5PFHAkOiA3EnL1DhP04QHTyIzHbA7LuWqltVv7uGLVBxPhvoNr0vmDNk3+eSsNf0lhLyG6u0Dl8l/1CA0yGGtzOr+Evc644o9S9NK5x1txrCfoVM3T184lgGE4egnW1536yUCzo6TaQ1QmaM0dtyLh1rBT5llO5pvdTrbd/9whYP8UbcrxdtWj4be4GQdqEuILDC8JRMB1bApZxu++hwoquZhG6OBidKWfFZ/1n8y4LFd2eilTBL2wIWkT42AvvnK+O7oCoR79tKWjiF7ldQJ4BylYm9G1S6+jNiZNqrs+JAazrK4M3SWPXdlFgQJUKXYWU9KLH7hMD7OGl8Tnhlr/+cwDmF4DoTsrW0KJ3d40ZmGNpU1l7AfPLqPqX80NjwAFmoW73a7KGBlDQK9eDYruQh0Iql50wv0Aq3rbPVaQFuWnbKY+IKz+KK4vw2Iwti0xL+onbQIvQJCYaFcQBZg1ZIbUN4Aft0mdiSJTSJi7zcp8e+CL3dPohr3Desfom7TPKY4hpFb6ljGP5IhCYmp2OrZ32r72J6mkB89VJAb++CjOu3UcWrnffjLSpK2SRU7kT8uAZ/uS6dT6zRnO7qLYFlD1Po0OTAMjIbtOeKqVOl6OfJs1cxpYg3DXzr2W9MKA6BKXl9zKWJWXFdOkNT8asPEA0t1131A3CXIyUqq3McvSguIPzbgsL+iK3usUHHhg4hf3BpLTMRLJA9M/HfhDpI70pL7RsDTkXvhjI5DMMXzRVy+EtbPnPwl3eycODGigrk9ruXxQF2pxatO3jmmTS5lor6GXZGyUBVMx+jhwB3SNpieLNjmQbTOor3t4OynLU4hZ3OyFimnpJVrSpuVpgKRcjHebXQP5edWaCMJ0jp0z5kPAxlLeXPXgbZg+xH7Cs//w+ZKOBYFVnfPl1xIltMTawTXIM54qG1RTB4VAA2q06MBJ8ds7nUx7Zj50DaEKtrIOpaxR6bmWOvmbfgokw+ry2gDOK2OofMPbmNiDA7snq7HokvnIgyLyQtu12ya2FSCAs+gcskZazyUSibhPKnIUNMM6QK1b09SnSh4C8xG/jhngKwH3698BBOxcpG2r/WgAJK3JrrGObZqc3t7A1f4p9AzpSyEKk8Olo54glYGAURB0UdFmJnbrJ/rLFF+YasHHp/FIT8oAxE7v8rjZDSJb0415TVBUEg2vsu7e2RdUOpnM7HDcoWRHf31kZr3rXw6dxv+45GNEKfqMpN6TgbDq4IFffpnIn2ATU9Oln+g1BZoM4wiDtol8SXtwxmVCgbGcHpqU2SrRxEkknwOaV/FUU/5Udalra3JFmp973oQRv+EzbhUiEhZmRbjuuNRiml1qWSg3v5A87jtgeQzRS2fcI3U5YKMx/u8NQwWJHCYKzKkouoAbioiE9MWBj/TgcyLNa7jtBSKXLT/1ksHpd7qrj3zzxyv/8y7ogZx3J5chiBB4x+NezM8iXsVzM4GcwFeUK6rUQyjm9jvmT1jmzWjiXdW+Q5/Xs6ko6R9/eD2xOmaCWNvhPGm41RM9b5q/2yxqaR+9Jrz43EvrPyv6KvL3sUWa5A9BR707aoHJJbCIk2v39T1LTyMacolmk82VQVtfGd5RVadgrs31g2F3GuCDhbn4/4Pmtktk25fLWwWkxn06+jqN5V/p0k9JrkAs0lC+vn0vY+aQmmDS/nj5p5EyF9ZsCuhR6pDVt9VJw4JoLZ36gC1+xDcaxRSaJwpZAn5MKjicL+fNF+yHjCCeNHek91v/sEvqMrsO3kxRv5NjsKXeZ8IB4d6Bs51gaRmVMigeVgX6GaUJT+rZYSlVwAszNv01yuhMb1okAY588ssc+rOohs5wXeuCVinoq2dnLj0H17IHMId0pM1p2jKB1SPO2LPu+uNpKQgAjXGQT8eY0hzfEUg08V+oUFrd67wVdE1hBodAIO5WNONs+NCIXx4Uf1mEvaJaQrZae4LL9vP/jAtcZCDd7Whdt+AnVtLltLCA3b8slN61QfGICtIp7o8x5G8Q0PB7Qs6Js26cLKPakaRdCaGThjtZzmWtqqQ64izgumpkVoJLjTlARlGn+4skWVzdrT6k0MMPu99KnN4v9QIsElxEVOAkaoLpzkADDgqtz7ttJNQ1dolCUj159oB0j9ZyuFnvhru5HmLRXvC2u6nFFZLxWREGwN3IvXTOZG2xDS7LlxLyuhiE4qhif/t+9cw94e6MR6ANHr1bmG/uT5Cih1GeMSArhyD0H6pOOGLLIFTUhTDawilLtm93oTvDoECfT196IBCEPyv2TuNvpwD6bgi2F11d1+SVNMAVji9R22NE5t9twgXFRuUIeqSxgf98DqJcpnrok9XoV0g09N2hoCtMXcF+uRTy8Hj6xxvpm5Fs7l9qsu+z/UX5E2fT7NRq4+AxAqj9xoyHRfz4sv5tfavA3hrxv2SpdzCkSssqUmBdgt1Rt/djdHswqlEA/O4/DZZMZM0Gekw52HUE3WpgA5Fp1jL4moxt14ciAK/rMMg01XR8sfN1isYJOg6+otKy4Q88uTqxJDcaZanVgbxKSF9Oz8R57/yVRVtEQPvB1ZAXmsGTmdENP1kp+jCVritnmqLvWDL2/cpP/4prwNqLCYV5iniSVYtoHHiT39PrrMBH0Kx/EJcB/fp5dmGsbgmW2qmHToHqlahGmnaVBhxDU2ubZV9X2eUoij8oChhd4N24cb8ZXPXxml6JVxeGHgeou+oCt+iluMP8jIN9TZR4csOlQfiCVDPu1RxNwppaU+T/gxUMuBSHDpzIVj/1K9nMCaiwew6BHMCTUpUGc48L46aoKlz2qzIhBTwODlctbOVr/BH7fJe9yE2z/0s9H7an9pLjGQ96UNxnHB3cCpNs7fXPKZ/CvzBFG5dSp9DerrOICiNUxlhHJlkqyNq9+MQJokvn/LtOfIinB94ktykneQs0TC5T65eRKD0r896Fop+sdCQayQUIwzGnD9FdQ/6C23IE3Jyq+MHFq65ccT+CriTf8G8eVH5Qz9oNIi/06ZcZcMc/MnuWaIsqbAv/6/vZBoWtvCveGrWeqa9RqMGKT+oTwEfYDkdIgYPbLR2QJjOQJAtH1sOoltYhsmljmnk0NjfL9C7V9WKYVpaEpNRWv8OzBIqQhwIuQfLhTdxydDwr7RW2kvuwwxSFiR01M5jBey85XamitBRo8kQBtGH6CIokIDpP14Dxdvx/1fHOr7m37fyJK8DiLk/WAyD43LIhQwe6uJfxHTtGozQN2eLUf6VPcxV7gPqi75j/4J6A/2sSYUoQujfLe4G6YuPsLTPup/qaVPbWMV65BXSi4/6Bd0EgAevASG/kyDtVfFGSRUX7RG261xby2vbvRs2AAEapbPmM0bsQ6cdlfFEg+NxEeg8+TCzE4h6rRp4hA35VXGS7A7WqOy4/kJbqXxCYoi3bl3+Dg2BsJTh38CIKSYCL0dJf290oNmsRX7QiHHEeDebA/Kso0WhtMG2tpvApVGlLv0OkecMUtf98V/D5P7A/7Z46kvd8DyuS07yYLHRGwdikHw7e8YSFo2vGL5ktpMpInlWhP20n6dWTmbPcPWPda6BuiCiMlMtKpNVLNdUz1ZQScZ0aAWTzHYHgIt607w6kH6j7Dzz8oPgnte+lvTtsnRJ9vMmQrWe3CgjmgCoLdrA5Iq1cT1OQRw2Sz4Xm3N01nhp6EXo9yO0t+/ypWGkCHc4/Z8Vh4CDPUjVxR75+YwmE3Ji92xA5fo2fjN1G6nn3zaWbQOHFD7oZgjnLMR+72EwLU4yT3fGmw08QjA1OJy+LrqtVKBtzIuP8IaHOrZl3zQytmqPhbkhWi18H4P+ThzoFYd17g1SXxFadPf6uscbAe/mf+hFg4GTw2NjeTV5VJfxzHy5NvY4aCNYHK5+cXW6M750TX6X+H6HMeMSVgoh4Y0Cze+PZluHcUNMOh7qFgP0rDHTWdDCiGuZsvTxMOprS4d4SQ9IA9wrWhmZGjRLT2ylcx4JieMnFgWWVDg9K7/Vy7R++Ef5CCRar9V76ElI6QrdkrqrY4eQcuzsqZWtUl7sZnb8ZAYVcq71ligJJUm7O5k6uYMeX29hSZ+MEmFCx6bc5KrMKLy2Oaf9hgNtx+MhmA+n1TQvId/4wkqGIFWakAQ+qjxO8LFa6KrUjsFrkFnuK0d08thRuh37IxOfu5LqHuOH48mGaQbzhgvV4BFOnwkr838j4k0nOzmBFwlVYR+0kbtfVpQTBEFaFtl6E0yrNrdVB09G9RuB7T54Zxc/yNF4oWejcCplsUlkiaW0IXdohzJLoLfSRVFVnUVLfHtl4uSzhMqUwZXpncA+OQQVjCQDoqRDWLzLc2teotpED9bIlo9fM7B2LlI5IYfFsZIuAfq41aU7gsOgWOUYsmK7Iyy7k4+CYG8WFUL4uX7VtROidAvjpBREOomihAmalrLqkATBMuGATOVCTomVjWlnc/F/H/Sx/WEXwZXsooPbJfLQV1Vpueh/C0Cx2mryndo8akY915Hx8CIn48dhBIyQDLgNRc2fhyTIWUotYwIPlUoodrwGLv/P+gHGWVGa3goKR1j8qOxPgWGiATqymzdusOomHkUwikqH43+Tu+TWAJQTzxHAYKQ8NesCnpF0RyCRZOwKWYaVODGaQ5kBCw3uY+O62qdlibzTDnEtvJXlQIalKhgv/1aOVQJ/Cyc3VpUaIcMUfP3Yvi4EATOpZMvuAmMKHtj8SVCuXErfgIZT9yu+ZWxBc/sDcq4QNMgivbSbH89GJHG+ng4EegGh3ITLhUefuHoQfvC2W16ywa1RpPEuiBWKRpEI+HiaLq+J77Y8XEa7jffZRMagg6sS0Sih0Q4h6xVcWJ4+0zPV1Af+1viGEJATtwu2+2Xkv854b+lTNX2oH6+xu3F7iIPf1qWO7u9Zolei7zeBH/49WUlWJOYdnSh5UtW2uMun0hNAk2T/Q68YPVN+SKGjMBYOEzGduW30JgajWX3IbhmvZFJvykO9Pbya8YT84UxXCn3k+OkIQ9W34R51rmd0l4V3hZkrLGsRjbYh3p7CSQmlPwy3NVHqVmaBI/oGz3kAy5vcn8RWZvILWqra+yRo+DhzRGzVoMhoq13vojZd3hRBLITZUgfm7t9M4wnOJI8OA17m1spnm5dnyXbRNVG7pNqcSP7DIT9djTzqir/fKYixsQnfG967pbAv9Eqgqyow4V1ZRPRSyYpU1qgBQumgr+IKzfBEy+krfSLx+j13DMCCG/7uK+KxA7nYQkynLCoMlqoyO7iFO/sITcgRbH0Div3efw0h+O3M2XMorZfWGEK6LmBp50nryrNQgScnavtS/tBS7+rJAlWZMZED4QXQiJ5K8+7E+SYf+FMBk3/M85ucXKcXFbpEqb76C6ML5nTvb8sAES3f8GKir6pNiE+1agkgav1premfP/NyeyvlV0dyrV3lHJJFe/ckrfoVbetvgEhQetP7OUgh5I2DUas54rKbu8ZsdmpZ8X8zzyR5CvQ9yt9SYiOGiNPSxRb1bshj6idm9//T8bpSYMlCiVdRYRMoFL9IVENqP7lyHBeZx88Tn76y2p0RAEvZo7jZ4St4hIOzau7lkuu1dQeUMj85i2ukSBVvZCtPPMEW984LGgFH/beNJmA3afcoXJwxQpg2OsIFafXUdSLf0CY3pCguf7ep/Ujx3KSVtsxOSXKHhm1qQHKcf0Sk01ET4WZzppI+R+mUKdtATygQZ6JwYTvvO/6txR8d2DOl0U02KxPf6kAHFevAt68imrv9QZIYyDfLc1MuRBlNORmmAHdT+gNloh7g8N8PzmkR45zg2iu3nlljvrb78Cb2Mi56UiigX1+lY2S3yoZTNbHzBprxQd/yYvsPikAtsX/wRmp097cgokxap8XaGEkmOdTVPDkUTk6yLSbk7kz90A6M2xZfo+qW1NZ9LXCQLYTZ8M1iojEWR8nvaTfpEjQvwu7r3RSnYM7GrZ+j8+1ewU/fuk/mCkgslgsPPfYuNddmekmPOzX0t8Qyp/OJ0Vp2noBvnQYdPnZtsGGvEXVepc6lsf0N2+VshAy6BGpebWOaGa22uTtsAKc4u87At7tcXI2k88VqTkrQhIQAfGIzgFcNnp3RLrbaAeQxLKvJ/FYWH6ViATTktxWYEtonL2EHTRq9LMn7gbhgXAlahGbPSf3n8DMp2z5VV1sB/3G+Nq86fyKjymrAanAZOTeLG/sRxXwpS3tQfzCQBK8021TZ7GN9bg503hKvqihr0j2or8BUztoG1Bah0B4OqCFu7bREgMSz3FzXcvd1vSDplzh0A4F4QxMOnhzCxzLMKeN+sC8c183AwrYXjjHddx29RApYUQLYP8Jsjaq4E/8zejWdSRHJ96OEpdn9wbPK2pS41WeP7XswVdxK4XInaxhm4ZzRzRaWXropBYNnXMhpwi/DDKodLC2Od32oRQ3AoRxx/9FJUlspdVXPhvCyv1qz12VJg6KXd90wMpPsqX6rENYGpsC0KBUyDsbbWaVfeCp23ZZihtyOwFW7/FsV2RV+IrOcFsqvpeOI+lGz96t3FnhSKfqXLsu3zVdYSGpIUSji7/ADIH3GWI8kCbyfgMW52h/OdDR2EVdL0M0W2xWiE5wrbz5PVLwEzd3vtM0cBfNL5Bys/BTb8AJ3hB0f3u+4WP9EyVZFE44To05zgi7/zERxfPYgB5GfI1u2ysUpaxEiBoHK2u94p8/dkXtqz3hep/onZKxYZmmAzJLBqxgIosavkngq9DXLytv+kJYlQUutepx3klVCP7Qjk0MCSUmTMiVO0rpZu2IJitoWm79I9xxfj1uQVBOfQ9O8sLW8ep+o2i/FlldeRkgRPjsc+xJb1QtHpOjncPwQ9Ylvo72bBpG3PAXrZqM9LIVziZilcQsBRcAl6zwz6NWTYnS5jaw5sno/vCdZ+Bwz49GBGcH749s6jfDNhZqfqkKpoUm7hzErFD3Hh8Gp29QYDIhjDFFBnGTkTaXZSZpvd396xN0IAscMYCxCC6KvpKOfyf+oyLjP5GvgU5QIsp5Vg6fhgxTYiTs5XR1IbBCwVkbOHtgvUO1Q6C15aCHUq5xzsiAAojNHkb8aplxz2pnyq1V7agTyWuMRy0hQ7HpUvguS/T9Gx3+zqEhIiowIGw49Z7DiPmSDA1CSgHwSUIY4gNN9c5Iqrhe4YNZz5UlhyTksMfYoPq26Rg/W5aYowIVjKZZjeA6tVMaRl7IH2ayMUZZujY9L/1AihhXsLqbBNnkMbm50KRaeskDG7Gj1Cbs80LGJVh3wqD/YiPyqsAqS2A0vpvX9iCFOMW0YpsqjusQnV2gVkHe50plWtbYyBvp20rHmrIy5Mp6MkbopKmVox1E45GAhu3/dq+NwWWNm1iYqAcn1YS2wWvrDwS6nSxSaogbcGpNd3oaWRPtzGz3hLg7nzbD1juZj61Z2G7I9mySCk2fYTGf5NOwp/heZfstyhO5kkooUjg9LgY1SM9IJPQ8JN8i7P39oUmulzjrzdIsVeM/u2MoRuOsuUFTmb+deAUwvEwEeD7ZCsa4zWXgllZ3H1+0cGP9FpSQd4cOMZuFePXVpoP+ve1UxIrGdhJKl8IYKuvI62HnRyikaZIO1gthmwjcj9SGrcnJwWe42bEkNSgpsCnbq5HF4yjvbFw5prFIKv/OoSgW3eYzpY8QX/S9jeAWRJFWml1URnKSnwNWTrpX2ssOsVJh3pM8j1gjmIBKFsjCb8IA7vVjBNJfEEJIf4VkYh4vXBz1dXhfY79ox0HCStNay70eJcSoXgXvwpuktQJVUGAfOUiIq/QeqTw6QnefwFAQoNrs4+rKA6tjEn+YgtEhHECBTZcX5yyaaE6EFC06iLLQnzQFV9HjK5ikoR+n29B1uWNj2e0RshqzyBIc0zd31u6+OCder2+CRzHCQDqByVU1BOO/qG/mWj4SD5+/cF+PbYEV3J2rQLTKpWh2wTtDRbotZFIkYX67lkkw3knvreHoYjAd2OvAeQJmb0a/TXKlBFStQl5ABIo46azhX9D+M6XIu+zbeJIvqMFHhOE3UGEhw3xWYc8l82wRKuqu24mYvV8xLtmOD6GR8K03lgSk6abLGzboJV66zAwe5XgZCNRREOqxoHscYC+gHnX3deVwYc7OXFw7F07UauJOKO0lZK4deOGIxLVOnTvtdce++gimhAtltPZF9zQO85CQ4vMxG7NdzP9b4mmtQ4sTfk7rKu9Ww0MfqJUx8HP9WtXrk0+Akd0bRv5yHRmkfL5k3EahR4BiOVoiOkWStYsduiKJVAJYnmavlxW+KwV5OKauPmzSpRddHB/lrN30MTHFxBLmfTdYr8nlhLZTjMB6znvxnLsAPvCGBHXdjUMm5ndwIAQ2fC7xGJkpuR4U30/Xfu4hf42WDxmAqoOp7mTkovG2L27hKYUfIqPa7RU4Hg8WLvzfBWXjHUDVKlmkN3WGZWrD80E36aSutl0R2c6dJY7yvLNH6YfPWwvbAKBMuDP0ITEatDHbAvY4B3h6uNDf+We8cUUiUB+NtZBFjMBBnb6FLIxUhAgcMGsCCpuiPxBJJrCksnjar+ijIxRj3xUSNmlzTo7aQKAWCzrhkz7kHBtzaw7VzOWfNqzHlo0d32bh8VlesxLKWvp7rnhMcARLNxcAaJcQK1t7hbplyfYITV4Pf6EruC897fgevH4PmKzdU1lXnt06E4vlzOk5WjC/n1xAUmtgiMiIlCxevAuGo73Odqli9vrIf+Lf9hexR7GuikTuoJt7CBS7D5JvxXkEtWA78lU8rqnbNNAAsKQMfwKtmKtI12Y38OWs0lF434fONey09ijIgaaPGugnUuWaCmuwrvsmj++GmeAzPaD8+31KWx55miMqVRxA5CDzs7PRDvcERhDZdN709lpHnByA/54XXkN0es7Sh7BBBB+A3KSIVjw5Azby+1NmeMyNc1xFweEE37+0G8pQ3SQvUpEVGnbgdY9eiBRuobPDOvXdMGUwmxQyJyDjqmXt5isT6q2B8oPk+9vDLd5axwqYr0QtFO0d3vMiflYJ+epUasSN7vK1pFXUU/EE5tZCAotCIlsfE32e5QlqWo1LtktyD5trsZcxIUhBxBH/5U8E6gm8tnRJtVgqzCPEzGkVcxpAWtUy6zu65/6FqjN060BOoyQSgcj+suZXHohLwGAxOzBin+UPxrTHuLC4Ukc9P2ZrFUG/a6TJLJeIuSUYIuUid5II+lMTDq/YDioCQ00dJHJpva6JesEPdcsN6PzjosJf0V3TCAZ35Bz54p5cKyzPN8Y2nzg/SM9ok9W2iZ7oabdXJ5jOUQFz0t6Re8s8gXkGi0K6LjdkGZl2OWWfJrcK/9u2w17P2EXOyC0HUms2XkZ7GbMC3/5EDU7Uxm0JgbJwje6cqnI+UQEj80dr8JqWMUzED+Hn/WJY9nQI1GY8ASAA3blJ5/cdP0siE+BwjbsXbdXmSLsnyOCnlG/LXADP430k9xq0DDzL8oscQeJU9ZGG3Ie5mQTBMtqi5deoYEJqAnJJnNgBNeDrxVGRL/u4vLZ+Wy4qQggfHZsIY9A2DLtzKhHRXlYR+b579pXhROLi6/cqt607ZfBUoIosYata/233MCJBVIqEK8/W45a1hoPLIOKzX6cJzICuXgN8a2tHn6x0WlqcOVUym0U8qE9tVBtvOgECpMMyhcoOUek4E/dELkXGGZ7RDY+iupgC0lzFO1o/tJ5cHPHjoJJo4tzgZvgSfOV0vGdNOaFQYrP2IeUaxsuLhu2VabtIZ+HgzvNNKeI9A90n0EbPxkjJilPNTdZu7PffZP8FHep7ZQNQBcbFMqINIl3KaJ9TqhL47Cskngiv8zYTvSMBLlz4KlRonlnIR5mHsPpkVpBEwuGbyZZb6H+zyd0PKNJeSQiGEui3e/OAYEuE+u1U+pxwKO/QU/6He15Gh8bYiZvY673ETCpPy80AGBQ1SsVWZWSUO9hxO2JSh1qv2IguJUyaW2cF6ny3Bh5Zcgc+JgMLhDL3s1pAkC0Tdz73teo3Qgs+OVncbIGGRtomjPlxiyzKNCrPhDRSP2KCE3Pd3ZI9FiZ94sjvKXTzmre76lDVyxqXqNn5sNaC6CBwtt4FexaYEiMC1PTXWdMHqE928/EH7pIJS0PX/D61IVHIe5p5sJWAvpEbRRtWIuEjKqbemSEDbHnD0keytWMZS40duon0ljnJziUt7vB8AmLtpgCotRGY0pmclJFfmTZbcqsut1CnoBGXtZcrXciJaYkFlf7qsHWRZgBM0vPCWf4UFxsImOSTj04wu3FnHa09JhhCw13d7uRxUgJfTaR+VKlyxd++hKrr0m0IFn64F0wX7N4MMOk9unD+fTfxDHxqtFGaBgCWzhhzWdjPolEiJ7IpHMGD5k4PSaaroMJva4D4JTI1He0iHFBXNcMyQybPnJfpS0PyYJj5Cjg1uWVvaj1WRPtFxsYvXykR1cUYkVGdwtUlKNVxyTY8Av4uZiIqtbAcJFk1+vH8TH+uBbrMEXkjBsQY2kzCxk4tlQWHr/ubHiqg78ZR4qfKTZ6Y7UvvdAyr4cLG4TV6DhRS7XShIYDnBfsRB0jb+l5WFXiDDtWNHvNGw9nWjLlbg5+YtphvpXJIofKbjzNr13HotoGeTPvI7pByUijOzXLPp5iHzd6JZT4uqSNdmqExpcw3ZjEuW5X8P3UyhHAMVcxMpzT8tYiMf0mVe8i8dPaellWeNHPOPZhRnRynrZUAorPPyl9XN+9gzL/ZDekszdEHwUKHR/JJEMpbMKXgfMe9MAAZk8RARZBFZ0xOrjM4a/EoZ4A96YWsokOxh/GIUEwvgex4veOyWjpAP0OmPJSc8bnOrhABN/UZKtnF5wd3Cja0upvDbh8LnN8uLGM7n80V2M6kBW+1MSrsr9XQoItbw/WblWNqKx17jT9Ah0yzpSpLlJAaZhKLsrpwIDrl6PoD1az2QAwUyPuGxSCkOpljxPwz9ZGp3MgdVbH/flJWvCC6MCJyzqDD2dDLQxBo4YxKzP0B8ZTssD9n9T/CAaNe52UOGyB+5IP4QDXaUsoKgDgHGhW4aKlSVZ5b6oQFEqfqvixMJRkfmqoNJwE1J2TaOyiTLxONeDtcj0xZ+JZVparKvwdS3A7esOXsW6nPlsIMFj+6szCq3bz87TyIdq2cXOUQP+e0X785CZqRCRnhNeTz9SurS4arGZAkiYrdINnjjZhocGbiBGw0IKTSTbrjToZ4r5YM397dZ6qDPCj0eD7pJBodv6dENRjUKUeNjXnQBMavimTQf4cGxXKBB3fydUIm9/vYGTHEEXNkn6S5OK/3/Uq1nf5Zm0TXrpmnkDOfMneQNsaDNKR96V/85VugheYo0ZhiIk+NVeEAw0qIp24a7Uk+0XCY6/n4y/+JIgh2z238Dm6Jtq/dJbIU2D1HY73K+/BoBzukHg9Gvww9ZrfPfo7WCeSrlIT2nbdME/eWsoTYNe6jDIw3SDShdR9I/8qfUXXorPyMI8VwtFLa5PqeuD0uBsoG3Ao0erxJ0oXrql+m/kcmgMB4Zz8Xm9XNrvL2AVs7KzyLrOqGxJeuQ6lBS0bbSbGbFSEt4LZvYsFN6rb7jzwWOxFbz5C0eWf5NBf/aMqEaDLLDSWRC5WRgkKE3WoR9K6rYy/84Rb6UiicUsEZ4gFX6zaDTgn04zNijpD6AeIE3S09m8ud5Qq0jbQy+xUEBU11lLlRnxNJ3XxyIOIWxzdUw09CyLjf56XNOpNEJ1ZHAnUx1bnU/DKWW3DHUO2K2hRtOsEaLGuRfDyF/rkB29bPWc8iZ3s9+bVNjRemJTEF4XJ/g93LJ0IjjoFKbtRTxjp7RaN0c9so93edlpOez4iH/nYjhx8QI0LYXQRLZpX3sO/6QsRjqAJ4eSXvt1WHLaQKy/LyxmFeY0jfPvSFnAwuWEsxNE2vn3LM7vqXdIX1XzIjig/3l0A8mRYpwxXArmMYDYCQleRmnV8GoCy816k+9RuMpfgxjfWiZgm18u1NmJjYMqqDLCX3CSaPBJnMVUfXD2lsOTTg19Mp9QvxJ61C9cso5+mSbxg06vbDmomGyb3yVke1hHcEqandjXw+l9hs84wc7KOuvdFvf4wj2wLxv4NQdYwXj2n1iaJ+kiQ+7VpuhEPUexrcz7h/F0zesrYDA10/amGxKo2Lu1iO9LFeHy5Pg/+XThocUeSFFFyY84ofrx1MvZ3jl9Kq77Hrn6vrUYi+TaJWmuID/bO8ojE0MXHQhtPy4Ww6Jf4St9kQV0Hs1WXs9i0KnuvkOqou+hyCapJK/gSeHlPZsRdPWYmAfJ2F/77Lm781QWQGIGMGW7HtUdxuxnMOx+PIamiEx7Zuhi0goudwJIVwGEeQ6b5z8Hu6RElaLpo5UdkQ4Obc/sU5ciEJwAEL4RYxvVZ57Cn8K/WRv7kZT/GS0yry5wggdV2bOw5tcGCM1ETeazBNZ1YsNfy6s62gFTLomfDrUd4caywtlBvp6asdaIrE5kIi+0PbtqqA18OLFfyzJg6FjXxxNV2S5z2g4LunFPFuJGWJF8raqAT4pbHtsFMclBkIaElTJgjk1Me08GWEoXBUno8h38l/ye+evpmCjVgjpnTkBggHmUHKYNcdA/xE1kXB2NSeo5TCrn06v2Jk5rqY3hY5qKXvZmgTv+qVU7HvM6GkXIMwdGC7EE7oYl2xNUmsdmcPNgiyq1GsNcpT8Wug+hsjvK/MtbO8ka7TwGJLNaN5fpkzjgPmeGL7UMlvh1OY//MNZZiRhRO7q4pqB88qRxa9XadP41sj/ctqmvBf5CLacJhVyznrXjD4KJphTrlj808+DZDLlcMl60Ti1xB4QS7A5vhzczOhOqYYmbwws/eUHu9eTY8oZG7kSv4nqDIHyZksmpEGU7VTt3RMG3y3iY9Iym3cIiLpQ1yJcFZafHihw7GNGUccyrwb1BI3TK/M4lsJeQ4AwO9WMuGosh93YAmPzcLoXpvOO6u/HDohaBtHi/Be8DwF41JloTpRilGLvlU/Zs9aJKK9DCttrlmU8K5PzuB8SfNAmg4t7plrvh7c20OfrMUV/adLI6hapSDJxq7uDFSpT+12/yKp2sfFfYqHh/uhObX15zH6FAt6/aMpl7Kz7++W7/ikqzE7nOvyXyDqgf7aWh2RwKg54RDsHh/LuUanYmG2NRX0h53U6Eg2n+fDiQ9kJ58bMPb5X5lz7dxvV2f5W+wXGDwG9JYnRuNtBfx3dGZsU6vlO4+wF3tYLQfZN3izdHb9tQWWpA8YNbIJkzd6uE2IkTtfQUx/jRYdB+3g0og1a/3dx/HV+ufZVghuEYV0/XiGsn1Xqjs9Y/Zc3ZygyK1MsKE8KkIPAgexOshDnez5VLn5V0CRum1auvTi9jMl8H/qe36FiaK83OgZCRgmQsLhJRDzwyTZyoRtme2RopaAKYeLiD/3Jg7qRIIMu5hT1kHPvUWAy/lp0cMHZY5dyf3h0BUifPbr5j1+tUbjztOQ4jffc+HSXwd1f3DveGhk8a2kdr3mu+LeApKW8QC+FiXNzFbxdAyb716be9RBgrlVYjQ1sRmZlrROOzyGmh2juS/RJlEnW7xjXwE3BRVUANz5hhfA7pk2Wp4piUvdHyf52PAfOGIPaS/1wQK9wS/EWB/ig8VLmee1lOTCGqH/TRZKhKsOVuPB5AMGV3T0piYpMwljozKRlVCxdHH3agx9caQmRyxnfb0Wv4Fey41V1Kllv3bWdqUw/wOxK0K4vs1Dpum1QfkcnuYx9ZJp8UpCd0WJgONJ7C6+4PB2suCQ91f4vb9zV8G1wN8VYW0veTwdXxJ8cxv/n2MxH7+tndpjlf8FHP38s5XBYsBeUZD6xHyI1EhbrVF6XERGFTkB3boe1dDxR8ZXdtATbG0msZAjv4UIh8UYYPQSm/zr4G9ppymRE1PopEFVDHil2lOOYbz3ixV+ALR7uJkxFCJjI9Cg9vft19pysDAfdF8A8yW7uIPIuYuima5zTpNgaJqJgvn9amG1VI32LWRK1O2HL9McCqG9ckI1ahzcAhHu1+x+yLqNc3Skx59gEYdlxo30u7PIVip3oOMcYMZIPt7VNTlvHJerF+47g5+AMylxvXZgh3m09GsvniV0bjFTYfX/+3fC+YR80F0y1PPNQigq7+6mfIsvlua+ihVFVR4Ph/WvAVLvcC19ITG3gMkUOftQs4+eoOZjuT4S/+DMvZz52tp0LsdLrW7EfMIzUnc/lkxFK+yASHJlEeXQb76R4gHDM8237KIf9pkVhaYl7MSaKFeN7jI32W3HQGZLasK6L4UDQHNn9aqCWfvWpPXib+UCX3s1ea+211B00L/L8chnSkomZinLQAHd+vd7wEAgfQCPg4TYVhK/WR1hrFYsFO8tIxtR/em6dQam0oE6JraG7F+WmfUoSzloQDZBcnX6BD7gzOHwphPZGIkrrAfeX+48Q8EUCauBRQ5EB9BJP7KehVLYw0PjNR5baLXyUHWz4c1m5AhXQhooIJjYtf5FBHXRWnJ1O1U338OwfH2GrT35j8WOx8+76ox/ZZGMhpwmUYtgfQ0b9FwxJILvoTrJB1eHVzm3ytMMoMTZwLN7DLFwmgz/T4l5Lt2rEH5m4sy/d56KYg/PIwoA3amVBFIiGhwpfWd638hpixl7hg2rU3plbDy9BPXZ2SxOp9QI7a96bj6lYca2ysOZstN8NF1YDIjhicq3u54qB2XI5y1Zd2FYKvU8UR/tPb/fPw2eR8ungmcCp7Dvg8UGQ3PDIjWKkMDzG4a9Im88LVGdVZcu/ANDAgJKAblUsoEWTFvvg1J5UEwbIyN6B64/Bkc1/WJEAO3ncsQIOG5ysdmDUdTTSMgPknKY9BPKO1D88530O1JurK+K7+KFiINs2kj20iIN1OdnohgFxQhCM4OUCdhQz8rAmlZ2RtQA+tqxAt0xgdGpd/0mJ6amhB8njU0MV4H0pWkq5btezcMXbasGvnm5IihMLpejCm/uWfAfebiv/2S7siB4wuAhS4p2rNxLvXgcH8TknJfkonkkpoI6tikwAWGA617I5c+pZTRSOKyLa5ux0Hr9mPMxP6IfVIb8MCejoLGvte9V9Jpp9wqdr49dq2SY0Dwx2TjXhsE2tVJbpTaFjIAZOJSerHN2/nwRNJYpEP1J2CCQs3CaNF+53GanjNspkNbJqMPYnGNKr9mXoa1o4fjCfHsTddLRPtkjH+XU3ZCSmYtQBChsZNcUCT9BWQnOsXCb2ZZit0FKBXxuNTr9EOIMKWHh3j4KUiQgE6vop7onKu6+CwDPXlw4kBKLWgclW7xph2I653u/OOB/m42eucLJdw7cS31zz7DkzPiX5pCoqCDICVWTQjUr5DEW3VGLPtBJc1ym/Z/TqF6gfBin794b+UXQOuomIgTpFVGQSIJ5HQzsoh/07uU4+4pmhtZNQD1392swSSGjTy6V8a5gYG4pmogkceHC+tz/3CRRBGO0tzgMlL091nHsGt52ebe5aJZKUt5eOCTP3zppl4m+JGgplHjCWn2Oa1pLemBTnS+jP3CPEulAeu3JWwUQwUEBfSdbZtGtZPUv5g/+RX+HpxiNPF8QIBtGEtRZaXXgigdmSn3QiyCCgWBnA78JV+43WCnQai95AkToEI1O9Jdjmtndv5Oj62cvNswNe1f4a0+2d0dnAiLbNEXSN2yl5rylgZkPSu9WnnRqN6VAgjHAzvgcKOa9SdB6rzrbgWxSI2X/68R0Bzov26MMMYqdg3LzOopougnH684oVMAuvO1AjKsveJk6R9B/yZQ23UrUcIWnmMJsE24HK89P6dDW9/hGgblkgC3XQ5kdHoNA33BpCdRiukgumcTbRy66cXW/sLV89byMDyaOzgUoFbT0fNqVZ3JgyICEBfaclXIIEhTtWJh2i1M3xHbtN8zLkNJIXay5bRHX2RzAfCIXYurr/kcnU07A2EmlZquLr/Nh6U8GWeOn00ab21prWOweHRXyWwT4PmHUQaWAnUVlc7ubyMuYzacwMMAh8bTg9X026JOPWpyFuwY1BN5LX3ZSJMmRn8nydeO6ZgmDwSAMMG+ari1aDLdAU2/8yXPZO4DGTAsqsEmptlyQSVA5bpEhZiHOeVcaTioFu/Sq3Sl27Fl1QvlZxS41dbn1xbaxgV2B0hotAgZOMV00a4Ozxd8xdkA584aW+c7qTPwhHBYjnGuC5YnL+cPLPKzeDAKycedK7Se2AiFjkUQtk58p1GtEHmf54cnIjs5pIogmNu5LSc/lKl15WxLQhir9HFlWbG/xMHo3Z5IGkABbXF1FibtwOLcC6K1vZCBayjog/QEd7EZsijNE0jCybWE7mcy0PrAOTG5FLRjplQo3HK+czo55oirBWuqhVxkDHSkVFJXK3fJQmVSLPHoPTTnG+k6A42/nEUnTMxQMEc2FEw46AySrgSpXqvCPgN7RJPPDePQILup4zju58ZpjhfooWL+ecWHN4r8AutK9In/2/dOc0PJNctfIIFTkit3APGq1LaHIo8gTMHolJEDhmCsuFEua3qxoAKuzCfvQlWDKW7uKa0jhVrJUKGpQQCx/s/oKvBIcijoZwvwqgT9htCmav/kutqQr3+MB+ScDknn8Y+k4TV++tclrzRUd3OusfP4JgjWV0GtIuaSsSCt/DFpDS45nnoi/FHBJwE4aHzeXarEeazVoXfdGJ9LjoA/+sH8T+uGVX/VmqJ1gT9egNsHlQ7KIhoVoIusNJtPUGNs5EG89OLwUTyjDj2A3R+7cOFBJdAGN299wtJVCgi5YlF6BlEbDJ0s8hSlUJz53JFM8G/kJ55s1kXjUbI5xIJwhHGN4NCR2Jv4ZnSTRZaEj8E3lzXoFJjLjM0txl7r+NPtp5KndTeBYRsxod8gdbWuFRDOpDY6zmxIvP7BrsjLq15cHtTKyB9HqIQdi6PXZcPNO0la7WhJFdzy8u9XdvHjEH9xYwJQk/c5mKCjr0vFWx8IePZFTWRV9zfB04yYXmdtCYwtOXTZomlcINmMjnsMYRpYZIOcrM2eDAm0e+DSG1sVKaNBaIECW5npMMRw+BEHfk5Y9NYr9H6Z+SZ7RWQy6OTPoq6XAeb6G+kZKzldqMgATLj49aN17fwNTUlnqvXwSN88cblfVBx6ZOyskwQ+5JXSzgysY362xDrHK0eenJewunuIvGz2Vfm+D1VXXrn5gJRuFLPHvqjGjzWd92CIxr0YKribXEJmxr7rgAb4j7yrtNqTUDC0S0JIDzL/wUWttajm5ZVLhhhjGhlC2QJheIcQVfFv8BOl7HzmYfnGncjFUlJOpmqkFhMYcY0WFlcdNnzKnd30ufc0WVCzVp2CI1RhzQN/ZVxzL06kF580PQnFLvxbEbNO8eTy/E9M7jzID1iOb7SiO3m4ofddKmyTr5SDiKiNiVvuORq75ypDSiLgJkIGCeT2SgE9FtUSJlokwI0EaWRLrnp8+ZWAW0nYORYsDboZEKMRAYK7glNPO2kbaPO2jVi+GQquoekmjAQZXJ7518f5Mc4QKdqklLCtKJGZ74J+bIoyHCKrvw2icVxtUBRL48H2HueD+7j8q5KNGhCqGYXM+j9U+0Gcn88iSjHossIC7zPP985CCxXNhf+7swQSgJajW5KYE5s6WlGen+NzMvMB7X+carfgH7NpUNa8UbpBOSqhqCB4BU45CJ8XqqeCGvygwQA1EdJIBkOJRgxNB89lGWiGvc/f9B6LxdEvOkwzpOlNmN8QpAuHbqeuGUVDOH76T4Rzz8TEPy5ZxwASpbee4YoSyXZRBhMWlHYj+BC4Dr9mPdiH4RwAgTLVHKjbuv+E0g6NkPh9vq/Lo5V+d+MFEigtmRZwRYaslOAo8+7RL8297j8BMwkXWVV58v4lAY3PntJuMY13VujpgDJ6Ul0LEr9FDlUu1eaGEGwAFazNeUc3isA/Xd7DiCzjvXjBU1VQEYg2oGcYpnaUWOpETSmeLrPnQUNCKK7elGUu/h0jCDIC2YT5uAVwQ+gAHvX7CHgPfBsjmN4MTmJ1qrdegQKeFaGkCZ9evp8Qs1VwnXNu9DJ4coijl2pVwNkIxZj2N87mpGWfwP6aQ5cWf4du7YhnrVw67HQ1pZu1UpWrTqTbF4AQwpTU0yCDUk3u0ttP7XM/B9cC8zLMcl2rLEhB/I/03kHKJa0dn9OMv8paiMN/xplOK64huQKoh+O4EdXkCbWum/cf7C+klwWJxt5v3UpyHJRDnRLq7uGrMbUlcDSkqYqeO6c2dzUfERT8tSMYD3avSL73trasKZv8/S1KifrO37VUgNu6HU5Xct1G8J/F9DEM5/i1mRkId5oY/5PZ1AGeslgMuilL8OLG05ieLWDunqNA4g1sV+QE9WJwyhavo+7t4DKGI8i82+HyUde6kvYBEz9QXSAgH2zOCeVNY4VyRDCb286G674GisHnY1ozlYpq75Cv581TkstLyH/jEmnJI1hUVxmDVRps5njj078n8Yz44269CZG++iPuGByDh4EKm/BCmzutnid+hbhB2I/6O7PmDzNgKBCRMBsmdsbthT0/CacGwbsh3mIzCaQgPNZw5p3QuC3IwoFBf+2Xc4EC9s529ptkc7T5ulm46lQYnK/4iXZ6m3uRiVivtFUuaHhUUzG20JCwaJEHfeLNpoTY3Z9fnlTOmktm5KtDCIb8+wuiNgtFmK2rJVMLQdvm9dtYfu1aSbP71Q50nYBOZWg8sMQe+EKDrhzOoh/LEnB35n6tEMr89WeekZN1RDawAXdRXM9Q93l6/aLZaAr3GXmPn/OVzOhMm2k59DE3TpyVI2mOAoq/1HhVBWOSVYNobnlFSYSSRiRsa4bcP0n34yZ/AFn5kYUI4xrrDiaOfxFctFwmKsOhMO2Qz7vhVVJjvcczB2gQ8FnmKyq2mmqG6+igxN2bo48aBm3QJDa3orZh77EmtNxH5JQ8M15BOwGDFWz+4MrfKeFaDI/L4TK4ZxrterlwK1tUI24rqBB5Elugv+STMW7wOdy7lTzVHBtsCL83UCNc9zgBbSXOEOa3Kc09jT3P0Pdw0Rjzy8OKdXoNK8QTVMXOSv0DJ1gfyLXZxv00SeFAwrdamYmidEYCj+CX51dtTiir4x0l4shgjq9JyFDK5mukksDDKGAoxaIdT2E/+3109tb3TOn3g="/>
  <p:tag name="MEKKOXMLTAGS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P1DgT4HlCxO6G8ZzG9CioxXgrZiHyHR18wTpXoYOUVT62jPQW/lWHNjLIFGv9HQn1AZIZzDXxB4K7AwMdXniHuf0NYpP4Aa03idVaOPESF6mQBJnlAm81qY91OvSzf2xFdKzZSJP8lXUr9MsB3ubeMBdwuyOW1aWVkn/85NE1+34M7QF9oO3ZMSi0Eut4670o0sa4VpK/fxv4FzBYnwVAvBRTPZbWE/yckEdZpS8BE75nk5CeEXEhzrKrPcYMq10EHdC+xoq/cpH4XCgblK8L4IVVpNJYL2kbn6W4RBpM7jBzQD467Zka63a+8mWyaOVhBcxRYDkkUVDnuZPp6pfr1AHp7X7m1X4kD5SEqi/LUI9rPWXjZJ2Zi2wd6XUcOlyqCclqSAsxgTSKIN6HCtllzjCX4pD9SXUhiVIsq3BTDuKidVlv7ufPgI4ovGoyjtJB0n2lv5QA0J5F4snWmTloxDy8TD2z3liNtfmbqqHXYnHR4UgyTJfx4D1Fw3xKpHln60wy/19vVcCBxde5o+dZAQOck7kFMNmvx/P3HNXA/3SgjfkaSut9gPNniXKvycT56D2TnT7qr9yuqceBT3wShZtGaKpz+TeRxJ4vtcBi1hl/+8UDVmemCiGjG3E/D7Klyn83HhgI8hy2wINb4b7kCG7ler+jFiBjgS0ERh4NkO+m2lljip0ClEcgEPrh4WfPPLoMlABQVg4OONR15gGVsZnX8M94ZUmVBiuOc8HI4IVoUucwG40WPrFyTs3Oh+0C6nza2TiQepQUzimbSab2Uv9uK+cNaQa1XbcMogbjuMilC5Hr/zshqEAnvPEoZ5f0RbG+89gBf/a/o1gWtZauTy7v+sVr5Zbx3TA6gnd04LLVk/zwVAnTq0cgJfyuR2tq7mb410S0xumfssCAQYF6GpyKf1YFh1bNKcBZj9l3fM+TWLqQadT+cLMBA4cYpsDrwAPua+dj2qv8uvJk7s6cgVefH2oqeJ9HLSLxTOSdOBCKuzGQTty1LOj2b2SJ7DVgOVNv7oSFK1IEMaYiWBUfuRamABkZMmuNUU/jNsWddwW3DacQw4YY41vG+cUlkX7i7lgEdivmGZ7LFhBufJWiu1TdkRwZFHkhoEMQcVmyrbODrJ6v1M/LbAkCTQpGPPKKWm3O2iefnpuWhc8fvahJfr1eBmJsyEC077SKE7sN7Nt3xcJ05rcHA2k9hR7gLXhTh7xb9tcDybfL1fOx4KYbQDZUvLsAM7cnTao2g9bevfRxwadjxblCKoVJpp0KgCqPUNCcJ+nD+Q5g2/j5/o3sjkqzf77qlJPJNTJW5ozGruEMcNJsCu/UJsxZ4SqKa4+5pbrdqGS1/k4lQ5H0RwTxiGVDhzREt5VPDcz/OhOp2t7e4gzwWWPrVBT5xJWlBbA+sZjARxmgvAD6Fr7wFgEqaHlUgSHSWyUmWEM/dY63SRrc7pplgND2k0nHUTZGDLufRhLW5l0NvYQTH7HTReOE2yRucg0Snk7Akjf87fbWNyBqR/yJhVsjz3VjydwtD+6MnV86MkelOVmWZNaqNH40mYdAFpXt6ZxaSEhAdtlOkQY3XgY720iLPHgeCSZwP5Rp5kPBpAOJsb70CG/mjV4VPdqX6bETUf7ijfUXddkagTnhpqzCTTYyo75Kji/Masm8PvL/IlsdIqfrZ5fD4FlBI6HEaObH3P4tiu+UUBvZAcQsX6nsD3a1UKtvLPVYMsY0suxL9/FRhVWhjoC6yS6kFCIG6v1XnWcdraAylhEHw1XV6OCDU14lNv7waTJEInHp2buXUQcXmfJ1r2huV5HuUBqg6vDqWsD6oGajZ0I9EPRQk41iNuFQVXumUd36Ad6SLjgpoiBp+doWaW4jwwtTB0D2SM+bxuYhy8ypJt6jy8Q+UYO5CZ13H1Wx8carO2Fhei2M8sJuNyFcwsjmbeewVoNR/NTBJc7sXHAjk5ap4zjqK1S1/A1ftxwo7YS/22c8l3yP39Tvzc++GvMazEgCsXNCpSiFU0qHrOsb/FYh2/MpmevVwt6nX87NVFt3p3FtDed+YfyGS4plqqRnWKFNMJPtf5JAgvAYpVmxE7Fb+eJPvX0bGDDcnX1Rgvg5nFrTbZJodASVQaVHhI+2gHrC3f49AbKv0NspmB1/o16a/FUpE4fjIkFL5L5ZQpxOjzt5IuSBBNkxyYVNeumDO3O9N9KHNY+wZy76ThzQO/fL+1vsMo2z5R6a0TQmdN5iYp3L8pb5uc3Ji6TU8AAN/+fewpgBBmGX3+njoWjWF05sCDaN3IWQZdkKZyqQPSr4YXUG72ipTocgcENJvZUAfvZR12Q8/z9gtbWwWLEZGIP4MJ+g19ucnZInWqvkf7gyc5F07353S//iTsRVzsropsq7mhMnYodG+EJQQx+j9ZexPN9iRyU/99rG7ArJ3uIeBLuooM4m8nIC39X2bbJX9ERnpPfvqhZ2bGPXWDi4Gd+U5Kwpf4Ft41VH/PqAHHTI60b3HoHBqrkCXV2kmhBLI2UDRwH3cmMk2EGyHSac4IRRo2QYIoly4RsQDcHjNJm8f2y5DxVDdrL8xFH+teE1zgb2/MkQwHw3s3hyOtasW+NhSgAVwmqI70O/xe1OqI7wW6lbMXv/d+kPabXewJPrcHSiBiL9jAZtfiOjbD+JdNA4fLgOLxcilyzXt7g6v8pRHgzPb88r+T2lq6ZMd8QCZC3Zv8bfVahJYcAEIzFUR4L+lIqOBr4d/G4ywteoUiM+SwMex7nfc/ZKb2NH0daZrKedaTCVO46ftIBdl6qwX8W0A3gfiwOOmgPx9SehHx54Hb1pnOsKZbHZG3Z8W6NsbxKr8K3B0w22t9i7goZaygyD0Fhr8oAGfK1cXqNUbXI7fHVwhT7cY3OgCVqsbkqyOLmB/C5/7umnBqLfOt1jl5+B/vwa24vZGCo5I7ETJg2Q/0hCNfTUoVplbqN9j+xIQx9w0L6saer2bV1Lvctot7Y9I3mV/DLSIaaq/sXgy07kp/rIb06ImSSJslixeAqHyfx5DaBBCZZ2naLWm5IOMbET4Z8TwKl/iOxFLPzuGcOmzZ0DQewqFnafcv1I8u4n5sWW4VHcZoAQnXXAW5896i9+pvgzQzc1yEHNv1oDiFFbI2JCrbn7p0XEU10rn6XzJLXxnw9cTKVWrWnwedoIIxO00awR1rxlEa4PbPHSLZ3KxfV8clSntGP/6B/yMDIOoDVKxqz/+Hr2TOddJtEzNnNm0IqL1g38EqiujVeKKp5m9Of5kPPq9xkU/ZtjJ8lyprByb/0jAj1VBQaKTjOGbbJc2O5/VjFyQZZJITtmmqQFAWsYM4QjPxMxROxttmbEe/Wh9p5KW+QWMt0+37drynaiRE2SOnt2KZNP5hAk59NmEz28w98zwdTLwBPXbbouhkIIzAmj2WzuvVMktLaOn8LBgjObbYwKYlDd5f0CyE6YjFeGD+FXZFrMdPRNrj+KHAkXEDlA+qOa8fbAW9lbulO23YbSEFJVqZGUFB3Ke2/VnE8IM9v+9OSjXcx5p0irjYKG0DNYfKL8k0iHU8/1J0W2abbEqYZ5TiTHmtFLPsUXYP5Oz6+M4PreDZmMVw+UC/PKIBOntEt6M65fDqIijtZNi5kmBAQe8VUPQYp8IZXc9FJD7U5hhXJvAiPECLWEcfuygL42LqTO7JZUGaQudlI5MxxsUHfuNq8Y1NDjXaFUjjHHpQHMNpwFrnwbatT0vbvKBVUIb8UsgIDPg5+htijqdiqysKkykxk23WtKWViT3B3Ti+x3M4JR5MGCySswUVYuXgahljPGnv2e6VAO7rrixC1kK/RiUZDs1NtHEh7bO0wKyUEFj9SzR0okC8ydNv0y2aRnostNRKgReDH4O92N4eD0EsygSbdwrSm7GH2DHRJ5GdP0xqK73BG7rrwPXV1FXYQulzl3HmUdx8wa1ev8iHreBLlQ7tDFVmW7g4VwUlK7jjABsaCHKSDW0Pj0AWEQgu/+UIR83a1DDu1Vw2Px/LxWQwm5TJrfh3dGEFavQ2FwymvpzFou0JozxlzlO1816tu5tFN5YetkxKSt3GIpcbBMFxl+7R02JGTJQw0S/+r0TgHqV/ycz8k1Cc6TgDzDSa/MalLywsa0IlQ/4HpvtTO1CZcNgfCeCiSTEf5UCrENRyPQAmEQnKwRQ9bJlMUhT2944y7QWrrOPquDMQElVqW0zCgp4VRbvBPweOad+RfMNkmEO7q6SVvLH58RdvqpGZvPjyJ1KrcPjjoa32YUqpEE/iUzHpu6a4wMQsv4zsrAvLyut9a0lJ6HTkWaxGQdCXWBpSLDxjz/KFo4+hR6pBmtqh6ZCK8pbMp7STLGvBW/q8uHNH4UpdXpk0nzkiVDv4ySOrvspKxiw6ajHHZHQUr9x9P/ekPc43xbfYXPmhpC8QlKXgSvZMmrbSle34yLgFlxWmdTXz6sygCWCxveo5DKAXfln2Pvkk1EhXthFhRYxLeAH6zDPI74A+Ec1sX/8CAoZDwzpI+agCUphmPQyBmR/QNmweQui/Zv9nUnAlEz8YH40X8Dwa/exXcUVTgz6j/C2bvAT2/EY3w9xghSek0SmBrC4z5bVYtzZWFKPIu1cu6IUXQRCGmpd/wMAqABY6EWEqaX79EparlRMAyJibDEuXjL0MgpGF1tiaE2t3tOZmfJZRGF2M4f6WUhKOx9rKaa5JqikvhtmYOvK0StEX+lfSJBNU3HA2a8eaoaF626i1N5F47XaUde4uJ+jUu89vu1bwe31uD5L2ohypJAlxk78g6z5A9zM9DpQ3Tfk0axT2JZY/ytG9ocDzVPOIxc3pYtl4ZZowGmW7+PGYXnelzhkaduHIn7AXHBhx55dJyo4GXds114OcwIgGdLhoXpAQzamnoEUaKX17nJwRmQGBTBcn5/z6zaHUpm0j2lVCuNTzaZt5GA9N/Q9dJaorn07vHocDWobtJrZuTsVbX7QOQR7/NYNc4ahkMirOePRS58d9PM8Ze7tCtY3XqMvtk/0Jbuu/kmWcTOSfc3ou7IvwSkNUc4sL1vV9hURepBpoDfuzeyTwchQibnW67jxAYmIHF1WBJiXhKRMjwxIuDwxpRoKn2jRZ2lQQq+M9nDu3r/iGla+DRPBQE+VOR0FfOnduk3ni5ZO9yLepABPv0DqYUVo2dH8VtqsklWZUKcihdJAtm1Zjj9OqNgNTeryj8SfJE9xDCx8uENd94h9pzvFDztMhJTx7jhICqh0EnkV+efaPyij+vfWOi8COBwbYPfhUT86s/lH4NKYtmnlfJ1J+WQ+we6Lo3rorlRFh4gFOcglr+qBrp+vz3JMY4F6JGBgMmoLggyixZi9DGyyk0Ijr1tOTdaP06qD5w9V+5f9zQMnMp0OEdyesXRxQIPTHlX9xW8+3Tmka92cK756zv10IAf5nw+8bP+LEQTBZh+m3eC1IN2KZihMPZ7VKjCxqDrfU+Fx8aYSaO80TF/DzkCTzZFldR8iDxjjIBTLrYfaR/FZAWSdHbgjMhD3CqSDBVbEhYYNJAcqElb5pRAe1uFBm/CWrfiJWCckAw+mkbKBGwwinuUwJWW5VD1CDnXLFjp93ifcGk4IGtAOBlL/R/6ULqJH2ECNz2m5g1C7HITUqDfjuPygMGDeFysQVxJxNIHh0eK9xXSbncsun2i8Dz985mBdji0NFbo9/yQVObtFLIbPcelAC+BJRyrFR+6R4CNFDTBGStJrXDgJaO4X/cjr5gpIggFnU6JtKgw3bb8BbYEjvQpSareRhqgkC2PpllQ/ipBX7FNQi2NGNPE2U5x5vhGlsR8bP6Wn1hfaUor0Lh9MPrjnvd+V4yIo54q8RTnzSsAF8pUoKUoqSukEZgHIYRt6kbacPR3qafyW6mdQfiAPeC6KXJM3537FmSNGpO4jxfFOTy+Brw+oxx9tNF9nReSBZkv5v5EWaVZcJAC5WTxLlrwHKrudg7jYzR/uNBbJmc9Epx3wNd2mGuxnd33ZOufiJQDt1dcG1cN1TOvPZz2GNVezxeOA28BKqly1n9MeUqqoh8xBE67k0QH0SI8ZcehTEkKHknNKbVKCi2wGOSZybFNI9SJieskgx7b4tNdN3WSrate71ffAe5afRNAej/EwAPOxETM3RtmZYAHmZLv4WTwxG+AAggmZHYP10fvXfCd/S3kSfKmHQPxeHYZKjIxj6/fy+HEYWC8bN6IYv7gM/67f/zKW5jN1joSf+xuHP69pPNlGcabcUtla8j2vVscS43Nr/hGaE25muiOyig9aXv4CS47YjxX/JmPa3n6NCmc4zOpI7R6tv0uOUYRBRxmtOr2hRpXzEm7vu0ERSs+9Pbd/gRICvE8wG+RcGORUQHBbwf/TaVnCAlhvFLbgG2uDC2UCriXCSw4/WlnYdquhpJmUI4XX+Jkmp6aR74N507IBBK2F2k+/xzplp6obpLhb72JN8goVoAcHMOlV9rDfn5tlKo3Q0XCrgeZRTs/j2MILn1gVDS6P/gZKT3acdpX17PdwLiT7L4S32stN1tgy0En9YFmyWQqi7vl6+1S4YoIkeSyIhGcaxBxbH1n0ngrujTIaP4LfnyHLe5QaFfMAp1XKqEppHhuPc2KFaRMtwC/isml/Q0kSuqCV2iVOfEi7e2qRPp8k/tt4FZ2cF+Rs7YksXWiQgLnZh0hgetHPbCWbtCWJPO3ED5Te4dXGsIaX4712pD2v8qbZJ79paFDhqodDhf7pRTaVQJC1S9iDPy2wk/I5LiVTgE2FE6UxMtoyHUXUxDe+qYGvnKBaCOABTVZaG55NmnPUsjFN9DFKKtXAhj/4g1FxhrmPYntEs7yOfO2//d9wHHcapCp9BVfJc/vUSz56vNGkQIlRRt8FZ5jQ2fIUN4ielyapWERc8rhXa/CDjI4FjE4cZLT8wsIWaK8sTH7Q3UNFuXGvrbOmnXJUNXt0EZwbytEMJAS5IQLRGJlu1X6XWu352Zamv2MrqdEIRf/PgSruh7vaic9OxA3Khy1HiJErLQrUwzKaCm0ses/iAhiMSHllGuWoijWSXtIQizPi9RuRuyHKmxDUDy89L7ALD0qt578iBAOUTJh5+6MjD9c4OLVBL3vDsTc3xJAXixGk/arzm0VZOBEqud5wc3cJfXMJWv/yXgWUPVBxx/6Vbc0ZF4X3mxhVu79oHrwoDAIbVmG7/NuPtkcSwgMdfvenQ0nOt9POs9Jsd/pDWMXAsduP2UqHeVNN3/VnK/MnD43It+whx0ZlitMiuI7cZSn6XkFcUhVGKGdB9IK1lmj/SnWfnn7jvmHXMAJ/c+08758oT3CAQpryDeyooDXBZnQA6SDXiS2+lsxKnZ2YSN2UrKsMMY+PyRYNludl8OUBdP0+wKkuL5NdsyPaJvyjYJHqTKtFhpQni5UCM1T0V68QbL6ytbm9y//xxQ+uy17OosADIE+7lJkp9DAcae2Rne+VuCWaOtwNLoMCMQi2F8n4LF37GQm3OysdSRgcUKmdqWX/oZhKIp4YPf+hZ+9boxPwUBadhZvLNly5At+eRbIAJkd5X6DjyMka7k28NCgRE8WnWlyl2FyMFEWl3LiYzHXAVsy7Vw/BjDS15lWA5Bg4YPDShsdqgFFvgDZ/wmlyqOrrpG66PLS5fJ/MiTB2If58VFOrZ2tsRRowxx3bSlUNtuuEC3wfQPSm5+kzyDXJktxezwGSuxNAqS54UVrcwhV8D61f8kZuCR6Rm79/dH5cunc+YNVgWbkUGPMxsJqjrHQ5VaeFMKDmTsr8vdtXhNo0s+BXJZtLU5n8OB26KgrROqFl34P9hWF0M/LsNB6ME3bTlnBReMG3tdw859FqnWF42ojtVDjj9+7yEV8v0LQM25zAUkyK9pzvsIusitL+MbZCGyEZdoMb5oaH8oIL37YBzbKAc4Hl8AtZpIy2+/1d7InwnrFxFzuC6i2f9KvxsNnEIp1dEsnrsMTqxu0+xRJMig0CCdr9GpVdQLHoELudvm9WVJ/srTChA4pkQtiSrLZZ931S+fgWdjm05DH/lE5ERk8Mq52CSo9dYgPcVBbpydwsjWeL4c5tk8fUs4XEw98hJCqcjbmFW/B3nQNTOw7VY6YUc+NkvQkHmgfRG7zBApBfjQsk//i5kfmQlrhkdMnsZYhCiXRFwQ13iU8bRxXSHf1GH4wAKe51sWdDScBF8VVzJLUhgDjGx0gzr9e6+7xEy4795x3dMI6r6jcC7NzdlvGGna+zDg+LVGqsv36VkMF3SUbjcvR19NUWkhfq3XRbbxuhMYvj+0Doyvs5jA+925zc6hT3BYfLlwi9plxhttN5rEJCXp7wkvwRhujhiKoZhRi81vtkrzQNCcE+/hZn/QtDMhVPNDYQMOiW3+wQIOV7hjam+Jd6c2sbIIYrPPsd1dg+AUynEq0ZzkTRXl9lmtqdgI7rgRQ7CWmX13hUbxYlvSENEEevy4dVXOp7LmT/SEM6ARAlOUHsCAqIT39Vl8cCEWgm0RwMqKuTcfhP1KEHW0HBB7wX+8lkfiHDV120NU9PYB0ii8xQLbtAXzku00pTmyqhnUwaC0ixyAU/RwJ1TV7DGiVjF34lTpadLcZM6lfuKs8X+e1eYIXu/whBgoxUe0oywPur35rPZHJrlv2hKXjHwX33hCUqeViSJghNik69UsNLx00oRVFBGTitRNCAJJzBdWigMeUYaL+YcJfPvyxef/R7/wB4ZOWExtZXOhmu/EmKXU3OABan/xWK6AxEliIKwvKO61A0ktKCDLrUCjdztZz81Ts90fFqwR+UJaQ9nBsGXkfhEMsgvduHEkbCbbSlSJWAWprSdYgH6PB5BcarL68om6X9BRqDo3BYY5tOJ0W/MuSmatPBIzbBeGV+NdwyUNnPkZFNXlnaJFUDSiEbxhf0NDotc6+vBGpMVdfuM6Q1NKhz2eZyv1IhSJrAbB9UEBl6khUxL33Oj0ITskC7D7wC/23cFHtcObp65cabvYtxFw/cjPxPsn1MflfCQ8VUgAqBNx9aWhmDKObE6BIMFEJeblAVtZmKmRuaRjjSXO+8CuvA0mokvc5Q83rvnWcemL3cgXyamb7KiX+jf4DL44H2dNB3pHGQP99fMKEzgiJ50T4BQnnvgNIU2C91YWofq/HIC9skr2asx0Howcj9WY73Tt4P6UkOPKJHlW7IQ+liCfksup5RHAevWCDElFy2zK8feITQt6lhN0o/5hYJx8XmtzXrLAHoWwymPC8IhKiRfFXnBLHUZJmeyJL8JvdZtrcMs8NNXs8obsee6hBrrJDWSsYmNYb0AYhvYspe8FUh8+gojyqndynLy/oagPLx7uUBxjKl28hkz95YGZ/Rshu7RjHw2hnuezrEJl1cCIRLh2OhGZpRl/uU7zrqpF/ANxD4T6eWryuP26rkGCgLBf8BkhH6Ba5MR1Tr5lL/cKY+/IGudYWzazpogMoOmkTVIXHroIv3p8I+Ma9PONVace+3AoslvA5bBf0bOF8ILvbx0rk0a7VU6UUiOpb74QSlP61ozpI4cpJIMtK0GETiHQKoMboahkMq6fnBeRptyCxXG4GQH/2YgYyYfu8kMEuMUAt+zziAV9zBZjX018NuCJ5J6ltVbAnc05HwX8mAmhpEeqn4eN6BqGR28VJzMKqObeIuii/gtRlPoAWEv+xHGnt6hirgjTd7Cv3ZYEgGR1815Zm0Q3WrgpNalDExnjRegSLrO2mz5EmorjldUfsj5redltDENLEU1Ne79UmnBgu/JaUtDCNKbsVm0DjRFTOn39N0GsBz65PdWqUQlFiws2GB0MfULDmc8/jheiY6IzpwubSk1xs8N1+ZrInCdpUYZP2maOpzF0neQVuIs1rAQU3NrORhrkWJROqIGXeIWIJcJVpaWyVo24NQTN90edsWqFdAMx7fD4ixoIr79DmLyG7LN1cu7SoztRgvJQzLy9iqKoXQYryIHvPK9i5HPjaZxTtT5yemXItQZlE9FCWtcKefqOMVOdAp+kyi5zYCOZ6zvJyXaAWbIFDxWzbnljrFLNYf6bbMA7zRV/fjJFznRqw9PwfPGkX4YhdpxJxHjjkEMhK9a5T3BhUo21rErJXiUKxCYQKhjXH6zCnD8tambte01M0zOwpJWkA5EkCPI4rV7DOS8fI8JBwT1HcUFuqz7THDWP4NXqXjCqdDhDBZEepBfFJhaLhBENtGqorbStRXPzh6Lp4TUHkubb5Rmgv8jbCw5ihaBlc5iw8fb/iO+WOoyLwUUJhzxzC7g84YTasYkihc4L48P+iVqE6zPxFt0rDnPudTkSTn5tbOd+EIJ6LsWWTOkh6pmXkOSPy6f35oT3fbGXoj97BXwcmQOahdByfpbDwwCu0gkXOCx2Jy9XYLAwxoSmXhA4fXYQ5rJ310+UVFirtJNlw0WTJDMR60r8zgg+So4NydlER5FNVVsts9bDzIjxMa2yw5jYhGG9YBWYHBFT6Lhu6uIArMEXingFyo7I6fR/InAMbg6O4XAYV/rlswG2yYkMDLiZRmWvTZAa/bg0OI6PhvkM5QiWPX7ghj1Vp59eNtUy7Onmc/OYqO3tyrw4Wp/+Ja5KEdqi/hk/gqNLmX4OwOgkxM9giH8w6WQ5CnaL6awinUDcbgvlXhUiHHb5s+awO1IUtr9QUOe0Ewbc9pQ9kUikmjVeIzvSOmGXaAOZsWvbN2C/BFKPoVh7z+7tqB9X0Pzn9/qcSl/ACdUMvvtJewpqyEc3G/RnKkaX0y+mHK+9KLKRQ2eN2S6AUdoGDw3r+G42VmeIPrlu/cTBEurqotgV2JwyH07RVXwS5ZjjXHvj0ryD2sdb39JP3D0MjhmledoToNPxPlZn1T49Zzi2S66pvbjm36/og2rtwjXLiVvjQ3f0Sp6QvXKUEOY+eG/nArWp9Y0Sat338pbU2k/nd/vYypHWcT7oMaNXo44yTfqkH1vLWQw+fx7eLyk/83jRzZ2GJiwqc72NVDPjAjMprHs3YjqXMkt7b2VGDSo6rPl769T0OVJIlJSFj4mIOwOQP9lx35bObiJAKc7N7E3xjn/iyCF+k+3TLGGjxPUV6y58+2Bs0iH4J2KGA3iKk+pb2nao+WgJziKWjF5sISHjqagwRbBvjT/vd748/aKHJ3UaVWznOOrFST22HqBK0lNW8Qd1EbwpLkxjbiWd5FByiXn8ZNmnvkzp5mV2KlIdFqMqmCId2iluvo9SvZRXMYlYsvGRbHf0KOEz98kxuOw5nR19AFhIiM9Gw7Ix76M+KQ47gsJ5PQzLnmNqzUbP8NnK3fX5XjMz2v50DmVFCzDl43JZV884Qfg6wAI9BXrW5VHS6JJBZGuS5nFQYi8iVTYH5jwMurmKxjNe9o7FwVaTYxEK3gkLOJIO60Hld9Af/0mhnQOvL002oAjTMHS/ac8wnBuMblVII9HpJwsqUxscftga8wT8kbLF5J2GssDxEfxTfubFnHED959S7WFEjvV9rCpncL3wISd1kKzoYoNWmtZLKnBXVITIeqyw8iZAvaXZn/oaJ0I3kn4rVCa+hPWC4oFxAep0KTuoqF2HNU7L8+C0R2zwHO3TQlgIw9txs7IeU/+LGlbfVVHN+H3GltZ/B11eg+SRy3agh6eFMTFLEt1DvOf8PGR8/YL/CpPbhaM9jl4K/4PhA6h1186j6HTr6qu0HNwLdTHGOL7zuKPjXRByXHl5g+H2x073kyh/klrmG3luDNYKvdkkgrFggA/yoBLe92Jp8R3K60XnZAg0M7otckRWvOeBmfMLd0+RyHS2KmINEdG0SDEHi+mHTM+6VDnG5fDGLifBV+McICVCpQukeO+vXgr/lm6+SAY7cL6d78FSe9TxQjRVdPleA8PM36fNFOC4oBWn4E62w9LYO6wx9YKVYh+Eswx/l5ETCDMOEvOrAUqmT5V7rTGIqqLUDqDF42fAjsRBS0XTMTU36erCkR7CrGZEr8oVCK2o4vmVQ6Vm1wjPjXrOB7FxszcOxT9aJ0IQC2dnuYJaAjVW0BHyzP2pK8YhOqxAab9YaeqFzNrszadCyoEmjWKfJaSf1AvwH0t7SQVQ9yFt264ziS3yErs2g0FF0negjskIDDtLLmaQU8NOTFheR7ZVWrwKXIizs+c0MdZc2m6C+Emwqnwb0nWqDXk2u8lSJ5XQtirdBdgfjoZPZQsN8yqdxXUVnwVyYKGGgJ7Xs8GRl82rC5DK7Qzw+eRtl2gIh58ql2KF1dtXlpZ3X3EKz/HAGMIgr7dViwG++lvTOOxltv0/1qGu3SGnUn3SlK9NLQ+rL0Sg/UxOMh+XDtKyEYwPaEa1PMVDnk10Qp6hP6IC9AUPTzn4RVK7eO2B5Q2st9qwkUB847ji8vtYJ79eCCRGozuQF4xiNmPVt1kRrOFMQ4JBoFeSKdi9RwjWDqZgItjiBHzoUoq7D5Eb7JV5CK9iek3inEcGODz4z0HOElB9E5fA45v2LZ757nKX92qLBLYvF/LpJtqtfTO2daHAtiOJf9ugjqZj6V+PUlNMhZQbQuSC0v5c8TxOLgKF132ZQ2iDLxHdjyZYip0ECOHrs42l+XSZ/4SpFR1n/lFWIifBaLR1NJxRufMCIhr1AyL/L/z4cexRlgQNQsvAlvZryqgw4XKBZWeAmI9ZFHPZV1d1Ky7Y6J/XFMJcmCZ9FdPc2ilRnn8BlzaBYFUyZdhs/862ZrQHwAbY3p2lrp+jvFCMG51WhPT/caXaSXRQxz7VXNRu3chLhim/P8JZA1k8uDLaJsj8rRDyDUipsCTm+8uEwxdQmvXlIpmGFBKHsW4TqbYNeS1zzfgloTVrbZjEHrUukBgJaHFJ2UMlt4rmYg0Y3jhiBDFT3YKS97l/ZJC5SQwi2GE12/WrT4XR1MjwIZEnl04RCzUg9X2Onyws06nnSQGXipPh5QdR6v44Xwe6Sznm4L0jn6+GQP6bKLZZtR8VKMvFGTWyBw1XRCt6gVCzBOtZmmFwPrYZt9QKiKXAL8Zqki99M5DM/Ikh2EDIMAp4gXPtFaOI3sm4RmOtAWp6LAcI9hbaTf2323hWiK0dinuC56YvmY0nQbi9JqFWpt8smk5P0wP2UCy6SgCKvMSGUOXwcTlaARKgUevTJgI8xWBtUHl93p+uDgz0hKq0fec2lCeP8BfMit7dACIhfij3Tf5W1rUNGG/WRTZaeyX7TewiUHyRNd692WQca0+7jBk1qW+N4JDv4a3zNtba2Zi7OiwiS79Vdz1vPJScdZ8QE1+ljsAen1I+BWqb+3TDHzm0OKyypGieC+Z+l7JDezwvikf3yklygMeNKTUex3zKU29u079+58s1+ocHteP9PkOAbmBs/BqKKu9fCNJxLSmPzZnjtvTqb+U8KlWks7occCARtN9gKwTbEdhTC154b3kMFW2um5SbvDD7N7chumfWQfnBqRf1EiIsK0n993wSoP1RmMmeZlN748OchBC5tNmYaMsxLSyRmScbfjeae3ZLRLQag36+0i+h90+kBq62U/b1uhvk9pfeRJuc1ceaGyDNkPJnidtSe+DsuFgrxMz3p6W/vY5QHVCTVnWb2c/LCJnUl3VIMUqNCQBCDPKT0Gi96RiPMgUVNnOgEgtlbFKe+luShc+mjjAbq4gDikZb/iw81OpiICSmvJxGTIoNZk1f9mZX1pYn7af/WD4Mf9dzSRLJpxRR/X64U6jJpneALI2Ak12zzuvHICvlQb8P9NxqjpwzjudyWeZjIlhFMhW4wLAcnqvgglY9JAk98vCCLpM21ur201fKqPn9G+m/sobWtmjvA86zTxKumaTewCYGBjsM2b3z7gLJaLOIXf4L3eh3/en6JjJ1QZKO6NNA7l37Wlj/BpJtYC0/MHM3T5xC/dBvGLWEkb9dV5pcrd73HOp3pvEO+7QFpgEbLbXAQ4P1xlvWGsqOWmi8ZjmLu0ubGYmesP0TtV5fdM7CD+QvgoO0K+vcSghzHMvxGaG16a0tAvIF1rjRtTBn7+l2Vs9PdJwUeFgqKNrcj1Dj0A2tOPSsadJiLsrb2VwMr+bvhuaurtVkd639aoAnh1qqXpbBOhanKJEv/RA+u4cuS8rgG52opaWPpDhJthno6D8r5+1rYMd3n/h672A3sUY9TTrXobLqJCX8f97CP8gjH9zEgScqnafMAZZfYUz5ZfL9zPI4pZgZTH1mpNnDCFNCQxblIEqpet/oYiST2o7oTnd1B+VNUO8Uc52ozfiVLw/BgIhoJvQaxcuqpvxGSn4AWhxfrBgLexBnkIc7Yuj/9ZSD37tcLIIsT+ugvEpLJVwd9BXUXyjtDIXZS0O7F+L0fPrgkGUS8wDkodSIkyxENtOh4E2OZBZUYAoHv1/t0y3AcS+7SEx5i2G9tbBqU74fyqitoUuEiVcwoq/95wXJHSA1E6XjZ3f71PAt3P5MFTRSjtvjdmtg2d51sYYphtwckAU9XL9Mc0Hfhz5KARsmotRbZXSHh/+EvOce51nc7EWq+y7BF0texTkLimqBT3jY3PURGtE4mDZBLOjDchihheacUqKtJe8qujM9oJTrmOn9AqAZE6KfcRT+pcDuieLH/nlpWBNFUa/pJkqVR8DSI4CYXJeAYL1afbZHcgq4GdqjeCBi/TlxjbXx5sKG0FIvBJR0NWNYYaM3LXuOJH4u3xOU32kemIkj87yhzC6/8DfNgQMut/MSeMmkpplMV0rQejkFP2gmOrJu3DSa1TXjK/0quVtgROfAZkBR2MtXesUi5M8hLJsuGo46uhykWnl5UnGnHwOqW1ocZ/tSNJBqyXlyvQALTD6VTtU1/gBcjW6JPMQ6vWKk9VohOq8UyEF8N4LmSnri+SnPM4XH2q+w4i6yHxKqWpDTI/KN3bam47GXq6O0pg+oPlmT40/lkGTGjxvseZ08YzDRb6cP2PSawjrK7Ebjl08QZa6kJ/ilPW6wlYEf1IyeADwhndX3gZE9p4w47+5wB694E8H6wWBeIwjR1o3prajwfM9Zn0byGgc8zYyk7KGOFq3UQ11NCuERkpAn27rkgpxP41qRcvHwwO8C24TAmuqlEXM8a1XV4GUK/Af5b6Jt4iN58VRUpENHT6TiFnx8HHCuHr41ApHsfWRBHWPTJQHnecyeriGA1dPOtFzkjejHC400z98gyw9Ee46VN2TnQ/ReS//+SJAEQEuCfWQR5DIkIzh1sjmFPzNwDe89ePE+jy7dyk59tizRtpYRwakxkQYHZ/Pmm4vXz9ozHZwGcxPr/eW35Qlwu2iq3RUw3j8V56IsWCSDQzlKLSLnnokj7pSVkj1ypCZhwgi7t41Q8RVz3zFFyuFJbVb6NfnzaV1EUrMMO3OivC9ym1nbo2AtCS9jt9AJwlWD7oOcfpqPOLad6npNLJGj6SLc6qGjavpvuaQ5F/EHhOp9/lw5Wx3amYMfqD8oubLfl3d4wPSACETIlax2V8CUwHA0GflBg4zsRrfKneF+5c2zsL0smCMWbO+cRqbVg4DJ8mIL2QYVMrg62BWX5EglOnIM2+b/AjI6kBSjCibv1WmABlz08WpJxLFM0Hm4enT5r2fx8iKPRAzBZ6v0TWwVCyGzbhpszQUjqeCdf0OWTM0Fd1ul4DWXWDD9sj+gviHUAAMoyi2BxpIpSphzAaKe1uSNayJIPD5mRhtexohrAcLBpjyAdBG198Kq+08Feb8JGHum8Kb0dEu4E5uiQOplf9uDb0JkAGMME8v21jJogLQnrwX+7WBO9pjjOEK17J3PZe5ATaFiFn2nZcTCHlP3h95EhZxw/g/zFnJXXbw3w93BNWzR+x6mzXtUk3YcyUQdcsYgY2egX7sEseQQhb9SyKVykvqIHmXY8JxtEcMM6/3WSYcjuzcYYm0ZEi1ZJjB5SJDknvFfwWHMe+IexHEAWVTcREWQue6biFcjJ0qpkNxRxjFJIz63iY3e8arHZSHMLRqDfcxh3eaUyEd/YdUEiCl7l/u5X8GxvAoxFDvvKL/TGAdDlJvQaujZ+AnZMCx2l7IiYkCgg/JGvd5uGb8WwqwQaLgJQ1EX7TRHPscuibOYICM9Ky7ZStRi2vMeKSMiGttT2d1eOniiG7+MsKJ7GhD6h0+vAs0z4ueMzQREShhunfprcuJH6vTKjJd1NTMWXea9uRJ/sGPu3i1FC1vJg1hK2z3+gfngDuDi86P4tqetkAfhn61JkCbdzmYnOESUM/e9+k88rZ/lmn/EgOWoWoWRlswCNtoW5oTyVVdgMBgTJP0kqbz9XMDoDlBt8Tmoi0FCPZKQGyxQnJ77isLLmtxlidC1+og3vMsIMz7/eEKgJFD45sJdB/JOB6MWXNTIspvhp5MV+131I43C5gOtHSzMQy86AjBxeGnI1gldnfjSy9FKIs0uxtfXXq9dFFS3SI6ssKhQbpWI+z9VlylnFm/2MomfSAppENpYQa//a2HLN7f1lt39REJ7VI3ssklh1Dbf9vDNdxoCm4epSpBhj5XfzXrMbgpLYwtEHv2r+B/W8nIbo+3KC5wdsEoHSUlJO+v4zqhVKkrlm5jMNHd/wTHewWK7jUqBJtglzXOhYKXVSSl0mEnoblqSmV4guazaHsvR3kO7hGirDfjQXAbi/c+zrsGmXUTS1cmaw4rStYWAfkwzCq+5ACDwWk3bLwKULXwW01StKj+LsqmBBTmHAheFnMGp/Q9EPAAKdj52350deBSju0i/tw3rCa1DrCjKgzytq2GXYbSiurQupzOijQ9Ny6aNEznoRAHHaiOQgd/jDEVHdcrHJuf6idL451kgs3muh7WYEp3S3MQOayf6TRTxoQvyCcEi67f2WHchx4j5jL2I/AYdBx3UbS02bYIE/Y8gf0wsm3iATKCliRvkC6FhCS/WP9m8+C5kGvDp2It8ny38hxuUlTNIyNWJGbyh8+XyWDcdju87q3qW0FLj7/BEbGiZbt/Cj43qETFm70kzxp0ZJnnIGej7y6LBv7TN/sSnn9QCxJv0gv1uty2FbwYEm/zGB0NqYi8zyZw05SUhu+abcpjagyPAFvn3ce4NqcP12mfUJNHHZmqWNZupBMqizJJze2Q/XKitsgjZ3GSaHQm/v6JCClu6yev2z5Xhm80kmKsoZoVJeHfvfxLNsNkvodmp1tVyoIWjg0vKLE9nXn0YAy7eVGT4xD6cYz1ua2HLPv5g4WaQlRPH1vjCEHF7Sip+M5yjSAmZKwRkwDYLvJTDv5aRDGjFuzmUkedffCWrGzAdrNc1sAWL1pjXQc4v0LPXurfyn3kvZNI5rCPLNCUNxuhB3NibEZghOthGJRf92PfFxQBiyihoEUYxnu82thcQbY6xp8LmaFLt7LGwpIrwPrPyPdGJu/qe+1HHyBOnzngfrOOvH4uSS1IEtC79sL2uQmVRlGvIyV5GkSi7g1BYd/CGlQUdoNmSwdlak3+qkMBqk4DahxSCLSh21uX5xuy3vcAJ32PpiPtxa0yas7APNS6sgtnmqZ1+QeGU8yJh6vhf5ljXVwvxQRClg7WBKUPUjgZHUUbpPSPsY6F9pc4yUYQVswdpeAa7qVSUrZVyzisRd98ci7ddMozQ+GWNKNAFtBdGB/oLOOAM8mXidGjuiiG6TukTVN/1uflRQ2BIR5SKg6j3XVjLQV3bn8CYwxjxmEJiKmn4gIPIt7jNjXe1kTZrxDFdydmFNdn07dzOZpw7sREkl188NSLYqWDo5GX9DMrI6ynPAKcLqR14HzVOY9gCx56WQ2Hsiw8GNfnz+Ox3MthWddmVudEew6Ju1s3t5q4wkaBYve8sbjlOxq+FqD91o0MYPWlQN6jauzAL/1vU+2axdQbW3Q3iBvbsBHHZleqJPJchjsneMUUWVV4ULTZZwHktmjpvuFXg0g31VrIaFAJqGLkMG/A98Ia35FvvgsoLXCAZpR4JNNdIlRjc9XG000OgJxDuE9w5wdKfNHcbxgNaRH1s+oiRmSbezxJe4RlHnhviJubXRTHDJtMjn12HIybwfnKnNAOdAgqK9WDr31dn+1RPd7ZFkchtIk0l4FuyK58uoYiLK2jqU9AQYZE3sfbL+Btw5rqdBcLH0iGGQRdbTibcVfCM05wlZvKudlx7YHFHSY+Yov/BAkJQBPCyHmsxKNwes3K5kh4Qyx4z5rlJ0RIAWrTizEBmTnJc8aBMIiWashDyE85QbzpN0mdShJOKozxQulZlffgGZ9hXLfMCE9hJzlwWfCs5xF324IqOU0vmBlcQyI0jf4VlzStc0SC5shSJsPC4qvpgBZvGaXwbBzDw9mYWc5X48wifosEL5QxMtAIbyIsj/qyDBzrEInnQ+yzcjyDQI0unpo03RTdjo0Io/jow7dPj9WQLW27XxcOAmiCtdj09o46e5GI/JUeu9Lyf0h8vbt+YgYkqxkxvwydToqz8VBP1NizO7cGN32DDbCyJk4uIt+C78sfhnFv5QQtnwxq2BkYjhqG9tzVYsW2HNA4Nm4h86V28fmjN0qjNlP8SKq88I41U//RNdhDDUL4S8UonhIARp4/Ehg1AZUxvvR6xHAFj2XD6qJobByutDiOGlJYup0JXEuSoZjIf9BHZnZpjl/fnCM0hbWYUGk+XzOUjy08sGdaK68sxd6sgsI3JrWbeQT+fKirZY1ANFAh58w2eMnI3VmHRNeufP+SO5LaaTevqcX4VyW1eKD6BUo2o2xwh22JbTcXDZL//oPyy2t4Y4ayfn6btOb0P35ai2s9m7PKqFzliCzsf3WBJlveERG4XgxvKNLpvnDL3UKNYvj6hC1DJF7DMY1DTipBNL/8tQvf5SQDkD7u4tftsE6XjkW8Eb7bkNmYmF/38MmWyfuPIloRC9XNDcqx5L0fWgpWmy+JxsB8ECkrgFqBA/0Z/pSR3llH0TAuC4kPxT9GYwcqbBhXPg7lzDnp2VUCMhxWPO7S7ocEVy7XhUZ4qTKzxOIrN4D/Uwcgivu79R+YrBKxzrFCdjbedjQdKwfBDalox2s3rFZNi2dldYtYWPxBx19J5zHwHEbBcbiALdrU59nJMhnrpHmNO0VdtNZCFpcsrsAfFxzXiCrBeR3MjbczQ9TTGveEJ/BfnW/vQGXSnEGEkDt1udLQ6NmdmUPg442J+SpI9el6dFsWCwIV9Stnv6gkL/9LkSku/NTYptOMbxhl0mR3/b0/h7OXBekDSYIOhQ+roJkFc333uhf5Vy3oZ71jUPLZvQtBVlJcyQ7LmwYP1YVcN/akgd2/NQgHXcm2QKJYtY9A1IH8PNRNsHXcLrSR+ehkw42Szh2i2p+4EOvE8tAE90dZB8yxKWAXQlDDLFMarioFqRlsnx3PzuTuLtHPYT3yIuxbCgI66g8nkCT1lrZoBiu1LqJkRZQSjFmUJx5+KsOChCtrHZT4p3pCxjGDr6Xb7GxGIuiJ3LrEfLLrTmrZ2/sMEY0zvoYyzg304pmrKXcaiXrxJfzagPCCngWrZZ6LvD1qVqA4mmW4ULU1XISQUYh+puVCh1hTzJWN6rvtfjrlHygKW9u4QbigQH7JA6cCaTjVDs6GeRyr9DWECtJrj+A5WO67FL5j2bMw5FZZlH13GrA4Oqdit8OuOfyKr4NWsoJWzOxmy508h8qIkuy2zbGbPrvTevlYJQtREuvCo7oDWAULowofFWtRGIlbLvyR9p++x7zJAENqNPn0RhdJt2ZgFzF5hIUxAC/YJnxXFEG/nQnLRB+EwFUa7bWzN8KVp6w8CW4jHtAWQpHBfj97FQxooXuI9ZlIUyrjJytyaFn8H36PUq3s6m4v0Rf8gipx4n9b17ED50aSeBQ9CApHgBnyWk4hjYB/vNv4E0YkVLTLHrpsnAUcguKH2OiRs7/wnqun1KTgQv2Nnf4XURht13LA5DnES2MFBDPFAM5NgjUxGvnsfiwlowlTxejVC+9umjXQAeHg6seDdtyeq6+YaCOgSCUjVy1n7POInmJHlEaNRRDSXbleJBGWkFPgv5VydVkn9oUtVeyszKHz1lx3H0WSHwZTbiQSB42fpRUca5dZ1ALj8xriGaPj0I4jZ4+ZBPwuGDMSQtbs3dQc++1QWcAJQICUgApXV7No4E8qjONWi+1zkbItFr4xezHCckrMBWLno7vFCUVgLkhEtI6GHbOkA/W46oqmbZhLSyI/0sI2cmR1GpcdQ/P3F4mLWUZlZ32ewsJy7Xy+CTJXUnD+NPsnLHYIdH7eLhpsU4wdNj+vzjxvkXKObUEjjmGRIvrlr6fhNa6OcerETptSPa0Fx+d62tcPExbsRtq4fYmwMeC+R/v293xh0ACObBrsT4AU3JVeA6V5iM/EdPw/7uRAtD6MzUdZ2i0UQYlMGPOKVGBWS/d3gfnRgOeS6/yTgWDlzGC3OtD3Zpo9hg6lcNGFP7gSsbKY7mg5L0PRIteB9Hky3fQCjYhSu4pigF2+xnypz0Ins02e70f/EXPI7NfFhvqiih14sq8oLFl90dAKIQ6UZa51pB9CWBcMzWdOXBT7VL+Dvf+RMLehhPxe77C2AJ0xtVaNSa4GuMiucf/Kp6PB2F9dPWScAcpzkSIBXGrQPgxIGQOrGOQkTSqi/kGKbRHmYZDZ6HAJYBre0uvJqXnC85OKffOd344gEPpTy3StHJZNJ5UARqeCurkKhCSUynLTVr17O20jrDZLtHqM4G5Cawf0u/qzohgvPyF/P9pleRafohFLdc9YNJw8kl0A2rwHwumgqHrYw95/D4mrmxqwV42anRbiyHSuXRvpSpJyXJKGBm619NXxHeBFkq2ez1PaeC3lNEyx/BalgQVFbSoysE+iIRUxb2qOLicSEqB1qzjNfirZqVnYzEaBjo0ZzOvU0PT2uS7n+nYeYXMLMIvuYFL3ehmAZC6RnlvtVkXXQ0P1YDZGlTFjK81ZzW6k+r6HAr6HKLO+TKILGAvD1ANxvyoBKlQhDApS75A9N226lLgPQLwgzMNsZcuCLB8JES0zf81zyQXcrqx/hfvI15Secj9NFA3l5I/ZnWzA9tbkYQn/D2sILmVclHdkriE4ShuW+DbwNjHR+j7QyuCNcqcmXSenqLi0MrUy9IHmitdppOncn6tgUyg2RMzuoOS8KC4UmQnLjiaZ9Fpbkyqx5tb4azwqbTQ5NnSjcvYFLBuxuTD22xed3w2P/fEhU2Dl0Aw4ttEnDrYp6gkBVJE+quhhNXrlS4yKJHYc8Ikrgv1BpMKd8L95uhwXXwVk1/4JA7M/w6j2bgcCgJaX/t2dQHrth+vVvcXzVkXZNmKDonzEBY5yBLC6WEcMee1gXPHIMDFmG12k/lvpSVl6GSvDj6nJh2wKnaV9K6BsvWTckaDsS7WB8AABX3mjTSJoeg/aqFwveTGxe8zEnttdumtLAl5poDOFZzXOcH+vZypyOT8IUrNHSHcIlrxaWgghEUVTxuqW8AZ38BMaB9u+3yH8nBPW5ZtDRFbero8lcORP9fWD+H4iM7P1jW+xCxRzuSCgFHy2jV3AgK85Bj1BYLabTsN2MHbVYE34CY1QPViLiIAfGYChWbWcqWD8v1LVntg4nSJS/i32aFZWtsSi9xRfDcbilaOo0MyQbOby8LAuEsdSXM0QRy6wEb3Q8cACIzrMDqqwTBgdI+dsrvxna0iFHackqiZoRQv4EfOh4llscLqSRUBV0WFJAQzdH2GEKM1pjVrW70OjRgmHaMdwtErAVlzFFTL2K5TgyEQ0HVk+ry9Z2lETgeKN1z6UeEibhE3FoqqpUfed11myz3CAqqA2XqPcbO1keIgina6q8ikq1yQ18ALWB47hxrryKgz28HH/8NtWzk6vsH0+fM1sPzzN837q70vAHEyYRScAByGlrvvln79AlLkxEORWedkqvPaCHojz/Kb1OsoIOkjndZbdnKJmUaBprJZW68G6QxZ4XMI2BrGHeaE5E4Us8QfTsnS8CxJDcycpDdsdrFkJ7MN14OD8h6NmIitdiX5abtRmUCSAEO4vlVMsH3BVZVqlB+SGQ4QDYnQ4omzvubGRosiyBnxA3laW5lvQGORw0RYQ/FnXOGSfMePeRTkzcJ2cMPkrsyJe6pRqtNgDpyIhsAPPclwmml32MFReUmDdvUeD7GAYjyla0cTZuPkJktkzpmCGvqbcV0L9MRua0XFM1AZlTwHEbg2tFZ11VwhtqAxDVoaImG6A0IMiPgj8YZSOcviwkPxIJzqp+Q4YR0WIQ00zhitAoN27lSDqZxKki3EmQd6hk1JX3kxL+j8jRYlvdfaiNRTRH5jIEnjZZWBwKOKHvjgoMz+TYpQu2Bmo4i/CXZjkeNpbterPJyh8np9FJMA10RaZQ/luVEZmw0qbtJ5PxgkYoFPqrx8HdxzntmC48eMV0/lZrQXxjwTO5rczxat2dBeh8LCqT77gaw8gwj2CeHWo5fBG9qBJ3b2hpn/dscNX51783vNDPlkdMy02aTEp5NwbYs39Vjh3Q6ZIx17lcBwQa0EGnZJMB1Awq2lTFe8DLomO34Vy4R9Etyw9PThQfWSeCnwf/O1boH5DCwBk3vcTJttpi98zXirWrs9L0OjGcYCIKqfITmkGS1Zp/aNqf4RjoZZSl5WE7nYG2TSg+UwSN1vTblPAwP7SzC7F9JPFBLB0yLlZIAIamQdC8aSt1wCXdY4L/CaJGlyHxJoBD9FVaGV7C0G/8S0Vv+JKCX3aPkm/hOeUR49MzkO5Vgp1FAquyNcqTifDTDzRnKpOu/qShEawipdDif4QHesDcRNYTjj+TUopxcD2CR9k0a/06JVv0CbK8+DZ/EDEHwwM4/4Jw0v+QG4nIM6SOM98e/TYBP+WqxlEqIw8Pyx/fiogknzqf/ux+f1R3mPbvRPIlFG2Ta3NJMbBbGvAwNQvdHOFqM8IrWutuF6o0rCuefjZiM6Guu0PAQ+gEYEeTq9b5qA/0+HQguxREJSdTo0P//s24Tr6ofdW/smXCmh6wy9LGN71j+Q99P9Hhckh9Hm9RCnmE1NhdXYUCnURdriJHyFme2N2MJKaTYgGYSOKXMgAycU6nWDvCu4yeKrynANidWvn6lS8LYZntHgq3Z5azVkegUkLptFIqruS1vqe85DGTrz+nKHd8Cyp1LaS4k2uNyETsz47HVR+4o6ZchkFHr0/cyRjwUyJhVSTL2OXMhzbCQX9isODyAVsJRSwSjK2+tLfX0NR4d7tzE0k94UaUdulPVkOuL6xiVjHtCiThldMU3fSscjzd8a/m+HQiqW6F477DrHzmtTL3j/wxg3Q0gkPCj9IwRlm2i/l+hzC50BrIol+yqUEbR/W4blzvYPsRzGKfQaXJCzorn0FSiAwf8H8l7gDBHnc2JX1mDgPSS/CrawS+I8bLOCko6Wb2Oi1xVm+Ri2qgQ6C1ieXYndpJCLICzGpXGEpavhnDa93rVCmFsJXv7oepUm4DzRZdMQOOxHAYBrsh+8h8uv2HKHqVTTZCo5fT5SM8qOkcUPQyn/iHoZIXBAEnrdRMmacK6pn1BEnTzxKRjIhaDxFrseBaOkniKbJogD6fUotoOFlJlMQ6ns9tVCj0veCgNSF/enXFOi77JSnkwmS9LA568t2NU1+e0kK82AC1TM9ODuLOoXngWumAyksAwXOheQgH677ucsBeYd5MT6QqwOYoz4yuIRjTPB36CRWiq45q1B2pGIcEEozEZRfz2Mt2ln4DJ73vCZsSggzxXui0frH92ocZC/OSXTrzhHrrcszZmm7qVweU7tnyo+Kg95QJEuLyYesq9HIoaYLh3y2p//r0ID+SIaffg+2YGr9X840mt0740+di/t0qW/Gyh3lRQI/3IZoWT3Eb4fY3p4eRs0y++IXLSb4ON+mnAQEbWo5tQPNbPJfCQUUfgJ+On/qSI1HxjR5rksZGyjJ8MkYwPEv1UleUlPLyXwxNtYvk/iXk3MZjgzyD2rghFl0G/SHyv6wcanS4uWvlc1cBqOtmEKeQJF0t7ymwCsrEGJio+whoD9/Yr46mvPTkCQwQMRw0DnxejfF1UYBlnLvIoFBT35dD50c8JvRi/W53sAzcwcxJw6q2melqGmAuWnJyqFI0Ad3Kg3VnLHmhiziOHTsHGXOzEgJQsIxUDqdSyVuOXgNG2lRkoGlXdwMqm2hMiwTXMGl8auo9mz33ZqRE69P2hy2q9S8XWLUmAMXki1vijX+c3/+MIJg294jq/J5qBYworqRz9ALt847NepsWU796US6FEBAaSKkuz4MJnxTuoiQFikwP9FUAGfRrvRhb4A7aimVZ8TXQMyRcptxGbO9ByCfg9hOcqLjkoFDyh0gFtVgOtYzZ2wWJpUENzzkl/ZufQpst+pEuNUtK64jMtMTigppRYr362hJWiylwjodjfWDNuTf5unq6vnkNXuIopHrBzT5/h27iIz4IwgJ0pjpqPRBhdabmdA+cvUXIEJskBDV4q5YfMn8ExWNvuD1qJ7x1ZnQDY4pUybe4sLGSOyGwHEOb/lXQ9yktSn/dtjceJQ1qJz9NgM+wTYJ27fpj+GmGCzCWzrdEfzdQpnTlPAJAkLRoTySbahlLJMT1v6SvUttP3y7TEd4E66XYKd/uFCmOHaPTzPi6ZjFB22vPIg9Dvzm7pzH4PU6ZNu4MXUGCzkLrmrYkJYl2S7xcoWo48XY1azvf9ZtyDB+6SBzDCJzEfapfaNuTKHHoi0I2cMqmMBQ/LnAdKM3wYj3ZqvKv9tmyQM/zMh8f1mHgoUVt1w09bVQnKWYRa9CSiUXgq6JExA5D3D9k4SdO0RcJdW/4er9nFGWuCE7KCkOn0LFQQxWzQ2ZAzQNleMlC7EyHzG/QjiyE3gQBdLjg/tjQ34mdIVFdUbEX5e1kOHHcdIRnhnRrkRJaKr6m/7juUR1QjsH8UFOjj3vj0XVkOwkKJuwuR3gV6eh5UzRkDyYBmNIVUJT8EfswAdEZLvw0/SEtWFuvmfHQ5xNXLS/+pHrX8oAHqMMjKICN4XVSUH+Z8QXGUGEm7eI89i4R9SBL4sxx3k2qk0wutzCW6T+iOocuoZGV27sdOaBSbnZO2356TYM1BbOHrXzeuXbgt3LFZz5rlub+ILjQ180gwqnSqL2wVT7jqF991JeDeaWfVxZeMvZ5kilHhYv9OdGVctpoxf7jDpr23SLoJ8wSh1mBcVPop1tc9CWLUrpptnWA5ru8RQFWHCxNEvBsaVxcOdMkja3CQK/TRIa4ZZFAewJK3J2q8V8RCVj0JgfB4eWsa1aCljfAOXqarSjmH9gdpNsUwk0X02easeJP9HNdC5uzDOKqvBv6NGpE9uGHJv8VuxTidrA+V9/Kco6HlJK1uB6+jUjQ3+xA+CWj1a7cNFGpjXPGtxdMJj/sesvw/N85vYtM761dLAWQTSj1PgtJed7A9d56J1l5Kpwr0D73JCv1DU2M7aQYoNdAqg7ZGoGQ34lV8qWnCibMfonRItTlW13EIP3T10sTrTcAaenCnYDNDf/dIdOrx6rYGpdQ9WJ1l0DCDh3eqojWIXqJbcx7WY2/HKmT3WqYONX3POudC1WuPSrOZdCBfc2upNJxVvE8Bq/SaKz7hYFhjvwqlNacn/L81cBV4ARbBKr48iGKz/S/ql5xYr0ObyhM4qL4q0s706QjCNWUO4lA/QmIXM6VBdsIDsDdB8OC68RYSlz/oVC3S/fddYjF/9cw/TlQ9b+6uLHbTd7SdnPqAba+8SgWcVuLaAyd649kl7aGMays55UoxCW3NgYSplTqEuenH8FVDEJu91xK4GiSLssV6BlMgwmZWxz/VDc1+d+A6f0AAa+IRW/oZi9Wa1miJofK1p4Bg2/QGi7XbY3D0UgmEeI/b9NETD8FpJIea3pYxAu3gJQnqO57Q/BWUiwW94pAWmX4KjPrbWBzoUimIezYM3pXAlP2679EXi57MTfX7sPk7zvTTgDr4Ez83XGpUXQ1ffA+we2mT5iwrQy21d4LA2xRvLdw2uelyEgb3GG10uyDDKhLNrRXbkzzIdu6ZaqVBDXgM/pTlckJZrsYmD2hoLVm9qEWg74a7qGyN6Kp3bh1792ysNMH9Eqc0240CCs15s1aomw8GsV3DdantkhrBPSC2lskV9eWWFAKtusUnJzVRaeLiMr0i6E7GSpPgBHDwyHdtEeDWdDjV3yS0gZ3MzcSYNuizbhKzZNUPvx6e4mmxh+2j0o+Z5/b7HCusnUDQ7l4sunMvVZT8PcDuvyrHNia6oB/qxHuCquZFB9KVMv5CugFc2Sn5nu1VBJ/XFdE/NbXDyKYGBoMjt0CuAxD0+oK+/pvi2tV5ft34o78jJIaKkJhdveabuLCV0BhXR0GGJLislWPlr46HEGzCjEvnQ+o1g7p/pIpp/lDsiMuUqYLRtvqIyEaPIi2x+FZvIaCOj7tVQ+lQ0KCdl+YQNV4qtmEP4K4USGwLDZdDv1o7Qh0DsGXaHpY4IigGJ3b0nlzhO6XPEwoZMMZeOA23qOH6x7RPHoJVGUgYz/vr52BHGMj7tVM5noiD7cyyBttNdqkRG6IPgxpdPXIrHqI0hga/MI/biZ1AKPAYxdu34FlNS1Pj5QnBNXE2Os++KbMjqzgV0e7al8Lpk002LAfWxeDK1ld1eNy5tl4B51dEX7Y9mfd3JmjHuk+d2rybttLmCdf7cYDZXyEMXU3i5sYwPNyya50GowNLAx9v0A6WqmP+GJeYky1PWynmwk4qn5q4JdBYgXuHeu9lsBtpceeUS7vZ5dd9ckquUalY+n5rM3HXd2U3p/8Fmd0P5XofJN/wbUQBv1ZQt9iDgRcu9nYnDqf1zZ6uECC3+V222xT1x6t6n6BpZySS0FwmtjGc6xtWz6Xr0a1HattQB/l7ygVLMziaBxw2ZSRWs96zU93YgAz4cLoNcEY0rsHlCJiU9UY9AB1dtqvvPxBUKxd3OIsq31IJ7LNAt1/lReVAWxtBcM/wIYmkwolFximKD0V8SVUD6Q2jX0keyzKFiwtUC7FuQflEQg+tfnjEvuZWQ2g2inHFF6A5/RfKi/rknAhhkvtz9tMbJe5i07yXZw7qgBGxXjwazVUpPAulxmVVobfMpafFia4ShEGlc/IMBp664f58xnYfSxJbXeuOuE5e6CMHABZIThbonSuESm+xy3s8UyQIWuUXDNmRqj27IBNi1DWv9EStyxrYHgfM/OUcv1I7vj9TL7XnqKR4QMtPKmksfN7SXUCKw9+l1DukOU+eOfZngHsBq3REnHXDjOiYkZUaaRqIcUoNaeGdrhDes2CV+GbVYesCq171rgmh0a8X3/wZIfWvbJQAnLnw43Lwy0ZJXFfMabXKhVn+w4e162Y+0g3DlwwDi76QpAhQzLGdJt+MkOErgR+shIeq0fNpBjbbdVZ1VY/Wt8Y0wTkzIvc8XPe7ti+BMBp68lli+keq+0sqBeKwelGf2MyKPQrqxmK7Jc97M0Ykc7ZPnOLSfCN/+poQvtL8+dJidJazkLjIjmFURW0M/r01MMyR3zVyCCt5gPdQ8xGgfpl+jTfEQhwYUfmzuUSwKr1mPTVtkTThlJ3KmnMsKp3MHEAf/v0k1HJaWSdEjwddJqMxjvgnFK6cUm96s/DnsPPS04cp7gqmbex3/0VRhiw6CNuOxR/Nypphd7/eIClOe81BinJZfTlFng82bFOb/gLDfk57cDewvoTbBxfPiWBsuGI+NBatWk2Op+Z5BwrgFzPljOGMVdVbXoXXOn4iUX4h5Hq92P4a1qrXTwan0uRFVV+o77yTo/PGZkTgnGkXJ6by+hJZF3mDteNkCAMzKqQkZvj+ufqPbdb6EZ3TCPnM3tgnoNorokcAwH0MKvhD6OyWbSd7Z7JiGPu5ne08jpGLsLtfu0xcux7vuU7DXu9YlR2vHCWtuvrFWZ/JG+7n4FcBsvgd5jA+EP/e74fOdOtslVljdK8CivvEUUKKew3Lmx/k+/tVGFq+i/wFYY7875WG50plsLhe7Q0QAQM/wNYD3ZF3sN5gmeCFpsSCjVhqYNkzDUKbWAwW2FOhhYLG3qOfb56dRTqYrzcFU8vXwcAkmBb3V6Md7LAjgHhUZveoWNmg7Gg5M1Q0SBwdFdlEIn877quWsSz4a/3PkUgqfE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Op0ycGFAinQr8Tg0aHv2oVInweFtzvEEifMKhzZTpKEJ49HhqRF4fmxZlZgCWFL4rsru7pegGBR3eobekY0UxUlSh/fnQe5r/waoxZzq2Tze9HsPCuTXrBlr2W2xmiHud+QqWYd0Osnrt5IEluMrnFLxkXX37MPxN2QIsWUHhX6pSmPHMNr6kWjD8V6GcSroUp99SxIRmX1IHTvUOQBeOfwuV7z4eQO/jhxO0XMmhD3Tq1tLeC15K5Tb0/d/kdIJX+2Q6mQcHcVRjMlBwuLyjJmZARA/6W5xGN7Gl4EH/N4ovV6HDmxmFK3+EyvKdHk9p3IcCOo31brP7SuOcTIA5vM09z533be4DTioU1Oa1FB0ArI5sufGIv2vDq2uEy8z/fdXx9DT9NTvhO5lPVTnRtVmWFFUJMrRU20gmNSZwRRUB3PgnkdiSq1kG0CyptpKZSoYe91AB6vqLt7zYzcK96OP2OTUInJcPxXoG+Y9irlaqK8XHpBQJEyVPLQtgzNaaQ5LvoSXSGSLaIY5EXO/5mHchH6TWNBJNu8sa38Hv7j5d+a6GVqUu5/9uzphDRybVSTQkJYnaKEkLvnpsDuViartB+wlToUoUR4pHBF/TLp+D8ff6uBR7WOquoo3J1evRqYRZNDXpkgeZ+i2+6oIFnn8azzoaf/TiVFQotderxKAX9QceW38kySj7/f2mBFLerGWDg/vNmJqTfmq/n7rmjEszjybB/E9uynIPVU35bHnkOl5ft92AYnxQc8vyVW2CpdG3CtnXxBroFqqhCdV/745O3euTyd6IuBjTImjIo3vQOVCuhC1seJwXbIEXQcwPLnYnK0d89PcmyDRG0m4mfG8sCE5lXuRkLv3KSxGhXe4EpshK0/L+VV1TluhnsFU8Lm2MegwvlpOKSWqiVEqcx0Ojj3E8Km8QX5KeFgOVtZfXeKsQ8+4ID4AxlQw80eDGcxApJ8eABj1YssUREjqns/w0U2uKHZ/vAL+qfc/+UpjZCq/Y1PMs2HTUcWY0CNrHEGZwh8NBGhBvRQOWj1i7OJtCmpqZ3XJzJZ/tJBCC8smmYqRjU7rmgWmMvrQPdiS04jeGPYk+yDNq4k1b4DAbWdbjtRYkovk1huo4mc6lWSjvj4tDNWFeJ+30IvK+6+4jn92rKN8T/8fZUNSz8twUYDeJYO5dWrc9GhQQMKomxuYM+EjOD0mvTNOOw6Cukd44GOofEDqFPzvnY56JeklYRw1upZG/SSfGtyE5OkiQ3nuQnu5kvtQdJikemJ1KtbniaZSsoBbwYYCe/PYKPyIhxT4plB266+U/2eg7IzaJAWy6B25d1XMmdUkRJclvmJISphqPQbChutD/lfC9TlTyKh3idGQxC7d9eGnwJQuPlXSXmj4ewi6e4PzKKU3B8bt1eNEjmHc3z/LM3yledqCRXAracMt+/f2mxHazsSSH6l7XBNLy9TOfbyqRWby3YtRPYfwFRlpbBrPDmu3TQuf89TG38LKnq+CLY55ktrSyBmd7Z/XThjp5TGUiIqo1HCnaUFbPxIXfjrq2WKQ/PvWuP83ZxBIzklC1zSnxyth4jD77wDNbW93tfnE2iKu7Efurazygk9IiQYqQ/TgIEr4xsFUl36VFuN6IXx9ERs0fBRNRlDMdefwevGqQA9WYt8OXyiWsBxAvvRHBOFydzFAO5iOwkqz1tvNHS0vHTjmMJ3mT4tpz+LslNyffFU9u5Y31z+FyjYI1c3IhveZfMo+HO+ASS3Iz3Z6jCsMlA+hGJylD+5T5VsrW9WwUHbRRESIqLemnR5d7uoRT3z49i90fl4tUbC9ULRqm1D/Pw37vbTUxHwPtSJFbRee3jmXf7qaBPg2Unbyt1gN1EGGGTQwymLpv+wJ+MX6FhlRqk+AMIf00A688+AJQS8ubvBiRQUHEMiPYncRur0iKYIG6h/p/FWmF+VYfytUTCiUzIfRATg57TR1AFWaywXGqyKid1r1gqfFbfzXbhOkPdKNI9yQ9MwJWTJ29E/+Fu3DK+fIpJoeBSgmVzHLzTW9MgLHveMO4nFPNOzfGqAkrGlWS7q8bUPocNvjMSFDrwS0Gsg+ePD4I+HyWsQ5vUeJn74u79oyZgvXL6XFfeQBakycuD3wwH4Nwetnn0IyOCUCgtby+VfEuRuO24f4POTafW84A8vwKGi9mSf7Pzrd6Ci3nC4Z/Bvmf30Yyg7uHtLsuO1IlwbrikRRX8zZ2DDp/Z51Nm/T36OrkXrucQLUhQ1b+tDEY0LWo8JGUS4u1I65Yc4CmBMa/LnaQumf5CxoXOnBVZCoKM/RsN5McocdR+NU6i9J8IAbAYl/gU06X2zUmJ7VCTn/n4RhPfQP9RZUIGEOBaJvQb42aHzlxalgqxcD9MaQT3dBJFTbrkzz5xlA1O0vT/rezcy5JvHCb8IxoqzSKNCl05d9maVAGJSt1w0+f2pnrh+JZAb5tdq3BIWvZF2yF6DHstMIQyvOTFc2PkeqvNRy6QSxqiL86tz68r5RYj3thqEQa+fdCjrjeR5gbFpV8vNp6Ay+PLSTT5F8AaiZV9kB+2Pcj2RqnhNTr6VUkoUHQRJtxbCtKnNdc+Ax/qrKNznWDwKgn80Tr94G6PmbUbphCTi2lnUgBV9QkfwMIS0Vznod9mAL69kVRLguZCSgePiWXZY3BjGaes86hPOkloiiQFqpY2rlwtWoUriQ90sRHp1JUtJh1wJJVctP9PIXsq/cbSHfX8KYG7vT9U69jqDqcp+kEVGJDDepy9/WaRb3AbXKXgwrNELVodiVuzCZtJuNWFDXecMFg2rLRudYCmzYfEbGddPSKaXD6W7l8Nuv/+Es01fVkfnxrLpvXK3npXeK5M5I8h5ov5DNFTd3sqcNNlZCFB0q2aaI+scqzk8pS9V9JU63e1/PaD8IpEZa91CM99pMw6GHDKaB+HRkzwPb1bmj69xty+PfISwKqQ5Bc4GgjrCM4ZFljSrjSNZ4JLelwDaqZNof5R+vFNEpW1wIdjC3V3cV+VwRXGRP3rOTrbqh0n/MXukbgVl4GP21rK+14DsjBSuUVsZyZQ64K6vKUgRQ7+W311Wq6BXB3VuOSSFl7vB98uDJwqV9qnAXvcDKil8EwBFgHAu/KzynLa9EzSCidxV6zymoXMQ0XtQTBnvc1IXiT4aJ76HPBu+m9q4YJt7NDgufrNKUginMXckowahW7lvlVFs5px3+i8SxbOiJifgp1dkEk6kUCqvhra6wvm25iQkl1mjk77hI/Bt/RUbrVfokLHGEnU5L1fLFTBZ/u7Zr3qKHbVDNgdCHk0NnQg5DYxmNOVLNLdNQuOYXcEqBKIlFq+BzbnXQjVTvBK0U+KSwFap0xEynXECO6KJVE0wujXypmrflo4zUepJhL5n6N4JEE7SfUir3iVYhz8D79pqAAhOAeuIh2uZeGlQF4n2VRdqDMXWXSjVRj1tW/LHMUd2qWY+sQbpmE7HPJCeRNVbOTsXGndHlrES3eoTb/uT8iYQN1wFDGkNKFCZNPod3XTKlHB4BzkWpJyhSk230z3gtQlzHw0mMi6F7Rv8NafbOey4mUUU2Q1BIFDKbmBy94MAiVQ9DAeYx2MBRityKHzVKLT/LbEMT3kt/lptphSMJk2wB76L9dgMaHYKAlJtnR9KdggEzOvJnOxst4BhVCmRS3t3iZyIFIX7RO3oTsjB7VbfMld7Nsp4ubaU50zVAh7Fm/TOg5RYEY8mzjufBlaXnF5460O5JlhSXgSJNvWWkjnaEmmI1WR2OyzWcto9jfNzNRFm1Le5g2Ek8xUyNl3xgqdjBFQqe1LdtfbWS/6fLwZRGUAxswHtyhgkjAUCyohgnV80UaLINrEFlblzWoK80PjpFd2zewGND2QFzu44iv7AHjb08OVelDbnlhOPF4e250Hnc2eDpKdlOUSodvD3Oyv1cGZV84ujtxgprgJrUxynFw9CxzxqGIr+cpsIKENIUAHa0FJM2YweVaFHthf+8dM3uk8zjnZTXex4qi/NYmowR3H27Bdyc1d7xNrpJd4Rodzed0M/RM+FE1lKtAmTs9DqFT/YZd3ZNvSOagalqqbMbJsHb9Y8ucnZ46rE1X0GlZg96QU0CKyoHPYnsYO/enY9JhPgdpfpx8DLaDuhOTr/rY1ng4mrDs2jqFIQ0+3+prJhAJMl61yf4jSDFDf5Tn0lFT84REWZ/VAVvTFhJz+bowzC3sKG5VvC/qyFS9jzjskdJV2n8Qsg1USpTyanY9t0MjYMlsheDpZTyhQqfDm1vxkHoCigkyC9xXHQDQFK3GT9bZvS4C+vNTlH5yhz75QUu5Ol66yYwgO7KvxNTqurt0fp3ByuXRxM7c+Kq2kLDr0bXBvn4gXP/23uTTV5dHWyi8YjWix6h16VLs7empkOrQv9SF4L5DWKJBWqic1qYlJGY+5mRKDYUXIT4WpMz4g+285mB4ekWqbgUtoDxz0k4z1Bbx/snIUSj1GcZ52BvKUsZtPti78jIoNpwzFLRH/4nE5856hkIVLFLHAMleYZbVMzaIt+Y37bRVPtTmeJJqoqQFhl988bGt6wR1+PIgpkkIYpDNLZ6ZTcodbntn7494JHkw5cyI4yKRirc7hdhAi/Qx5pqm6UCkGPHA9qCnb8xs1C7zKLJ3566kjYrMtt/FaHbDC4/tlGPcWAffQSKD4DjBPR5KuJYWb1QBD3MI+9twYJvHxI1q1fNsHUPWPFnquab1QF8GoAFjv1RT/JBdP7wzkPqAzgRrV3mRdK5c6d+Vq5uigpS4IfBkO/gQvt1KexjzPwNIdvxJjwRFmaavGg3FZX6hh48HZjj0n01sacyGUSJaWuTITsjIe3vhKYcGA6eXg1b3sOIxYb4j549w8SiNu4hGoXV1Mo5I64vxwNjSGtRLKB7jbug0593GPmZaxPSQX8Cj4D7jmx9/iPU6cRmw5rBCzDxeItq0ek/Laa3EmBZRHeDWugNuruaU2yuF4V+wcBvv7rEn02XZfr8NN63KFxvPh09TE+J2nI4GnxIGpdw6X+0eDOlITNiZ3ET2eBmDAiEZirhxJUaMED9bQRJ6kXrneA7ATpCDpTStjuG7cszGnT9c9IdkkuqSQuGtDXJsDXjpUEQZFtUrqF8Ta20lPL6r14Gr4T04LEZ1VtDD+krcBQArjWzyp0lHcOz0MPNATH4TOUHiJ/wFzDQ3fdWimG23AN05TustyMHm9sered0fz7p0EUbPcAaNISpF6mMyQicgjXB/8UaggYOfSTm6AwqzDYeFbuTFKuNx+EIM5wXC9PX7skdwQ7lEXEznwl6QbX0WHULL+0STBIQuoZyd+s2K/jSag/nfXFAlr3Wjbwp9u/Qgqgn9Gzw+Dd6LegtnOFzj7/3V8VUBW87YlQqm0KQGPyPoWyNhp/dDINzdNwzvcT4WaJ1NZjxbAthRhq3L84yQV5WX+bt+DMcG6Fr8d11DGRSdi8yFXvsjV10NaXv/ISoAr+WEsjjYz6e99w8Fn+UdF1H/t2jRrudLk4wl7GlO2NOphNxcMmLjK1AKjqFncRmUgTGAVj/NlmKnIjda/0JSgtoNY20ysVeQFfCN/nyEOO/LBtN7EkZB6aYk9FgYT3DrmEOcd+pKaEyt53HAqI2zFbXjEDPhkTbWutmJ22DBuLUoFnRPSK+UxbIWh00+QaW8ghHGCaefioI85XkSmiXCkC6idSdMSokw0mjbsXth9em+OpfqJYFJuzwWzLhmIDKGvGfPvp5LL+J5zwRh/FqIoBjGXRS/fUM2Wbb5w+NwgaYqufqnzJX8UvsXRlYGnPEicoNr2E7Ao4qh1pSc/cSDivS7nXflzzQMzd9vW88UMB1bjNt9AnFLj1AZYcgYu8UDbCpmnphwI36igMncanaeTCATKl0Fb1vl6dxivIu3zf2cABb9aUViGf+NKa7BpAac6O+TZS200gXHXKfcOkNwVLO6u+gFP4cMIe5iXlc2z5CxzJ3UrONs/P2zlxBCN1W3XSxyN1tQMnCLL/3PsAZHJSljMvqYwgsdw73PnF8tTGddn2PLP4yJMkCjTcd+4u0QsWo5UnCIFMpt9R+Yv1FCnnfjADasGSsInUsP6XZsg/AoiKGW9jjZVc68SUJb1Hhl0lmrvnFudhPuhzD+u6khUYOIO7f7yCP0luk2y/+SCfiEQaYF8F1JKXlYgSs6oQ3rhUAyJDaY4YJSxJYP7rQY8MB4l68ege6LcyQO5C/45OWsua18o4OQ0ql+xDGgOUiKVLAXprbnm+SUzqbCq6AIi8reiWAI7R38u0nNJ7AJs1S206xjBqxSHwGTMTBEkat0aGdZa4hwKjZg/W75fAnkzzi5b1mQwoJC7Ghx4gAWEI9CyBtm2RmCetF5CNhWjbR+0UfCjQJRCWdlnYCxp2rD4NUkk/OoAxOZxycgkEotwbxLexvg4kTzZS7VmK1gyH6sNn0FInRbjD/sN49UV9vaceCgP/d5chUb3iu3zJV4ipCQMh593qsbEtgp952u5E77ylkwkKqbhVeS5UocpCI7uCVq5ficB5appim/qiGtqCoEz3hkDYG7aEwy6LAxcnyD9A7mQqZ40LNeTVYOe3TN4/gbjJQP3SxAqFxfyUiEP3zOKRiNp8ulWrPIVYJdOCTVYE/T8dvS8nM1vR8XJ+3PibNlRAWYBFv6SkjiCpi0/0HQjMX9UIGx5bK/kp7Q7XyxQdUCW/UYmgNDEwDZWnDWB7B1u04Cj5O66ub/G1qlKX5901p1v2Dtle/g0IbwzaLR9ebQjLtxtc1bDXbksvYjr2Hv+eyw0Gy5zU/yzYe498vlwYZ1IQpGMm+/ZZez6BT6yPJlXKG6mQTTLD5a3N3cAc+x/GbFHtEMAxa4OoTrw2t9NZCA6LhJraVPToA5+iFUwFhg8pWrGScxFFJPORpWIWrZWo2hvdzKTQ23eTeC1h0y7ghgYLzBnxuBUGj0y9E3KxMFekR3hR4XZOAFlxVL6Cz6OUumz5Z2XQQzhz7Qwlb5ZrfbKDNh0rZbVPVWmzMpdQybq0Mmy8Dbjc9na1jMHRbIpoDkJk68vxdZ7WoYQCmHRAUKtj7HUdiYLf7vMLReib+m8FgxIMDwFSAw1tEw8QCx44LAOxVNOTb5BtDF/fBCfgT084EfiUF+3crx+fFbLPsL/FvZJOUTkQ/SkjtLUxh+XHpLcqs3gALnfezLCHYw9+WDMVInIz408R949LqDMiKQebABKCYIJrEfD/jLKAS5ZLCRcwuMnXM3JQWwVpuPCB/7Ionmk0n3qS3+xZbGVWhO9DUK1Yd8CrcaO9/bYyYyT+cSjKqKBKhcH19wW3w2FLZTECLvDaW3vKELUnn0n7Vl19PnV/LiYmFFzFFyO2nGeVQXFIJSaOCjLWom9C1huRnJfDD5saGnr4vFtKu9SFNkjSonyhY1k9fcoQjPfxG5Jg4Czc4nuxSZoYYWnmGHD7p+Bg1YuYtQXZyOiNltXk71uFbMWKkg5KvoKLTjUDDkSnyzgP2l7Eg4s+9PGh9dubKzeVU586uncwjS3IdIJsuzo+Oo02dbAjFvNlwvAzF5h2NU79zaV1UX5yXI0aetIw6S5uDReEQQJjFP0kbw3UuPPcQLn0hIt6zwzwPjzqwFqlXvhkRgOrJbTpmZbscU23o0fmy1oQPYFMzhECfquYG+6lSLXyY5R3+NcK8ZtXqEzMk6X3Ux5krS9fpLVTG9Oyk7jI5oLgu+5jtCeXK76nqEaxII/7XsLyn8l6/2ed503UrgekAO5oWJ+nSVzksapy0C7+TPgEOU2Zw8cE0P7v674L+jt3tX1j1+EgV4bhfnWmEH+420DwLLQGpcxHXQUiMI/C7JbQv4eQLn3DBPD+DwBw9FZkDmzrT2spfwBXYTBl6jXsVnnAfvUeN7YsGg7ZZuopy+1DnIenhwR/4B34Kb4dPMrVroZc6ze/qNp20IFhmQg+rXikzV2H9/akVK5NRCJkg3MNeJ0kX9QxWOyxDRoUiL9qq9iE15PiqD5yNU5lKm05SS3TqGOsPCh33iXPZP3i5hsExng3QH3CYUBr3RKDuELCfcXf/8LWNVJ03ULkTqsK3X6v1LDJkE+5ygjpYBMojdDYbt7dH37DPU3ruG6JAq3/9JYx3UD2HDH7HABT0/6B3KCS1M8WxIC8PsFFaTFgU/eKwOc4i7AJ+DSlcIv+NxvN72p2hdV9pY6lZPhVWZuE6g+iLW6fYEwJTlYy4W0EwTIWpO1s6gqCK5HRzMlCARJIqaSdio/A/1BC0XZ++zRg/GRPmmQ4u7HZ0+Oj7GGQbCYZdSoR/PruZd0J4xw8ssOrNvNXVBSmS/AUp9Ma2o7nvvXFenTnU3WS70MdZk6eY+XSwlqI0cNznUYsVA3cDYe4slcXuR1GXEJLvJ7ewoLD2utWTDv/wHpcHaRIG1rTcPE9850EocE+ZvkwRhaTJ7IlJvhnkH2cNE0Wvz0R8vwMsSi5qtSAm9HG7MkcjAZ8PH/JGOWUlG7gVCJJoae8+SKF/zQxSWybYCUy/ES7xGNwU4b/NO67UarssvdE0N+v/jJsUPOMEYUtHr0CJWKC6bVVaeR1xK7PvOMnhwOgd5A+i346DkLQSEBWDMfApIx5OVIRPla05maERm0RPl/jkEt03gzy4Ki0ZMLV5xopE4b0bW9s3kYib8Q8BJyB3Ke5mus8mgR2ZtAgTByvQ8sgsJrTkb7P3FenzYbgl48X+Aa3V7qskktKz5HJ5TqjF5sE7ZwuvF+5g8zrnaLQiWbMxQ6YV1b7PeIXhbk+Dw6trv8yiJHm5Qkfy5x2wu/IeOjNHKrzGxEGt1PY61Ca4SSzpone1Z1fn19lkAXB2wS853ymlLUhjQ9UWjb+VAOKVHy2o23LXCiwXgfZLRzeTIy2CaKtvEsSCu5n2bIUphUoPQhWtZrd1dxDfdwaIbfB4dzo41Zmjx7D6COjdc6qg4uyzmg/9pa2o8VKwddOLBt+sGCAdoyX2MJ0YEAT2toMmVnOkCMebvreL/duqGTfwkCOmyS+caESg3LQLpBsJ6B+lQVx9nMD/RZf/BbzHwG1VWBox89qLl1YCv91GDJ4bHf8gF43xTlYeeBhBD9Bh05mEA0sfuifef3UrhK97LFvk61x3/Mk4X2/7AXR57+PsatOub3I7WLYN3RrHZ7hT2bk0Doa0Rq1ogHLGuEnH/20xbAGWSJWUo2ZtHdto4vQkUodoI9WNO9GqWhJYsHIYc4itPq4eV0csmdvxKiB04Uttsoek8HFiVqro0GAafkRB4mxI9T8QsQaTUkCg3dovKrgYMyMoaWFW4elv5gazVA6KNlFmDNye45ID4SHw7pn9z+iHixrFyceFIsL8adhr4JhKwF6xJEAZvE8h9Zoyi+ukR+wa/qvQ4RzKP4XhWi3w/VAF4mdtwuF6DV/Zpj439zeL27yYd3FJYBRd1igFvnatYhpPQM6fwD4S3Lw8z3dnnrjTkkNQFaU+8n0QqRf9frZeQyoouKKfun52wa+znXlY2UyD7Boz9UVDKCLnDNj701FOItEv3GBqZ8YYilErYNfY2lp6qb8KNmdBsS6mNtc2NtcREPTJRdoEr13BvM9b0Lu+COqX09ZkCpjxRVf7npPdQqM3MCeRR1PPu5B4zREUb1B+yQOcC5NSKiiTq9MLD59anw1l0DyeiedYvtEAqYnpNaneR2F5Dcexd/ppzyedKT1SDfWM3/0INiX+8CQ16BqB5b3TQ62rtZeAIfQyPVQ4/kXHb3AgYRtnYMEDhlwMz9x9X/hVtrx92+f3tFOnGIarT/lGJBdrwZMJtFdZB3xOssxpenewlkSSkLuQ1OoA4AHneu+aKTyrJrVpUfFwdrHZK2gRVd029rlTBlLj9WDZ9FM1O0iNuTOx0tk70MAGL76fBTantp1G2lhN2gccbIHRyKOKbRdS0FePZTqhg24pDp19OYHEMpE4dP4+8vrCYEEzxvrME80c6zmDVgNDlIw6h9dnYGMN8gsErx7syxVu+qIuNBNF9jVbqq1Pmi4Ttvy3zjAxiUeT/NZvyHtz41A4g2PvnquvvmPbrDTgURX9v2/tarKOHqU+OjrQOJ4HKW+XJf329BUNZFkDUxxO1DzR4G4d45Zd1iBI18YKPwuatNPeDC0ebPR8GwHjVTGSXAWYF+sH7LMLajgD+fpl3CT/EcqxtD/ZTa+UaGPFcY0vCI9rq+KvklLjFIqF0OqyygYSkZvFaELSovxj1PJ+mPlhOsgi6Ki+u8bCOnoAt51mjGXsSkgvKnkBFYQUz0WEG4m3AQiUUIigAzuq323j40P4N/g0JvmhCErkTTYyCQycrlucCEK0mfav3uWcc9buwoDXEOHjxz/Hu5jZEEBZAIjJxwMjJ8dTcBtYxz3fOzu32CIMVOODqgPnRG9JZuO3jYQ4RyP7fzUKasJFyA6IClLfwxaLIhEGlLVU1HO6Vf3q/5idcR84U5iF2NjKX6k6vAVV2x9wE5xHGuelikGJYWbpLlROlJ24WLDG8fgvGhVGE+gl8CEtJr51Pw1EKcJ8Z3s5y3sKRhcIz2YScteMK9DJeUgKrMw1wCUC3HfEpH5JDSlA30xx+ZX+Ohil3riFazuonFGN+bW7jCdRrKLlPS2Y0YwB/iu8HwQa/JqKWvAG6gxLn+y4yphoQvQVUjIzmokf3RWvk4e3kOAN41NhqKROPVeKG5QTWz7JhP9j/aZOchhnlsZ8WYidA7QZW4VdA5qsry3wlWsovN1y4w64th3BGV53e3I6GFqa3hDgg/pkQyCw5MJTcxqxKZfax1FXou4ftkieIomGMxe++fIGOImUVisbs01eIj2zmM1rGFpYOSTj0TT5fTiu2555aPiqj/QzSSdmWe40Mf/CMOZSy1Gqc92Q3H4uVVtyLH9pj7lHVcEPlka3KhNSNWtZr6Xt4LTG2LEemo38qPmvZCghwH5tu6R7JnYkrWePLgTWFrc7v95TcYLNR+3AYSjpUsANteJ9HBC5dzqZzC67kr/oiSKbb0RLOpoBSrV2JGMcG+duZyH06h9m0qbGHb6urEJ3TaQJpfrrIIF9PZuORLnCB9zcBqZjOyVpgFjx6LifHu8jwGrstI5S82GkAVd3EiX9rznnZWoySC+sIZUBQZcMdspvn2Wj9VHTZ2wTk250tJGCh1t5icb7GnouvPKAt5Rh7k4TmX8rs6vdgfQW57oiHP85OGOlzAABEfaFut1eR4zNiZO3VyLrWLuU+q/y9wh2Xd3qC/4sW3K3Ur8LF0Qf/8SEttV3DMXaJYKeGCOUwUiND4JyAluy4VFKsYxJ4iNxG4I3AqOLVn9KdBx46Sh/gokYN2tEgNtbGPcQnIl2O4QTKU30D66V9ROdIqxrdEO1FX+FfSHXiKHnk0MCBNk5NTrBAXyefw1EORFjqz+JsER+G/RSISyKRFyaqhH9TscuETWmSQrzR1xu2rgpGt6SLfYO1gBmdDu0O95WKfKgHNpozAOPeh6LXSnqjL0EcIxiIh3fe12U00sQJXKLVtLBsAkIuOy1+LCfc3UBjpBnY9PZNh7FhM9F1bC9c5FCIp6x4p03uhm5dzvLhG3ezRAlZWSJLC6v2j8E3rP/cErPkhEXpR4UiPq9pmWjjueRiwMy+T6FqCpGwSEiJMQfIDTEiAr6KtoQkTVAuJDNIwlGPEP/zPJvqqTCE98P1revVWgUdZKU7MCIxw5Lh9PlhiLjrGwn3X91CtUuqDxVwCf43KhzpdxdzAFvhA18U44AXg2JtoYhMNP4Kk2V87xQxBnRN/6a8imKmC+D4z3l7BBGn01C5V3DJLIJSPyRg5BFh92ZzK+BrUCC/FlV+gyJWHKcfrWRu1fX8L/lRQSymo6COw6ohT0JxRbF+zjixH5o07tAIE7Km3wbfsGZa/Jy1AhkcLtMoadJAgUO2C0IVzKF9E886sLnOrzGwywLhX05kHoKSK+mgZBzRQ68FSst/eaKgrrEHrTHvow/jsQ9dbNxEzPqO3HTgiz3EtXu55nJICAmYLdvYs6Rz4cjQhhLga7aQCho0ZScf/I4LwtJhpl/Yssn5FWtJNthYRVLknX06MiN31OUJVkgjEJb1Ygfrdr2N25LGfZJkejUcTxuSUY1BJtW/pbZtF0klIi78dXIXxOV4HPfn6oGBeqVh+1fqAAvrWs1K/9kOc1p8v45xf6Fs+960oxPwrcn78JVJtLMuiCbqKbR7FSA3uPxDV34JcHHPNL/p25eFIthb5VtJO6uEEdhL4lF6oFtDzMjhB/1wVuiCmze5PjshshQq9Hi8HMJuev+QVGj5Mo66d4S07cVDZ0VYDD14RLTwrS5BX80zhc6k+FDWDPAqyL7i5cZMEmDCHWTSS96xplw7KwVEI4g0vpbPFfhHB7T/GKbv1HmfdwOv9+93KPLYDFptBGY/NC34uz/CkafSv1gsOboJCqyjULt5nCR1fU2PE0fFVmNFlByB69c1wswQRiLo9kNKW+aIr1AITZtr1r+k4bIBlLI++WUDU8hSd7r3EhlRHYSONXUI+2tHMlFV+HztHsxLbJf7ljp9+NpLBNyZGS2yaJL7J44uiaBMnkSveAF8xJj7EnF878AtBYWT8cLQOJH6zDn39fbFxergd17JlzYWPKqK22Cnec63XFYvMub8ozdMYJW6aJco5SgDzRbJuBCXrTHAnRjc6mxo4E7XhhyKU2Ov0IHn1dfqqZpNjeBeCNrH2i1Hr8NnaAWCasXUESmcrZKrKHtD+x4RS9BNgdXgPGOib2UrFhLFbJtGTgQOvllQ8+B0fMQGwRCPXAOQdleNhp4vrOvd1O99dPWLSWksUkpwC0h9qi6JNUTDu39UeihUhSURIAnxXAwMGEJed45uepysfI7a0LFT7MPXpy8pzaMQAQzyQ4/juWMVF8KGBYVDp/Xc0GuBidCNyUEZ6aoFmeAd5wjmBP6o+xnax7Z6Sobx8utsgSM2a8mxhysirEAgcQzkB3jNjOYWYcdt0cfYuoH/oTSJDhM+cd1xcR8JC1Q6PD5fV4COVuXft37mhj0slAR1dbGkh0FZNjRtaUI25ahI2okKx4ZAm01IAjWMf/3DvJZKgPWeA8tICpGVl2CYPIvhuuFM9hoP9aCDg17kwRVHmQKgOi9gy8hg80Gl3znqy9DVou3Ym7/k+ZCO8QoCplpHc18OoN47VdU7+tPW96EWvPTwagoCd32y7Q8E5ZPK8esFQmzy01yqgPwpGSx9Pk+6g6C6BHjlyy/V5ZULQVFwkuu5dgbDmGgzl0betPV5aXMf4N5MP6bYf6v7J2SKU5goi3YrOmHlFq6vnPbw32T71riCJoYgYmRCyzpYBjICiSg0jE8Y33oYoGEOd+/mAa8SPMnl/zDBqSXA78rwH2GDRehKs2vviXpeYZhYaiYAt+utwaFeIQrBc374zcCN/zAHf4aes0x43KcuOGT8mf/3j2pXI6qYiOUz848FQTgLQ3A9XTaf4VaZeiWJ8ZLCpKhtR5WuMN8oTciFmLv1mkINxUreqiaiwGoOV0PBljGp/2rY5UAj3pExwXdw2XNFL1b0uBP3yqdrjUNsUfZpv+leVzS8wMrJz6caMUgCTyVxaebqiSmYNqC4YqoSkiJFFKodE9LQdI0ONAUHmrZP9ASQrwlSzzAVQDJ9VKzHVb4ihxLiEWPdlA0z4Dk5fVCmfT280yVTQTel5+1GTVO7iPuHI6bT/Wt755fVARqaKWYguNKBtVqdtzZg77cBDNDs72wGjwvLnE67YyacZg2sIHEXiFMCHEmXB6KG24XHrE0484Rf75zm/jF+oCgt4SensAAR8KtUbCnuAcgrT+6GjqW+eWYJdjKWSNf7HG6h9UkKwObfyRVKUNnmKFgmcGrcxz479kQHj4liH2Z6s3JAaFdv51vt+1s2p892gFJVJbdGjip/RR6VccMA/UCub5Ak/a5V0ZviWW6xRSFC4C8t35KNzwNwfkwLQflqsHoOq2TBabPbN0Vfk4f49Alx98+Jda5lpmEPtAAfF2c2Zod6StN8+8gcBnb0XON1akYt5EOtubUjnLiZKs6f+kmn45HbZ7N1KGYBzJUwzLVFHm15jfTmDPvA7dUuv0Ca2wAtFhzMw5Slq/ptqjhtpkXmjtiFrUcgDIHuELg+BehttZt3+3YLgTbblPEzB4zfbeWfmRwaMyp4Ess+Rlc4BR0c4h3Kv8LRTWNjXXtAGskcDtN7EL2nRgkcnJJ78XQwx2sf0alL9Jqm+8iL2Ni9OrxSbt01dqOvjjTSshLxZlu/wD7vzJTJlPHOT4CsjV+N+3pzkDnQdtDJsbuEjOIGnXnt4zZq0t/k0b8w6QbZsPCGycc16RhhXFSctXBE7RAulaZnvm35M7hT1bAN3rSt8rSpKqG8rJgo/D4tnoRQkNRKNPqJVD2nQMhW5WkNMI8ONZfhgNf57F85qZ2kGMD1ng76FAW5xwp1jCe2aLBx4Ru/WaVp56KgNufml8rqJuB6HY3wNizl3GLpkPi3ofWJqGJkzxO/7xbrswBMW781Bu3RwqRn7RjtpcJ5HAuTPSHlR5C0ZDLy6ABKU3Cn/8ITn95LqN/RNLfU1BtZPW1Uhyba7YAP6Cenu2+JaFkPq7PfImb6NO3kQpafDslDcGzvRxJRwKpRavJykyFz1skvoJDvIz8I2zxmAg7rQifdPXTtZZ+HhHGRbnEEn2NpsfLlyKPtCQUiukrspLInHLsuqFkkC3+KFzYt+RyvJ8IVNO82GJQwvvzbyYeyZ2CmRVu2Zp5dIv11EcezGRamdhcf0veOQlhDHK//ZLYFt8ZV4HspA9Cry7dcsgAnZ5o+KKQf/jEo2XW+YKCTnKsaphrWOn3jFAH4PxnDbJF5KhBZGteFKCnqVzuSPe/eA/2KmONIlMB352Vy23jBsmdY8tbSvUWu8KtouvgAe3l+EXGy5rwSgrCcfrPQgMrt+RPS/b+/BrWit6rg8azLqEfq/67GhAVXidYf2HjVFhgGkhR/YmBM6XtRIdKGzNoDRgoNtReknm6/Q91udtaKp2lY2qiuudpoYRH5urahtF9pptBNjUmGBg77TDKNCljpTyyq28GryRre0hY0Cgt9ln5nzwN1tTy2eU3ptFGLnz02Kt449vmtXzrdwKcwlmFs6SLjQLvE7QSzD7M3KAxrGYadDmkRW1/V9MKQzJr4b9tZ3Jt7Ji+vFtocUZ4WNjOMlA56q0qad0dz9lQYXYXlwLzni5FPV35sLsG1rjidyjVLoQc2o8yCjGb/b7E0MWzl/tmF4h0vDAg0+ah4h6RPXjwi7XEApI+yOnDKVOYs2IhMfVgU/9Sr+cAvYWCtEdMZeYd3wAvYDVqTiq0xtEdPVbjsV1IrTD5rdPRTaYYvPS8pCF5CRF48HH75xuZJ5uqMKW4y/007fxHHGVAFKEBEWo4JsE8n6hP3borRXcTr6vQTfy/yzUJCncGA1SUTfEZz4vOLXpM1hSTNM2DrOBRlWhYA5FDI3JqAUJEk70ln8tfBcEgU8BXFRNfISo78nkuakHo1buEWAo4xIN+sWaeBAgl+zXsqM9v1+E8lEW3Aci5ihxSP+QT1QbRQWe5RTzgMGjHHxXLvtPJ/cG6Tr8zuPptIIjkCY2Q1cwJF1S5Ri+dkpckV7r4XKCBjawONjCH/9avbBF96V48dHmtv1N6pIEVhfeX0VScCp7luAk36k2LgeV3WFykvs8KGAa1N8qjGPQV2+bd162NGFkG2mTkeJV3QWA/U3X7MTcS8CQnFnjpSFuoHsFfbuQrJW5XVz0uo1FegBtFtsdfZGuDSftsaKVJb8HkI/0iR81xSOJVr5aZt2CsXFDIcnwJ3d4USzWanjOWEJY0RAahmjFaUm5xqlLvlJD68TrOgfbAmxnx6fwQftAi7UzMEiQIM64mgp8ZTIRQOfqZ94S1Ravk9UcORWaIAokPg/IB23UTr+7eORgUje8BqV30WwuAus/RzPz1mqU/J0Ef+HRZD81pHTROCfGTzmDYsqJlHfHSBapFZU/yC8mOdd/7/veUORVMlP7RxQQ9rUaXF+Zyx5kWFPZ4gkiFF731zReOG8/Ad0+L/3OAU06eba1v8gpkQr/UVB1b4wfgV7V7HHmlkpcAjO4JDNYQucXVqRlL58+ihEcJFW6TsvH4D2PP9NvUCM9uS9Z0icziLIIpZoJWDR7PvG+rylrYJZnPfCViymXwHXJ34hurhdoDGw4z/47uKvsGcZQ97mqlBB90DBEIOKObreeVHKPjvA69334ARG2FbEOJ4hCyl/ipIGHzN0CkY4ctA2p1gMzSr/xJLEFlhYo12AFZ2B85BI20V+lpzcA+Jk534ZdMM3qMl1gNbMptNozlV+zY4UEI+0hB67NsyT9nUZM68TG8cVZ90iptujP8kSljwRbbpNztEhQnplr0DKhp430MIaJhsmCgbQSiqJmfMVD4Yt3ye0QaNUpjvGF+TD5CIPkyrAZfV8R2SDs3Z+qpYi88QRARCaHsevgr5X6t+XYUNVsqP6GBmR8TRX8S7+1uL1fD8jLg0ApO/kBxAmYzfV2CYo4XtdUqQNjPBw0sv1z5Ec1hROZ5x5blnIUaWuZqHfEFHcF94DsEhhqzVJrAFGQULg8jqWBnIt1KumRuk2Ahq1HRbiXGdLaRG2hbai8UOmDqripBIdDVdUhJX3U7h9DC0u3ZasqLtAUIcqfa831j2R0rERkQ+pT43x0LEBHB/o1YcK0o/OBR0ufyP/DMtA1ZD8jcL437ajZdzzR8JGx1oa9w+hOXqGxOujRqkT64DN4VIIOFTQ8VDJOHckYj5O6WXH/Xek0qb/StNCnUw/wZu+r2lOFEAmbpHSUShF0QXVqWTWCEYhfxzIWuvcnQ7GYaSyntCYsa32aGuqQ9bLM9cZQpOCthJcyzYzG80fChzzm+9QbFS0ZAl82G0vSLr5D+MLypDDBdLn+ZPCLDXiT0RsxJXqeMVHtuqeIr0tshpcWjhcvVhOU56C0vZ9Ys7XYEV5Z1y8rb8NwGMDTJFwpvmHQOFVlqigfLeFOLBLZFFCSYevDPoYN8PGSkqnQu9y8wNX6lQN1IJm9QcDDoclQE1YX+r5k3IJLzY0fDbZIYDUGlbCn2fsRubMhB6b8zUrBoJc4Kw4SeeGOk7H6sc2oSmFQJ6EmNgo/5DqAB5ejZ1uaL/qMA48AItppqFGIvVCpkV08Z9h8fAEUI7SE2RRDqASlZHVC/Eh2etDg9dxk0thL4rDkKMWyIa9eGnewq74hd6Ph1IUTdyVTs4hYLrrL98g0+GWyCgEKwZ9vSoSlBoyQE5pFzK/Ia/A7459ERunYT8YzXLEyPV4KguQsF5BjfKxjMvAXzqnkePDkrR3SFa40+pnogKOQ+5iAMwxT217Y3IsDP0+1CTjdM/KSP5HDP97T9ablITLcpzZPrn6xsN8JE5vmx2boh/3QWpKdrCtRm2qU6vYYdPV6Y24lUVyIpcwaXQnopbcdSSbd8sNvGfpn8wecVz78Y7HMpFCUaOP1/eTsfyI+nBMv2d+galEROs9lT9aX+FRZBk5ZLJpI5KY26Jx0s9CGjwF24TbW4KFBLnwthDneJUm/F7rblb2l1EWelrqKW27sTG4uVyumodp2HUTnMFUybbwzIybTVco9Y9H4Oas0Dgt/dN3Pk2+EmSMdpS03P190bSz7g5XWphKKgXM6eqT6n/BAnl5kocFftWVYIUBeSncdDZkeYHDBMu7By8p6Lc7wf1gLzOazi7JNfuc9u+n8bK1z6KKWT30pxxeTlKPOZVklGMeinmMaQgqVVTpDMcXmIBIr/0auV12sk+JU8HgAzw0t93Lr6RmNt+j+/cQop+YWjnoT1B2BvcfMw5HpQzVjQj082bRbNZNIJnOZVmHQd2GpgaLrD6D0i74lPIDWHXNmOB7O8+gKUPmyrEkaJNxp/5u95u88UyX+Kw7YNbxh0ebxSEn2rt+4PMqX8hZTBBSmU6sQHOryyhrrMTUkP6Jj1q2ZY2iLkIHDDfoboAvpun+M8QAG4k4rzk2o0K/VO3HVELQvYI9W2C7/tWi+yGUE1dKLykoRYT6CZNxY111cBuul+YEpQKLRqjJojAy3xLJvVl+Z2IotNcHdIFnTQHpI4f1HJu/p0ZhB6ObLreq3wJBA+ZxFJNS/YS12zFkIJo6sh0Z4PL2YE2I4P38/ceZ+W9yjkKzjmrSv8GrR8eY59ALXMiBrXH3IbeALEeK2YDhHuujhBGy1R3Wmzd3pm/A9DyRD/AsE1Yh5MH5V86azAL9U+V15tMJ1d++i73GMZEv8DgSrd2m488DCOnzB+qM0D8KS6z/CZ/kAdsPp/LEBtMEU2thoFIsrgXUVg8uwhY8tkn4eomNSyxAxUMfHBzyAaNxiHduXwna0UZvO8f2XipmVMzBvgpUyEuho3Yac9IvWGXaTecOk91bd3r/Qs5lCHnofxtYTkytcxAVZBrf4b4XJGgLLiyX1pKZ1SL5caO43pbG4EYnSJKZAYCLm9lgvTY7AO++tBfy2pbTNXIKZzCAA7qKRD6/Y9oIBVuBBhiBVGu8o+Z/6eomBYkPWj9usGmjqcg7zWqKghJNm+fmRIgDu/eK8y6/gtIi35M1BHSXyNv0QGeoPyhlOgW/Dy4WIXmC43oYaa+JbixDcIIv7zXsAEKwYTybdDnKBCV02tVigp66OMOnZpdsUI2rYmjnBY2dZyg0Xc5MoqL6VWi5ancqzbhq26xZzrdIkUyNhFKax4wKPIA0gWZdxFeEEKdM+PPVvmd8gqxmaGfbAvTVxl6b+PgvEzPHjGZokcIsGrNRBZs3rvwIU47/zAtJMPf1o8CW4qqZdpM2JwHqxwkBdO1t9KQqC5iwGRJbhuftmcGyiyDo2Mv0+jSs170We51MwoshIuqME4FEJg8u32m921reKrhp0l8HlJlX+ItAkQZHzSLo+I9p2n18QY/pt5mWWKvtPEA76UHXLNrGVkxj6cb3z+NJn3rqlJhTl4yp8LeQM7gF/qKJEmUIv1PS7SvAAGYvZq2tBJyM2IPl7arCa1O5H0rY6e0usVuSn742jZpEb4QDuqzTcivR6wDzA368D9NoqSsLKuLi/q5LA/I2vpwZqe1ZGtfi6yT9m6TWNtd1hEmXF/QmbgNx2jx3YinkoEJHFD0aWQatl66GdAF8dFUrvLjty9eZyyarVa2q/5CtLpqPXI5nBzwjoUzKBCfR4sSwAywAHUmpWFwRWhX6D4etDr7xfPax6jEbd/38Y7wAohDoiDS0byCYQnjDSAnjJuSsEI+ZUHKJDbtBEv3KFKucPq+de2wXknUx4lxh13Ja81JfeDDlE0MbgqaqXiNy6EBvQ+mlYvXgsXun5IPh0sOiAfjQA9IqOSoKhz/ceDKMkVMdyiCIRuhchzAk9gbAtE6gb1o9JItVmD5izHbphL2YPiXmoc0gv97uQ6Sg7K/CFzWKhyVOl5xbBgKdjZcEp87LaAc+uZeLUKKxhWt2da53bCiY2zKWB4rbHGZMNGaI/3WZxt8ZSuNncmNjDD8YaNhheTAZNtDfEPJdY/Tm25u+kcpDDPdXdVXU/ESIT3oJgbEOyiSlc5FHtLXvnV1ga2DsA3iG8YlUXPItVYMtEwwui+5qDkGggT3C7QnDImjY3W6x9XnvY9l3gj2hJI/bYOFJetE2q86eP6Qk69voXmD8RMkZiDXMOlUgydJ9qkC0n5LTxMrgvXOcgzmcPhznkuGMPjm0TnyKAx6AaxaAuumYSGAYOdjntXOgjIjpZj5mBiVnHlqE64i2nyi9hyR/Fodt/i/otgEGu9RjT0aGSC0OKkbr7Aw1HIU5qHlKB7JJXB8eMSQGloXA406opU2SkZzPpFKOcTl20jhnsGc4XYCsPW8Wdpupt5Ay8Z660zMNGkuBd01eQOKy1OPCpJR2YANVbRI8WFb+fNuAIrpTm3DkvEfhnGru6TFsGBen2kl9oC95Olcyzug/JJz44RgiOTSGfZApMvfPocitsMYS5r7kkEE4APb7hdnzrTRd65IHQXwmrfW+uKdEkkvgr+9TtvZh9iBW4QWyORfkAye7erEbK6VHxCFZQ9XncME6H6e6jM5KsYZWBKxzqsjFTpSwiWUkpVL7XyFR2zUdjpVSDoOXeyKjzgPq0kysZJjcTbMAdrgcT0V/lhc8yb9d1KYeOyZkS2X8/E8foKJJKuiUg0eE0jKUiigofYp9wfPakMYNkwy7aSCGaBoseCncYTuAVZfTT4W4x1YWO9TUgLIFv4s6aWrg9IHI3qRQeYlXVq4+8OBvDc3YXoSIQ5Bs44xeU7sCMmKxoRkBnAC2OhsUZpWq+mWZCU4manl2p6YJdipTbMkgkHxg4qsUM/IaroEqB6V9pLXnu/kt57qsViM8Aigrnw9jIvb5RfuQLX5lFa+T91Q0X04WJpxqyqK4PunYStvEc7sk/kJ9kvYR2KB5UiLpCM/n5ZU56y3yDuR/4hc5p5qHSm5kkHcLimDLxOgbLGCeIfaDpF1kBOOl1KLUS8oaEvXqqGn2yEYwQ/aRyQqLn+YO1hil6c1JddqmdH5HSlH6zMBVdfcXg44nNLXa+Zz3glhIU2Iv+QKocnOOJ2i3apPGoBm86Pn2ilI8cV1Y5hRqQtGEzmD0dAFid96/Q0oU+ZzwF3A1IXRtU3WMD7747FWqfXfFlHFwyEbZyYnUQ3P3EBDE5WTzYYJLIbleQMDWltOj5vYWxJvgBp/11mJc4/JrrUxTuGfQHJSKwbk+D6gVY8C1i61c69NHzBIFGWBeFsOHRAIUG0dZuif05TC8+CivsI8pBUUp/yBhSwWzsQ1B7ygtAUYOigyqjUuwlaJkqoDxKVdSzRCOWGCPd0di+HKAt2xaFbr7cJ6IZwV44Z6hx0I1+L4EIp+YpVd03fnV37g8bW5ddEn9ydJ77h8GMj0eg9jVe6yF8Gl14QpPsuS0kwPaRhppKlGMl2sFT9tXUfbRURHepc958aryQOcwyLqO0oSP0I8FYj2gIIMitJzSO6CrWT3xhqR/V3WSNeEkgfVnyVOrps1ud8o+TMo6ykXTifQkl3kuEYoiyQgaLWbfII4BUW9x2XBZy6trToQwaYUGRp0yDX/0YhG+NN/5H3XYdNcXUzYX7zDKnVUFR4OYo1JF5NcSpNlsLt2vdFxwJOcCEtfsGiV45iz1kQ+jQLWLkQoWhqKGrviXYU75uq30iAvIRh7J/7wGWhuBlRpszwS9CIa9V9NyWNhEmXQx8oNMLn9yTVYPFHF/sQVF8tlE203bAnA7/LCFa7nV9TI9+7k9sJXM0HLRCBXRgmKmPlaEbv83t12PaZz5WicVB3t/rNsSXoW/ewV6c5zHtF4x2Yv25kn/wvbs1mUOVWYb9DQDRmFZTNgAfqSR8mSh09puAcZO0uxIQRNVV4TX24yA2v/GfHmWwBbwHBV5pz/PsM3Kh3v9Q3PfIep4QCGQxh6AZCthvnsrq1iqjlSMIMAJRt/KHIIANwjmo+Vxje82m2sXiQj4FDZF7NisVOE0VdaRaYPJ9owkr8EA9AJd7RL2yKkgJb4Q0G1D+azmA7mFblOFbTERQxsT+s1Xxzo1mcsrhBltt2s63ATl7NBvO5vIcnEaJFyCZ1JT6JUxjfgWhDSX5tDt1SRjLOEeL3gbvjoors3dPolglFXCJorvU2gW361JP2K/FRZK4ApJYlNDL8sYiWj8vs5clyFCWQXjFCEmdL1bLeKv5kn4s1kXBDtx4Kyq9oALsoZMVHiIGQUuwzmMNf5IVt5NEcoLTpR0u8MxUa/AR/hT/FMoHkA1bDcBQDgyc2hChsytqazLjEBRljyaQPNUTn7TRhPwH4i8Vb9Q3HLfwiA0RwjM48ezkpgqkRCfDGKPgg8bR4iZs1EMSlH3rFMYOoGgw721OLlMFFOSbkTcoxc71r1QJ3rAIVFVGxgAaxj8K0EjaPhiq80SMf/W+IIhr1Dn7sVlfvGti6Zr4usT9UFVXZTQeJMEZIz4qUqG96wXVVb7/u0n082CCZTKHOkikyvLwRewMPa+aKYsvzBbavi2kDJd+38UI5ZqGNAuSvhB+3HxI3XXyjr2QED1S3CEpXHgrtFQ1KCa1ef8LqTYP92r7S+oobrZJteJYp4UE1UbAY/a6RFrha+VMVnRjn6xCEHtug7ZMF8RAbXEFzCqB4Ak+DD6Jui+8Ry5K90/ev6eE9ohKpGE/IRDEth8OlUiI4+bQmHIgA/fGyhURxbVwPW25+Wt+xvB+uxbdTKo0zBQy6apDPeRtvenRRHPZA8vLllT0l2Jw3mYcManYPE8VPoiqZVMqxsDfYAV7oZZo2xbZXVCk3ycik/Ak3uG68F7OCVxt6M2e2yCiYbN20ISnqBrjOihaGpkBRaUhOd7zDfLKJXRDPXiisodEpZtjS/DXRg94KVct/BXQVv5IAyJ60VOSnccCb+EPF9DfihlufwCQn+YY9RxiH/+/tRuehp7yGEH9zm2rUYNZD/coTL71Otfek02fe0Pb97dESXakezkzMc/2RShB72l+km39RV/KT3k6xlgAGdFMO9b8iRo6m9/85U0g1HjgeGJiFdojl3YdwjuDTPjwNkfEhtxE4QaVvVy1zjXFZDmffvkCpeN02SKuXKfmAS5CQ4zDXd9xrfXpdw6e4FH8waop4te7eZNSpIxwm9OqENkx0b/nMVJmFZ59oo5dErOh+ow9C7X19YEBP0b/iuRGfXaoe2rd486EOuTOA7oTQ/4K7VOluelkSy4FPOkQe1s/hxDSy+0+Ay+2qzOQmai8sgdjLA4DIV+aRJcEWbETXNN6HF0cmhn13rn/1AcZMdI24OmaECHJvBP/uzUoSdNDOBLuNzNtnRXve5+pAEUVNGCmgYvSo/FAxuLBmS/GoqvA46+Mvt0fiqQtbZQWcvwcQvqI39pB/QpdjGE1vsv95oH1orD42v9DdtXDptlBORFnpMHIWZ09DkYvwiHkGsz7bM1ZLeLhQUW8BfbqHxnt7Kt9dmFG67lLbKZG6TNMGC/VGs5Xe1V3fSj5TKklN6nXBvIDSN3yuU2JkweqdjY6XtR2dhY3k7fVTJRPUcwUN5ISIsr9LS4A3HMKHoCJ0HvqqksR8F8LFBMnZSpkoRRfA0/aX6Kg9oxAxuPUtD2iQiHDRjDRV8y1FHhoW1oTnLmoNvpRp6d+VZqkFGhRiXnbBVgUTbCKJikRnZXYSKLJP0T3yE+JDUOZWvloZbgiDw9BNKQ5jk4W2Ld57GCOa26VwBBMK50i/k10Q3mDn9VhD+I6B9hnc0J+HaurmRYBWHvx2XQgUwcSF38ZKxYZHhSbV10B3aKvv1txR04hG7fJ0LwIhfuBgBx1FB7UXq69Iw8nIaiC+uTVPQQoBcVaHp1VDjiZ/pF7GDj5+YAQNo1IqVGCWln++MQQG3kIYxX4bH/9HKRxng/AHTX3BhxbxLTYlerfUH2KR7+4BEC1tX2YiZmdHUCHxEkubAWCrnddHXHNlOGncPC57t62Dv5fXx+h0UltgOYCMjF0QsGfOlwXZhQ+Cf5f71Yc+cmQYWAppDVGlmTxd0d7CtPnEU+lWIN4jYb5LmOp4r9oPG4CdVUy7zNqDq7FPP/hUUHAeZiC507LjXy1DknuIun7OXO8lMqMbp3uXOvxp/6npjae0Ae5vu6Z+Hr0zwtiv99Nb/SBb/dm4HzxYojw3nX/EY5sMZIiyAzT5d7eYV5nUE9gD3HYlxe+hGzIosLDsGgFkliMuRcUrwHvW0xwTdmBS3w5Q8gGRxmlRCVbDEVrmtkRq1tvroKckTUN8XTi0f2ZG+gQVgjb6/XMfAsmVfs6ay5sEzxTVbHCMXkd+U+sRaih70bpmRZPixP+oG3NonWc2RRbvz7DYkdAW4NSXlleG+PN+CQw1ETy6VUxiXuEPVkmkAiTS4Jk8+TD9S6kKtd09agcP26fNJHKnR73ZZ7RyQlHh6J4Dq5Pa334xImRQZMteyW7jst5VKyx/anZjPJN+hq67+iQwB46Y0C49YyBpJvMzVxf8ygoif21P6Lo1P9V6nuZMDX+8dfYb9H4b04YnVkS+iVSCO31wFQLnhSHRMH9Hs8IyLfcDFoJsFk/K4Ra0CFd8lLZpRfKK0uXieXmWUbLFrCKezhI1cjnfgtcp1IpcW1kerxWphka8NmJvf/G9Li7p1e+0VKSEZwi/TaceBRs0ALl3Yn8I+LgJnewpu/zeEHqUWqzPU0HzztEyGiUrNk1Xy0/hF0fPUa9mPIULi/XBupzrX56yAkrzh9xx6ydKEpaTv0iYtS+R8f1+t7SDxUoPlKV5ed+N+dacKywFG/INtjR7pKWJaZQaOQ0njBdS3oCIYk4TPZFpCFX8SJmrPc9Gf7FXbKK5V+l3jonnPdQeP1aadCUntAV5G1HuqaxJtYMdzrIMhE8eFb7ar86waMWGc73Jh+reKShEni3/Vn+TVYMrlR5qC2zZU/3xH6xvxIO0zsW83nCse+G+2xvypbD3vJlpqMZbvJs9sPvpY/HXoV3PSX0m/MHsgqrEaNpgzMLEacwjIc1BdQR3WO5ThoyDFyVHLDVZs7fDg+E8V5AEzs8isP7RH/jxn1yuzZfqqcY6Eavfn/AkYyhXhdDMYERkci0BYpgGnK5sB611ORI53oE9M0MQD9mRir+F0AG+l6oKQSjA57LymysfiWw/Yn9+/t2LZu5EgjmpX8m+/Eswo7wd/6yTP++Rx2t2bMayQemeEA8wP9coDEi3gfZ8WY5ROhsKE6+7mZjghNnLG6Hi8K2fefJNXyKK8F3vibef5WhWkfCTkes7Q1TZlntay8ViRF13K1FIAhbBY77Apn1QaQVRIt7Tx9Dwh/RkwUA93HfAfs2TQrQIEThAcsddo9lHR7ekXLqk2dYRR+4Rcel8MgvHpXOLkjVfYf6wbilG0jwzP0iMG56u2JXspFksZdx4v3ha6ZPKwbtERFYBZElLsZlWhjFolg+qs656Vt/VatomHbFd+Qi0uKFQirD8JuuurwE6jYywx3xEkAtwCWx/lhaz8+cyPRPeIM9MpKUlnd53NtA4nn+B259eU7hLmrkX6pzLVrUwhyd2B+WEPLiMFUNYNYs9SQqc60xlgv2KGMZrc/apaYq6X9/e/YnUYgvKCMCWrDCu0wfDTts/jSS+vZC2fOqWp/XNpbafRRWlxqhR3KOfZL3HvQxGhnb24KhXb98GobpS1f3kr3FdgAj0sGYS8n9YMAPIsxJjnQZOOaKfMXW3QfiF5TlJdM+bfRcDZNeA7TqWCh/Npn8mza1U5+HYEwMwklI8Gn1+CsgCTyCfj74NOcUwgBschMZI884ezEz/cd/aMKygaY+nFXsaXgw6buykVk2URffUdA/J4L1APzV7K9ryTEaAj31lJEEmK7EJyjo2YYgAXmA1QgMamWR+g4hBe+E31gn/dKUoBXD8xLLLl3mUXBaAiiy+KHjOIYVm72xfnHrD3gsQtp7JVBTkTEwQzkX16yfBZKnm5YU9eOEBAV/XNtgNoCZFV2rg+k54asY9+WsRqKU0cgT34Bv/28N8SdbwrI7igZ4ZxBnHVDLAWXg4YBZGFneh5Ai6z01E0pF9LJ7EZXlpsXA4/1kTuYXP0Tu/7EaYFaGgXXUZoSryXVBoJq3zF+4n7sjN+teXtTaQxKpeQNrVKM3M4HjONKylt548hELxEKr+YojQNQvne/pHKOE2Y6Rc7alccv76+Px1gGNhyVgKtx3Nx7OyH9xV7PxkuRLbPk4CP2QS8l5PqBRNadTxmeJZrtJKuMDMEc0hgtuwr/6vG577lVt6T3rr4JTKpblKiX7SInyRymPyZJ+gTbr/ubqJZjhl7K46z6XKGMQY3J0Ui3hkxt5TcEFsZ7FMa1tkyzq+/EeC3pk0fCOafXcyVQ2SlYbgyK3cm4YS2KgeOA4kwf7wB+sX+2dvCt3b3d88kBp6J9Yndlh1O9m+bgg9/8G3vH2EBx6PCfdOGgLjLKq0zCsqvISFHogMdUlI+tLNPCTJ8NN/G5rPI651byN9+y6a09BOhYC64qtHaMJ4BHi48VUwMpMc2HGoDkdALMQx2mP3fo1V12nJOCttrUVBQFxTYYwbN8tyLPoWsMkEJ8a/pZfhg5vjo2q28IQYhGrfFuh2WtnyWcJ+dYpeLZVjVdR08XV7uhgLKsNKkQW3ZtnBRBstHXJ8YI3T6LpqnAJRgdJhijRTFW5MuAUEg/pVHQ43mXyQRc9KBYx7Cra1fftLZ3HrvRcBzpr4mB6h5igVTVCIVELd5d3gliEEF243G79Uz8Ppl9/4RNKhnM/uVLYWrwzHvFJJFLlF1l4eBLD6U6lycJEwXudLHIyKmQEQD6Z1dzG0JObDnf1QO4PTCn7Vp0I24FUX5zYhzBgxHmwpcMQIGD9Ru1g+WNoSxpDhqfPn49tgScGOtkNlAeGWdtBudU9SVFjGFyVe4MuYNOB8bn+oMK35LmR41rqCN9+A/ov763i92sp82PKNv1lo6jTBGFBclqaGe70GckAOb3LBU6t270pqs0HfPICwXto6kkQo02jT0FyrcQNzrFeRIdDhoIxnZZ/DAm2wtrBDK4BcXu+J9OOB0W5ii9jwJIpDz/rghQBiPZN0IOhGJtppfEnIIRj3yZ6C1TtJaEXtRn13MSSPoKJt7AuuYuhCbpjs1tOFDzHaUGtRm0JVqtr0lFy9oKxjxwZvIHgUbpwUSSDpev/nWMtSaX8+Vg2r3rf9hl3xAsIMDBtC8FS5dTop/7hWnnY9VdtS335n42TbCWIdO6OxJ1RSmCYRfWv/dcEwLb9t1p0jGH1Mx4AkEc7+MmRP0nOANaFIJ+IcwZXyj1TDyuUDYQqdq09vhb4o4oJGzgFvX5XDxZEeL0tQNplkiFxqExfBEsoiutsptke0YKtbc1+qrdKG+vKsZf+3VfTNUHKyoV5WZ4r6H5JbK0Muq3A7noNKnxG+P59U+6CflB8ylrqnKCohW+7EmKMeWDx2c9RFtR6cTbf7quUtCiD66ufkVZzCdeu0kQiVVFmRzBXwvIAznVmaOlikHKJ+Ez7X9MPR9js+8QzpguV0lUwlYjAIz/fiWcqm9zjvDFg9zG6j2iRZTV3RN+MPobSpx0lQcjRx80ftfTpwSU0LlL8SRsWEhjEcA8LtoRlBLdyK3zgv0LDya8UOmoHtpJiq7nWm2c8EpxV8oXxyGOL0PBwl/X0lA75t+CnK3tpJsImBceUOOqJgflpUtVYKWCmNr67ABuB5pm7JWdFwN4Flbm1d54EK/2z+NJv7pwANdBeW8PINaDYqSdmuMPuGya1pkvUSiDBUbUQ691LuRw4oLZlQzAqcqYIR2h1zorU7ysssbtuVxLR06QVzR4R+1NUrSYNIfrRkH3VjdHXrOLvsvn+kRy4B9MorDw7tZtMByAP8oNIfp1vyApkhhGSbgjzOQQ6UzYTEqV7zC0aM1TkM9Yl66lGusFt0GrRqQhjv72vs0GQodn3DXpT0YVqIS9EiHDRo5YrM25VAFiIoVCCNNZeR6GOdvv50kdoROTUnJhGXOAkMckIZVbrFH5yb8Y6SsXWuxtJsx70oKzw4V2deoTkjRq6bJr/Qwfbn+ErXm/QvhzDoVflLiDJQsQVdqV0Sj7d/r9AmrAi/4gyRdS/II74S8bF8gMrneF6bx1/Ilo4a4/H8Nc2v/WENPtLLcj2o88rQvRzZ4dVrECFePUcUDWDHYJh1zt1dAlvCwJ9FfL8A1dqEGm6/S7AQbYkkLbJfDFrJR+PYf7oKzy/1trEa8TtaHe3bZS4BqbygCF6zMuhCZ/rxpcOslB6BPU67ckIN+/rwBlRUW26s5JL3wOA6Ys8Y7Xy6aBxqXticqjoaVdr7V27hu9udFX56mTRu71GYqq0R4AtyWnDXpY2608RJDiptoSj8/7OHy/vRgqIbRjbPYFIPLlpCTi4X3ZcZUk8PsHjoWDQpcAtqALVUykwVJpr/Vn+5qoY61mySMt8piQilukF++u191NGmeLcigdwQHo10guKOt1tZi8wEWXvlHGLU8kfTWncZGoQwXs8VVL+kPMl7mA1u5t4Bfee+eG6QefhygRMUTVjLbimlbmgg97/sLT8A+RnRqHt6GlpJcTkQvOqaYnVwcBEFpx71TzSY+C0gYBWtVkYPMSK1PrxTJLl84InRitU3PSc+2DPMX+7+DuADl578laz+eg+nmSTorh6tK7lgzkvmdHP3a60OX3GY/PAgHYrsSgG3hjltbGuN1r0UOh0RvnJHEvZKMV5u28eVh0LohnT4LWujfgIrXjdv4l0qdoalLk71R84AZj9vkIt+K+I+BpRHOINTkUVafuLKjgIvIw3D9PpZ0mmzUpiinvg0j2SuZXSSZe8DMfS4+iMQ339erIUt6Kn/ZCARWuDssxFuQfvVvc4tgKCnU/O85AiSzgjRtAuvh84bhmj6e/vmyIpL4T7/bOjsoQ1zBI+tvvoTlEmcYSowu1WGquDwBLo3xvjYWxqvYjMOrCuWXJfWeHAWuznVeKVmUI3ch5CQr4vypLDLYrBLF9e4Rjw5RkK+mEcZupyvjKPY7J3udfGvl3OtdPfMGxGpNrQuKbmIEdIAwfplk9+sfBwwfAsaGf6vCa5NLrtwVNNJNNWkG+owMwuDcHxUhIdIOEvgYPuRsJhjN22S/gBrb2HH8zgFMwmS1W1tGAylSQW1H3tYB9CboSOzcF+yF0OOdXVyHXYHDboC8qa6SfQcxN3TZbSoRDYNVlhVF3r3L8GRsc61zHxUY5/uGfniuIdKZtPiUec+WN/IAfun4g9Vpoj8kUY5MTDyfq+tkUPUVs00QHxL7tll+VcdF/rLjHpTYl5FMbDJIa40X4s68xf++x9vFZB+FpVIjl7NO3rghUJs1/mjyczEZkEcg08jG6osW9vsOqTSn92EjJVbyObTNTfNUtlrN4GiJAWV/0uNTF85Zt0g7mWodEXfPqxuA/kKEvWO72m6zJBr13jA9Az+B6jDtFN5OlRaPE02VezG/okfZdlENM6fuW4F76ycWolE/2DUtyqUj2t8y3lGHH+EM4BWZyG+8RgCoJhtdvNTnJVQlRmHW3Hkr7S5+75eyJ65eEnIf5CwvYWgZtFSn5nlClytvOYMzI/guv4IWOnDbn9JtfLHUifsJ0mn5ZQ37Y+ZRaOFtwUSgpLhzpQjPVn+PHHjNUSPQS8Y7YEBI8QSHI6TmPNfUqu8/o8oZ2SUlrAXl4egoKkAyeqaXfqsdDfo4xkGxPWTnBaGuKCwX48UzODRoNYn0dedCg4V6cprbMcQr1BcOh3p82vyUADYkGMYzw7lVvZx3eLbYNFl0RNqyBirM75uo5wzH0mXHI3kdcUF3HdOmtOIGMZseMIGMFLGtkd1zEpcZPGUOpsvSdPgzdeJYo3YOuuTI2jV3aYc6PwWSxYsA5svByI7Ome3+FtFCVu7Ak+M49aFRvKeoEO3due8nNfuMxlq3H+ldccpzsIkQH5V1E+ZABxyr86/gC4+vE+qYSPsP8Wru7skqgeO/py7q6RtynZ5JEobAYTYCSWVngsRCMCdIboNXKttyeNn02CH0j6zrYB6NvGeq5XO0NtMuB9sdNHdHh4F2bpgN2rAaYcCF3u9RbNob1zyO0boJzxVxLXO3ieBuHdctGbJ0bDX8Yt7j98ifsZtKtRjcoMLR/uqaq5hn07fn67EZwTE5sgDTMEk8GN0qUkx80AGkm6SPGL7Ceejlug1dlajEAWmUkQlFIWj9v2bcgtm5iDUDL/jq7Iczb/QddJI+ZTo6QLdipiIjQBQTFxRr5iQepSquB+iyLmQ4EpPjIHBm+z47t0CW2i3ixjJsPiYVMX1PThj4WwqWKTlHFbcyJrMAoXy/GOVSn+Dm1KhS51x+I7v8TxZUBBXo6X5lCrDMCNgNSMvsHV+fheATAB/D2MBQjwB6epQ0rphCf9JcjkWmt/1CRFHLmhJN1pVGaDj9+AWOIWxhPJfHUlOKQvY5sP+zm8oq1aId9+GnAKwNJ9UTmXTT6ql434EF741KS1QyI3U+1QhtXBktOLPV4Xh2622uwFh8DpqoOrCVrLopK6kt8xo0gopnDmoVZ4W4O3kgO86R8stmnBSMJCMxOjVcfa+bbgOo68StzWiST7cUCz+RzneaHPl4ndkxNeGimz5W6UNVRiTBh6QVFayke8ETyyV8Pr6BEHISLJFLX+kpy2g3H7J+4cvyZpqxfK0LNeVcsJ1vJxthxO8hWEOkVJZEGZYTGG2HsT+8n6d/l9ycWIUB3J/aXaMAsWJ73H/HJEYEMhAO8yUETgFPpBl9ucO4HMnBmyYUEFukg5WzU/euEx+/4OJIRkPNvzyYTGwwub6P394F3qIiPmgSU3womhSiXW+ZN1eUVT2j9fFKdei2yZeM03ejh9i2nMAW0fHnfMbpI1QdMTHsUVsFUTpTCZW+/Nmqc/kQq/18tFV/tg1710gwP1063k1CpOih70/FZcksmx2d3Ge4HXbG95hLQ4eO/aziUTlJq8HthlmlB7HuGJZBFbx/+xTvfS+3BjQktVt0zymCQVUIWM8WMGyEY8n8oVOloQWD471Tv+HMktH9cDq3eeL06I99VLohCoWq8jdhLYAqS1wciuX1XLG1Fo90FlEiEcjfMWLTAJ4zLsHjfItx274VK7kF+PCXiIs/BKDHrElg8nFeECTaHzV5Rmkxbi5qpkPrX14vBq1Yg8KeqrRziaecpUdYYMCO+TJO4bcyctFdPnw8do+H2QXAs8SxQawvhk3mHFNHSc6OA1UrfKTMm1QrcPcUUQBHxVBNLcMYDHqz54BnMKCgX+NUkF5AU/00wH0HfU+QqspmWqO109fRnrI1EkhcCgtRNIOMIDD6JQAPorpNCvSgoyLXvoHgANV1mwLEcid4jfmZSaZW6U1mVDD9b0YWPUq7mtPFgn+dX5qvCjTEGcfzjO9v5bM44fc+xSGhO1mC1bKSt2dJQRTzLx/Kezx5Kux32deEtXb/UWt4yJnw/8+0Vu1THLDf0s3SUGkMxcFq91TpvNdyeZhqUblhMphkfo0BfoAA3kqCbSRDBih9boR94NqsnZ+BesB33Fe3ejJxrjTRcFd+0F3kHZ1kNl6HpfVgx+GnDn6p403ILvCqg8UDqc7iNar9AkhxIENui4VmN21k0k87PzTzpLzYuEe4e/03EeuCnCSNOmEfQCBAWe0bZ0/eNC8FgccP1q9MpGNGls/mdaTcae9ARommmbXd1wvpJRA5JedeamL7CBtP/hFq7I793i20nB9RACHCAvNAHQHHggsEyxwArUJTIFUKyOfGOLmflYhzFf2/isd9LeIhKaXoMYbKF8kS2XV55x9DJsjhWfe4xttN8cEbJ9Rwh3H+82mGff2japk3NzTw/B6acFcHn4W+0Rm40L4avHA79kk3oHMUKyNZiykFsQ7t4NruwTi+vbXN81oadAlGyK2Y58yitgJMcF0/530xehx9/ndAASEODDapV7bGF17YjdQ2ccuSblulsYyw1jmuIZkigW6RnVVHkOEfmJoL8jRURoQeSS9Ymj8L2S0hfDTEOxf/ZOzgEwlRFo2uROPLUKFuoJrWemznrRbI85Rc2CjbWQ3t2sh7h2SfGFNj6ilryPHRPRPROix6CSx3/+PMyclMI4FzBx2MByVMc5xluwP/GfKWLeJb5L0JV5SH6io+Yv/jnYc5sRsMR9a0GfHjnHd0soeDzbKAscAkUaBHzKQxrM6ro239907BSjpDb6KdOMg6eOlQcbmqqGxlBUxlDQK1lVXhQuxS+sOLg+k55bUDOTHVw4whebXM37J9//C0lglAz2Zhgi6livfkIQqzyPSitAULNIVAbLH2OwSGXN255eCw/V9xgngH/Ic+zPH4Fuak2cFQI/PmUMMTQNuK79t6fzV55m7wqXAqvoFyZwFC5FRaglp3KDlA3N8XtVYK9a3Oj6pWG9YBexkwg4HXu4qlk7a1kCX71Xm4torXzIWfIqX9yNjqCsJytGk1S/Yi37215ukmzFdy6MgIBgKbkdXpUGn/3yei1nxfrTNTHDoFnPh7RXlliZQ209WJO95g0CuDvmsvC212Lokg6dbAA8/bWa0twgIIMbVJ5QV1NT+f3KDVRkyd9b7RvMr+ca7bzURaPWcxD2LbXOjV1aF4UleG5tm50c13ycQSv5vhlavF2RKEnq4YYuU+K9Y//2lMDfJZ6t9A+jgp/nZKdV7gpP54h8OeO5KpwWCXnmnT99AcJ3lfdN66bLmqfkOWOL9Nqbypb1dABr/Ar7+aKTt8cVDYe4GbEzeIUSTArWT1BputsSsxldld0/cqYYNJFoD1lIkInuakjM0eHX66VH9FyUvi7QxkyVEv7KwB0IOU/mCMDPot1+JKBzGF7kRSyLQ8/9QifAVQVW7hGG1kIE6Et1Mttzbjsqpr+R3r4pwSKuGgZ/mtVKCXrxOrWdghFwGvfe4uaD5Jk+n+Uvc5Lp8SnJhumjOhJFgbliKi0H3y8Uro9a2gpR1YcxTfL9SUK4myvS0DlMd+Mf/X641mYxWi8g/OfqSnCkIl4kn8u1BRPp1MLm0lmudNRPTrABNfbZaH/TI5VHmBeNG8TwoVthLyS2ALpfZWnT86iRMdi5wCUOx8BDhdTOuWhmmpskcDjUnHbymKma5o4SLM8GNro02NsUYsb/Zm9hB15ieTP6Hv5pKCoSndzbrySkOJj/7F3byPl6P3TvXKGI1MQx1Q0S7akjF+FBl1j5dWpP4nXhKkIU38p6ZwYkLf7T2R45e7wC8RD5/FF4Z7wx6Svf6FtyeELoYnx0Rubvx/RExDAYiSyQ39UV+EHgv24tS0yydjxHOPiCa9kLsxnEJItpNPGK6KXTXW3dzpdMXZo9k9iQbFCSvf8yDonm7G62h/ndPxfPw++nFCT0i1vACfg7Viyx+6st4/TL7K1unR4rTrnjR6/LSOc6NgDFmvt8LRgHSepcU7SfGOHk2Z8zbtVsFKzYkZc2BSu3e3nev8M3s7cQnT+2lKPYiNisBvsxD5asB2FgpJBs3VfHPwxqOLgujf8M1uKseUiuMlPZitgHj4iVYGJarOYcgtRrmu4hMoSemJ129OctRYehHRK8K+4OXZq5Tc8SAU0kb3tJPVgfiI/W8DNy7ooMiGys2+WZrfKeKS4FK+tLyARoFbMSosvp7Rj94+QQjJsXC17iphaabjj4NYdm0RPJppxEOzPv0hNhDm7naAqkv5s+kOxeKduuLla6VTfUdgO2D3APsRoQlzhu9CgdmBr74O+98vNXLuoRFkHQemc/IK9WtF4Fs14KRoPj3/0oH043kbW9SgZbJ2/JneECrW9InFcXoeKni77rZzOMmgE4u0Sxh4qe9B34QMx9XkFckZn5M5P6wKSQGorNqahcKsCR8BEo9kOhXy/AeY+MXbrNNHW6q7ZJNvWaxtqfUsXpiSlOMwKwbo7XZknD/k1Tcj9wF2NUEBSBK0OyQIEehhCLTM+M6OZx2Ej3y2VLEcrk7h36PVsvA3vXI4HXwVJpAevIWqN2NvmKVno5jEPUaBp9KOg+dqfapBJl6wPl/GwdEqx9A3c/jAWNYyJ1koLTwPi7YwHhrztggdLCxwSNEar0twvygP2R4Qw81mUrqMsy0tJPD0GGj4TIYRcTcV047CwxOThtf9H6jQoe/AcufQZ4vRoIasPAp1ZJu8eXy7M2flIDyXk5VwbFWq252TT35xjOjc8FvqNXigXUOi+Cn3c7dVDpduL2Vv3XKHsE9iUvlaJBd5DyuqkC3/XIsa+liXN/sAEm9ICPLIyLAQ+Q+moTAC9PudWbm348v9ejdCEdVQFBhu+IKd8rfUaahSe6p4quOHXhYPwXoP+Wj+kwnAAikxj/0h6ZMdsVEYjOJM3Sc28C+WUEdiZ0xXgHB+3jezxvDcWjCIdLs8RBbinc0FWCCQ6cQbjC1TEMoxzBSci0iiriYpMDEgeR0TRA8j/aKSydVyjUDEjyzS3Z7dCJE+WN5lMGZoUxHL2H2d8bET3gmjMgvHaa5XyY6pwDAXsfcsmO3pxhF+Am3moGu6zg91btpt76AB+Rtf+0UIebAeBYEpGBmasDi8xd2L65XUdlePPSq1RJHZ4AcdtZ4Ht6Sq6o3MRAzvE3nLJ9q9fyjsqrXvwb75YUBq1Xv+A5iezVdp0hOId1GDKXudRg/EgyEgQ//EJp675e4BNf8uwcWtWJ/b5aOC5Fj+xgGrpiA8rqOs1bAtn7lArvgn2ga58vyqGTFfpP6R9cQz7vqpBhPOSx+VmHNUbujw0In8vhMO5j+dwTfyU4MjKRrmFa4KxsXdDJRebHRmRu2tMLUoi5CW6YePOu4t/g5C4PLveu3hVYQuKm6wLDDIqTTZmYaQrjGeFtUEPkQLuTfGpVq18JIaV6pPMdmFE/XM2utBeXM1VPwEXbrV+rlqOPQblztsF0UJZKoci2YtEUb0ZHplDwaBPdgr88J2yZNtWGFQ0EMEWVMS7t9/OaCHQyaEafNry1GvSa3H/hWSD64NEgMl1F2AKEb56HdovsxB/yaOVK2pw+zwKRYQ6R5n0H8flq0A5+hJRm+oCisB7vOQoA59c1tvLahl3RFnxzYtmVQw0Yc5FB0tlyh6FUmHTTp9b6iQgLRbdF6CVZKRyKz+//NESv2Cd70+s6TN6YjBg4IHo/jIrgplEBblQ/wiEh+QdAsXd8mvqs1kyhe86LHx6K/EuyOiwzWVg3Ki/BFvqvPCXgmXrcfmKZYNO4qfX6xadOZ5svADdvuiYqp3m96yroAxiRh3pNQULKWPgBU1qIzKGeDaa9hamf5ZV4qwnw/4qrv9xzd7hMUgfLoBQZeni/Pc4NzrtlmcTkLdLaCwEeDNYw2Uwr34NjDQK+OaZ7Nt7JSvK3hzZzXdqKGXePR9hmmpZq94d2/YO0PzPlYX8pnmjB878nTNb429jR0Z3cwGn8cOuFq6gg1/Fcuf8JobJ8SLvyUdK20zsUKuk3H31J/1Fodmb3OhC7EumyYNjFKqP7pCVkSybZSh/sT91I9tpmen+VKuOfOupRE5aE4shwKVxJQgASjZ/AfrN0k09G2HdhAXUhAL6IHNaDquvyRvuH0MBpjokVpRl1wUIjfV7SmU+zEEB7/u/Mcs9Ndjs1w6oReQH/1RIxX4ZP5QG4Hd56rYqYwNP3hE3RHYFxW7L1mHKb3muDpX/IdV66e9E6egwY5M08aI3Hy7sMKCL+Qvt9J35uSFB+CmJXT1qybT4QmAfxj0HhVNROqv5KsXM6WqekBKK02ySLPBJ3od/vvPs2V1dF3DwHkZ27xbnYvlphFzLe+k00Mef2/mas6x/UYHbvZ3HgzE9iw19SqkQAqe2NAsRGYHQGVzkJQSbgCKQNQwwBNm7MRI9moWuWiyfmP94kFjMOx4xPiHinyNjpNXrKaaur3kCG65/XCAKEa9GZgZkBLIYQa6+G/WP3Cw21d0XSbttBDYV+re+Qq0APn6M+LcTXCinC6F2cVWKV++l7Ph2ErHBQ7XLwprK8rZwdhbEFT16nayeeyFZnKnviZQruaVfGjGW82Ual2wTO16WACc8KuDEwBSrntAL+ue6vc3vCHMkhvqh6/LJXQA0hbV/km32lMv3N6T2Gln1rJ6DdR6y+Fi1AC4nefcjkOZOIbLofDPU1OSTwUsOR5c3gxKw47DjgfaY5hUZa4HcNF+AzTmQB7b1LwnXLdyfREL2X417JWiu3KD5imuymLPdEq9odRD+XLhxaUHTUJeN4AB3FAirlMwtV4dFxuC4o/W/m9WR+hPASxgklPhsvg4hbqFnxx/jmqyxbk+DiiulZVC1PWceo5zFLdQhNkZHgXlAAXeNt96TJEHK2JXV58nHkBv07UI8WlhI7Y9A/0teTp3tbyuze9UKMSfQPXhDzEtNUb9yNJ6L0V6Lax5dvpUpozGOkDO2uXWqCijp0T8UlpqNPlfgE9IEU2wZ6bCCtJKrpdEa9M4ieZDF5Xp1gKxvv1+BWxfjto8pofOWNo3XzZ1kiPxYhNDQSVUVknJAkCJ7E1IkIA1usiChCJfEOQY+2VtGwlB8xkxn0gfxxgffle5vgxelH7J6zR92PFujWFVlSqQ14b80EriHwqHNl/RVgMan8xzqq2v/wWog+cuo/HzL14H/bPElYlo31GKGkjcuYLFszd7Q6FezdsTIrRuZ4R+7rsuh62E2StgF1GcoAgBqHxJt6LSGLjv6avSitE/0zI8SYyrH08gC7h2jsxjH3j3BdTvlEzggkN4Cgrti4+BsgS74lpks7PGmm+7RGXZQtbLqf6x0j8ychA0/N/qdXGjeSEeVGwo0mlW00J9Yb3nTA6VdlKrlJg1I6s0xRip0ULI7xvKuVTiN0gRsii5ghposa7PhEM2ZEEvaffGd0sONZIxJNe2crscNUwfSQ1cWN1PEjkhAiF097u5gQtZszfNnHUTJyUAHxCEJkaec/U7oQ9dc5QUMCVKhwJDMFT4q1nqFvGc+OmUkJALFBNNmt43IoZ9HwQeS7vKNj3FRQS+5X9sf8kU/QUtc9u3SwJGa5WnVmADXEuI0Rz3jVaDO2/StEDFUsbt6A3vomdvCIPk7NkNHl5Qy/ilNeVBXQrLavKf+/liW2uyGJ46GnrLger5DdYljQwTIUKni10RWuhAEA6X19a0n1LhrZhFPhEXg7//nSY/cn8DsTiKiC3+QkGKRDLQuQZ4n0HLcoNWwpOnEZpbkk+GOAPlMfjWd0oEXiKw4EOH9p+n9ZVLCm7IJSvyN8uVyBLKbhR5FdXXwVNUOH84YmIFt0A13H33myc1ts+13nO4ZNVjbLIliBD/ITI63BQeitUP1eVgBMGmzFlZdrgw25Dgk4A+2mVOfRVqor51J3ZpfeYIlblIpH/s7dXev54rAMDB35oserlmgMz6UZ9rIbOuPD8OB/jxM33JXMkpZlwucSI2Knd1sD7diGNKdr9ui4ev6KCHVc2R8nwFc3nGV0cMcy4rLNtmRL/lnBtPa11KP0KHsA3Dj0BK135tNmCqZT+VPA/gJV9wDa8MMlEaYeYfKZmVZuC0yKHGgKRXT5JcLDoOsSWh7BEnFBFbPWiMWYHKbegEdcBkxSWnJPewedlsq7XTdQKxt6WtbONzB7oqi+7NzGmib2rFZEVtyX3F3tvokCvm52Pi01syi9FUtGBlppwCGEgV5kS0fjziyQrH27HmYUns4+rejK2/9WuzXTXfUfVCCrzcfHqrDMJ+OoeBt6MCarPNwu/23Vay+7iF25/rt+norFxZNXuvEZxXZqAxJ3JvN/gf0g61mvgIdVmA6Gr52u3DE5u9XQBideT6FjyuB4W2HL0ibpwCh2WA+UmW9zs0Hg7N53dHmALw934ACy3tTUwmfRMobss9TUd+D5QO35KA+6picZR22h0DZlccruvrU5BPACH2LWT/q8vr224N/QGpP/8JkDJnH1Ypq3bOxtISeAvGhBzx/D0cGZId1gfv7iSTiewVOiGmbXLulX85HGy56feCKtxWIESVqYsZy9oUOToi0lLA3B1SGHjwVCsbwarJGHiRkgF0AtSqWbhS9w9DaOJ/Z09rPm3o6Fp711ZKXwCLPUMc14kJWmqN8wRvmf5vZfitYtmOdhw4lPBV2ZuEKhZ4zcD5RWJnpiweZIbDxhNKvs85PWpLTph3HBW4L6fkapTE+ZkTJNHqkTMUeTLRtFCvn+8Yjn3INVe94W+pE7nr6Dyz1ORJ5wL8MLz2FhFKapLem4sDuEBTtsSHohhU5R1JFWjsUWM8t0O4DXcZoxRYqtg/gQ1PRz6gcLcOFVeue6OdddLw2Cg9WdefbbcNzJll2K+dbkqEaxq6W4KDhb28TFd7GO30FuKOg6JfVup5IE1iElBl3cxIaJ4JWSztuEmBIIFC2HzMkarlgheHHf+WrX/9r4Nf8O8XQzhM94WdpE82PIXKRXffJSpD/0tvGh5dhV3uAoO7zEujyTcpArS3uhIGO7tmGvEJHl9ONSclZRbUtGHSMBcw/jQ+Mftlt15C+FqJZn/MoC+6OWCMx8fKWwnDU2BvgbKEgbavoVFdNVVF8cmRzkDSiLFelVDTuhNeHCMoUFQmxFgk7/f++boFovlOZV3FimX2/LvJ1LaVWjDzUUveWwct2ANNWVm9H3G+aldlmTHnZ8+NDFSaEsa2QeSZS02q3luPDo+HArzW/JeG5AwbsIQvha0G5Rni988UUHwYq/UoSrz2uT1PEIonoIcJU/VNpBSRg33n4Pj/KytpkWmt5ENkx1rP4MSoIZYYuWRY+jQOwRCS6Vi6IqraVHw7tIJxiCENDYlLjyh7dG48b7pwCRBALN3Bttx1TsYFAqxft1aB2+KU6qLfDbgr161bUBJ2RbheSNm0bnvYTHNDK3Kcs9eb4AfOWASKDIRsaSBwN13yhYoeuljxc20Xnl1/X/rEc+WvlU7/tBAAw2h/6+FDJXWb5kEdvsaRVQ+bXlw4z6Kl6v/X6TILKOOocjehdItxIaGjMnXuyZCCQIro53c/+m6huwpP/ShO8Y23FXhhRNguKIZax+LZV5jnyNerss/UJQ9/HwkP+TNNsY4ur6ufroy6kzmSGwDCnaQo+9wmAhmLGtTbft3v7z7x8kYtetndhw0JxJeYrkf2xracqipim/+jjwi29iKfSLwZbCoIi6qw6sOp4g9iEX07LPu3RMvouqYS8orUGsGdLUfpPJ/tJ327sKCND5BCmRxnyUurO9mQZgksJ0tvQ1DWLbMXuxOgOIDrQcbdayv1NeyaUccckQvU66/SpoEu9i2HbzBJH6LZ+EfuPczlZrTSUjVzB03paw2B8NfHwuhfaHrWN15PkZNrNdguJ6LtFmlG1IhzaGE0hof8j6DDeNiOz20kQxc25TjtZxAXLEWqxDQKUC8B4IuBlBUQ3kajc8rM27ePk6MaX/kJzi/DvKYT/zSa/X4jou5rUPPtVZtV/CJ3D5Smo5tLSyGLHtVKG+6Ok7TB9R0ylku8YlAjRhvgOKGBYfB9cxJ3eNDAllGy2AUGen/yovS3yFuDmdwSWz8qovkLw6sPTnH8T8oYAqHo/ddKZcf4/ig/0eDmzhjYyQhK00tHu4rLgW6BBPFHg2KTGSlNaSN2fQ8fDp9NCH8TB+HLNm4UKMOiz4UhO6HFkR5GClo31GlBIbca0MjPnEzTDSvv8/UKbqobUD8ZpsRlm/DHAevoFFn28waNKMMefFoqQ8CfkvHMv7qNq4dhCOotBdaNKt6nkIfmQs57/hVlnoNPokFKjkKd4iEoKnSTL897Ef7rjflNQU0Kuq8mbjyiaia2hNRFR4V8velyZlqtlFc4AAmYiwu58crc4KLjL3+q0v9kbtJSNwgwDJyTur5JkKJng+LabhssUJNFxcx7AHGVE3pNXUPsZJRky6A0HvkmXx1ba7wRp39JyFtszpkqWfT9ze2ItFkZkXOSZ3zCxzIzvWnbPFzI3cUV0xUxgLPgQEaNvaFvDO1CCPA0riEdzstYAmEUdxEV6bemWiNoC58oKYjFmxKrkQ0uzxsPL489oVoJ8LYMfrH0QoTkYQ2zKK231Dti6M8HVwAETpTl10zJsvca8M3y2SPxhTTgs2xL45hV96uYr8xYdkn/NxJMq/n++loVg+A7d7iV7Qee5vRwnMMeQ4iIe/jChbKhVF41RG49j8Pbjx/Eh+ukH2fsc5Y/fAEAX7yMTt1VF6K8HzmR7JCxbKkuc2mKmLNoG2CMY9obyfZFDcUylrGxERpzGsy5RC2RIlpvxFyuei3CecjoHET7feDNoj3u4r2Gy8lcsWgo2XqrxGIRpb+DoQj1unO+YOpWXxz6zQMhLACE8WttndNGJAdKkFj3At5YywwqMUtep8qho9s4Wi4ebOHZom79mllj/b+g9ujr9BH2OdNuRKAQ9ABtKnGVwd0/RryQrNXNv6MfXscBcNaDt3QEhG6Dkt770R4c2glD8vjKh4rtoByOXvhgnhpUD7oQGFBSld0Di/ui+GdwrpQHFyHrZ8+wFO4BFfMD8GFcVujJfECTLivsrBB6EVVQLaY7H5UhUW3z8YUS4rwZK11njtUXcwifasbLvrWvS9NGpT1wv3TEaP6ehGJZzVz+YBuXCw1jGGoTQywETgFzKx+OWu37VJmqEUni7JH7ZvRthvTAq51I4NE7cHFzYC2Rh0ZBRRuKPeLLwiaYb9MCIvdO7kcItKPyZRSrEiDj5rJBs6aGFugUch7y9iVhFgQxTRdXHX8vM5pFrX/0PMuPOrz6vpJppiK0h5phki32UM3CkJEJENibIB8p0fXWdaYPPJyXazj5CaDe36vYRLsmUzP/9DJ0A0jIaA6sPfWaN8Oqz3VVo6874pvLiH6OygXxNWMZ8hOmzPOiVkgqYoYsuuWQU2REjeIaSMDO5TI5gWqYUwhPHyt6BN18blCPTD4vKX9SIlwvKIG5YbYqHu8aOcZEV+dczWbtO2i0HOyDYekfa47+yW8afzRtjmHE8Zba8nMiL/SVDLz8DleL2yMBaakw3eRkpuaJvy4PfkoLX7UI/IqTYGZvBnbWIXB771eBc7doZsEdtWoOgiz/APLgH56u2HKzuVlPsH2dqxfQRKAJb6wrH1rgTBSHDGgKXawzoL7ndRGGf2rO57aZT+OzIYMArbwEjyLEx+BWxfE9isKhohbIg+eQ6g4c4co6WAJc495pV1YJC5bEDXfAUeWmNLLJtkU6lpfrqWdqDoGSYWZkKWAsSo+96xQ9dJI58AqH2nO7Y7A6HHsn2EQAvV3WigZ8ARzSr24roUAOD0v6wRI+OTnAr+nSHIMR24ooPX4lUs85w7LSqgzIrPIMnh7Pfulrd8Am3IWYWlr/rPHDus82t7Cad3HmipQBilRmCscIJlRzBCXWbvqw107ICu3VcqGYYk8DVNXy36biG/x90OXpuTSgfY42EYIZPrxDhzjPknIph6Rdd/Tzk5719T7KahjzfdDnu9kXsxlIXIRKr0vNW/hs69Le4pgg41Piq7Gs30kG0bSizIPKmI8jtbqxZUgagpEKpn4YAvBnKFwxnCTozSeaH7Ka/2tGZU/e4nMEF3QmVNunYgrtpWkzMJP+pSRAxF0QKR9BvYIJVyXwCkYu0JfEfDLRgOIrKRg/O948s3KMnVqdsJ99U3dJekkNS+mmSP7OQGGfh/Puuxy65880TnEtH0PvZIihQ9DWwjuIal8i014vAL9plnO3HTBuH5CEg8XV0DNPQgPu91cTIxbn0eS66ksnJuoobprC8jGVJeFc+Qi3f8fPdcrRVBeJ/STnAMTKqsMUhCTzYn/6AbkH+PYZSnEh0DtdZeDJ45nmIPassAAU/a7z1lVy4pcjxMcKHNJ8vchuuORYhZT0RvfN23qJXOJCUi1nZbLZVYbhUV5yE4/d7vWRe6uV+8KVXnoBRTeW9MNMofLfEGoerx05WT6K29dGiOKqZ7DR5Sin2OBFu6wQO4G3KyRwafGPcg="/>
  <p:tag name="MEKKOXMLTAGS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Vuyvi9KtdcrFWMqIz9zwdYI6vPzLoKgfWeJFJzekhMwDZH0NxQSOOGeL/74mYbRAVx4IhierBDd4+hWrDutDOayXK4A9o54/CPWAKiKFpnoUGdOahgS4QXAgUfXdrtGwnLk3XiwGJgPc/VjoSUVI7GUTFprOmCVb0HFKwDIqgK29lI9ewgkEWhZXcI7OnWrMuzIN4P6dW93ckPAu11ft+jBc7aAgJvOk+XBHxXTAsZIjBJ5F8TM6j04QT1yYDvWzCvrGQ3vjetH3gJWEeTqaVycuaRFLKPZusP6FDWwmiOVQuH8oTN3c+0iWJxxKTsgA6pna3tacT8ZbCvNt/STgSrQRm5vXB91vrrvK/8C2cYnRb81LHWSOtlWvQQuLPSbX6s6NbjnNjxsURf3RMJtmtENaL6KMn5IX974m8ZXHRgqnJnI2LGeUuOccJ0PRu9zenisamHkaPRqb/g3vPuRAn3tDWWoPQRldyGCsqqMaHbVdj21mHk0RkNm9G65Z88BZ7zEvpQ44Sz3Oj6K/muKhSfm74hbUZfiMZOVEJQ7IiERw+UPrXZG4Npm/BMWtiufyQZIx64JFbrhWptKeoX22uZuu2zUkrm1cSX/vZE14Xdad7MzDguT87yyTEe5iXnhAf2t8CRCtg8xXp11CgI23ZyTcnkM3q1YLT2oWUOvO6dubRZGFvLL0Jke9R1HGvbWSpV6LJgpZPDWqalDtnEZAGfsRCGFOUICFjEdLvDMaEVHpRMy4V+RKOBZWGGaER1tXJN1oDRPAk9/HxkpjKDhJM5jsp1j6K62u8keSDQO0M9k+UUnQJIW2IRp1mNhWuG80cSRxbD7nGfG8Zqd/virAjGaUzyLxGc9h2GaQnksEptPxkBu644CO62K/dLE+ueYPmJsJHDhf8G185GxqdhpVKukyHmYjlVaMmteVzTE8k7RL3IkXxzZxPe0PBH1gv3Qx7c/QDXi1KPoI4/CxgJ4L9VTDPKJJc5zu7ByNEoIlXCCGQGJYJUR4/g9Jn2KVNqInW/ErX5KO0etzc0uESePb4GjbT5FzB7GvEyMooDEcso1NiAEAQYXebx/xCkjZP7k4s+PuUYkvhao7X7jpTIExznzKUJxTRzVf7K/DSk7RsImV7PayXNOkTq+4RZk0AMy0vyR9xdVGkLiWbIt/Dy9RZ8eRjfbWzs7A0P4GUGdpKhclD/SMF4Z6VyKvbDu2qx0Vzb3Wb59/4+1hESR7pYZ+MEsVCmjr8n3HPENw5OMud5h1qCgK92HRKldFzYzAW6nWG/FaolkhgLA/skB9wHeSP00B+daQ/OF4UQiDl5ZMrdIDVMBWh9dodhjvOARHnT6Prk5iYh1qOw2/0VDNUgM+GQfl2Xp+5h0tcu5a+HbZTaVYmh+2+AWk8dxsiLj9ekivr6tNLPt+SoazJ6anRGReKAluJAAMo5DjXRWkDFBF4prE0n5jI5M/Vmx23cxgULvR243rS9EIlktuGWXV+vLt3lMGzDIzl0PpdcI2jtSBJArKISvwDYx03lGQ0ctYVnjv8cBZ4ZBTSeHCr0urihOo+hKKS5ou21EmyDR4y9t3fuYlyV3i9KoBHeuIMEFPv7FndejIxaQWTvPJXEqfksJjFoguE4szS8LiUa63WKsTk+b3gsPN5n7eBT6RgI82oH5fgxP3/F9Knb+bgkWSsNnw7W1n9meWFoepzaRrLTNTKfOg2QmL9zcYzIwtqLUVRsRSte/mG6NdrDaSqNzsd0BI40LLjeySsnZDjx+8pucge2k0V7nuoTaDzP3GaYX5nI9kbtjlUk0FNroBmjTRoDnohEsFLXsB4Eg1e+c/X/HICX4r3J1OnRryioxNoLyDYq+OD7XAyWqdpS0KexM5kLhucUeF4+wMoPWZckHkrYU87cZ9SrDhA1GCwhgjhLR+bNiQq2SL7skfDoxxVqTLvoUe94kGomFVPAmQeDVcSu/HqAMDR6+giDwhBldXWknFRC2o83kzEFpy65GbhwdvRfpovECx3Z21fVpKcGDHmmUuZOtFH3ETOqfTLhE8811RoDjGSvbEnv34Su7wTIhYc1jBPqxCaQYtW7FU8ny2QczoUjOmi0bxdjUFATM9a9eghlKGPoQdoiZxKAEM5hZcrjpYHNYh6eFQHh+5hBr0DUyNAsox1EjVeacfT0anenWiDSvxWxyhB35bf7NNuOxEdSgiguKqMuVlIlwyd3VZIse8BpMrqropdgUzZVoDnN6bv1d6CFxTR6J0miMIbkGf6KjXLPpL031EzYVObaLZ+UwexwTO2FUvlcujz1DQJaB+oKJOI3G1IGDWEQJrxsnjHpcxd2B4GSEUepa1LSWFAISLgZlgUnyQrH2HP4TKm9fyHRIMrBnbavePzLDukmi5Uv0rDTJRJVGKHVZTz9kDKFWyGeAhE4FslwYog3wJ75XQNSb++HdGVIa0de5yyhUdr+HlkxQQDH8LBvlj08kaRsbPmQFvvIlSnAjUVnRm7B+HFUQ61oF53gmv0Kvw3qyYEy7LZgOgCWch0DK1TLNq8L8wWKtH9bjD9DWf3K2ZMe2e3XxCUOqU9Q0ucuRropM5EM/+99kmFQWsJzm/cYze3wPqVwNQjvnL+olaGZKNb3qUJXwPK6U/JHddjqO0wpOqwWzKYpWgqcu6cZCku17eHvsAaaJNP7batw3VEXQn8erE5hILMDYW4Ts8IjzMyKRwHakjui2AlukCXie6748bnj7wy6U21AIrh4PiPuT5ETEIhffH07EN2DwePKB4yDFCAORT0pp/97GpLvAUbtS4Iwme93rl6AWWi6ec6ll+xHiMLX/QINLPdEq1DIHP2kkpPtZEEZ8zkVdkY65oVvwzVrHONtBGED+z0yHj6jnO5ThTN3duzwC8ptW/R95t7ZXvVWwHNpQNk0BLXWeau5r2CVAUCNsjY8bcwoyO4N2tZfK4+xI9yB4lZQDoqmkZbK1b82IY7qzI9RryPC5L+zOs5tEzMRzc69zBXk6peWrSbZBPggXimFxLnGJ7rLJbcn4bclRsxeg5z79blgRgX11TAYZGvNIKK361vNta3eWLuLY0IfsbtbK86zH3nIyIDrlGo1cXxfeK2WKszvRpiBRHyGnz8t8VpHgflPuG0iXSy58hiaNR5775LlYVLKjf9ZT+FP8m52JBJTuIjnUwJt3a1a7bJP6NNbikRksa9YCCbuAz0HhutsFa6rb7OixLo120sKgpGljtIj7NdHX9qJrOHrXVgndooAnbJOjzon9gMH2DMkH0aVI3HiRWBN0EO3nTS0yVV53kipeVJDXsMkG7ny9mrg4KOsZclm+gd4std5IUAYQkJXt6D9SvQhnzl8qdmmiWCF3DO1CxJb8mVILAj3UA8ne0Qn8poajwBXsFGU5K4VRLWX/D6CQwDbN8aDYwpTz3pBZG/I6Hcx1elxQ/o9fRg5vwSfbGQfgthhjRjrga504l76/mjvo++KKhnXAKPKaVLQh2FxG+nbdNyZEv523plzY8NNdbbPG1SWtxx44aTdCawJkMcwXgLNMb+OKyUbJEosV1M+EkTHwgFWPDp4HS+8Y0KTeCy6ULRPquEghidQpw1e+GvB8+EYcvpZn6dm1n0H6HQZD4zRac7FYj5JV+FB0oCuf8L/OmJtmBWxTO5raiBZyjKzDhqPqPGA+aoblm8BrJmBVETDALmXrznBj9IDSbLNifDMlCshM1dTUQ1hmubHyFJWys1cRqRNdAmhPbMUKMvvPUOr9wq8FaJBgXp4cNxi2utBH0SddKFh1CAjUkpVAdABu7VR7C8MQSgc6IXNB6fQa7t77dQaETZX+HbUklUm9xjhQOKSQbEO58YWziO4T9CqfGmncHQiZZAv8cEZ1MQWY5FMnGAymG3V7wjqVE9myoinbmeADrabJFmW+KGNngI/tNz4Flg8iZBGQR7dBDfmdnJfRu1/D44m9eHhu4fIr8uKJiNCkJjkAVPOIyj+m4/eiUpOZ2CtpWZVfYO//o/PoOaIOQC2irlZnOSz8FkTxvVMqjLAupYgvrrxfeCgjJ+K/vtw1EQ9TAQMWnTQDUGWq3gnBIaOxkNDdKqyJR/Gczr8fv+rrVFfBwiAvbkC+MF6wgOnx8mTirT9SdRnyTlRl8yXrrlWm4jwHFtzELIQBa8w/YXrpC3jx/2z3DSg4vD2V+VdLklsIPgY3ca1jvIJP+enGvuEf+r7Bc/NHM30162k+ILeHYbD9nMwiDOnxr7rGXpUlrwInDngcxkCG03TjBjIHt10J7K82ve26ZM9qIuw7gVZWw79uMjHmfBFsxVXcMqGJuIS2ifZwUwjzSGo153KLCAbHhI3Sz/aVb+WXjjb2PBruxbReKywcOFLFxz6wECAkScxVLPvmrG6v0bgOZL/BoEbETnjJxbjMYa3pETyoZPL66yVch0qVBF5m2C+YjOZFqVqR4wN2bNw2SAB1SNrLmLRxiJ9yDXOnT0bpXLP73zlAQ+Ny4KPPrVYoSiA+DrMMeb5eaAa16EspUwwgxhoJs1T5VB+6ZFbVTH6iQJNTnXcXsu2qAoRAIOnvEcLYc+O44AIv6XwY7KKGvJie3aC8njIVTfL02cLCaRkGlTB615GhKwXZ+HFAj1O1ZvyI6SSnN3MnBvRZtnPQxs+MUCRaaCOOPlsckVD4CqS2umvTA6XUAzIGKBiFP/9xbOa+qNzDmFUILcds8uWAeOVFzJnAXkiUeVHD/E3TVO/KrR8gVDKri2Hh8YdL5ERL0ZX9T+pgtYExgZD7o3ishb5w4fEO4BBJB7xHM7FlM/HtWzezlzpNy9Gf3xRwlww0BotS4wZCwMp5XLIEKEqmiqIqQS65JZNuXAeF2NcI0KPbuX1CmBpx5mFB8R2jDIPnHoH1BZPK0UxgIhnDzU9/W4gD15vZIObh4B9fuDNP0cLhkE1BrdqOJHjhcZEz2uF065Y1SCH08TzSQsIWuEiptN8KnH28JmBwU/yWV+u6VfyFABRxufuxM/kn2gmNTZZI5C4s3GdC1aCm4o3Qp4aIQEF7dW5A4Z/oL3JeVgARVG+xv2t7QeKkOwNAalaUzvYwJjstEV9wc1OSB/JjOPU08QYMr0HcxJl3QXxmJsIpnxqWNQffA3uGNxa1AEjLemZFTVvGYWvGP1uKxMepmZ/UgmaytcUfr2Kx+6Wz7DvJV3FlWfOm4lIsgaCdyWhOKGYR6/su7KmiaHJFyU4BnrURAQwgUAhh98MzWhwZdJV42mCcCSL0B8t2d5RQKUaXEoZv8oHnouUhgRhriCtNGUZ/pkwiG77R+BNqiUPoXb1UUIFVsdZVV4OHBY24ltW0JRo/Qzg6Ppp8SkIrgrcvDWllXOrcsFg0Qm0mgsQkel4KZrWfI9isF0yQIgZ+rq6RCRirHkSmtaL//6SzsQ80DrAvzG9O5hhcy6KHu+qg/kpsINMbM6bXGFu5kQUaXMl9lE/fXAk8ugGjB7iQBp87p47Bp3fjIxxHCzvWfPydvHHYoqZZJI+pRUsnDvJAz4SnekliOiSbzqm/d1avWLuEU3d4of8ovfbJV2M+Cf5cp962g92B0orwwbFkstSxCjcxx2iEO3r6gLkFPBXrshYyMM4CFSuFV1xUGOCA8TUgvzcxxLPYeLjAxW7WPEhRfnkHZW7KD9WqdFCeey/Bnb8FmkDCK594lCAeCzpzfPdlChDQ4s5TSHtPyRwOm3XSSKqhUIno4F7VgT9AdRIlZ26smek5S9xubwkxmFxs+rgw96U137MOAQWGee7SIda6UnAlPZaAEoVDq8wKJj93XoZKG24N+p9jjhFcq4IJ0kO78zwLCjIEno000J5+2Xt9lS/zhj3k7hqgBW2VQUA/Rtx9jJb1DVGzqDlU/Lzk0U7Te2k/QKaVCLh48QDeUwf8KYwk65MwVRP6qNDxpAwlb0iPaUug0e47l3xzBleQ2LKLkkWKBVu9Pc6QB0kc9+/7Q8HJgX1vYSvTh4KD22QxmM1p8t2HjIe2TVFj9JDjMGhVKXvGMRjvXYJRO7gBT2lPoHJile8l2rzcdlshcDDCbv60LKVxJEW9QCun13OCEV7Zj1kNL1RAbadZuiaQTOGHSYTGll9gVFTQKQumc1dZ9A9FOOxoUqHs0CUs7+QhIhbu2saV5pl0WIP50JTow+PqbYC6+Mjbr1G7JwgD6liJmor/geUtf6CQDQ8sDDHaobY/L1NGf9jlVpWo0ddGTtDG19awF2G5l5rkFnnz+SZysWSld/qAa1qj1KlIKk3JEXeQqo+/iUwyflL5BzJv82L4spDPv5arcYtw3OgexpfXeGzU7fFvSOT0TGBCayVZ2319G8rX9Dc3MQ/Ju+C/b8L6YC+1cYsX8zWHKLOsqwrVFvZeI4Rnex5/5xH+QZAA+utPO2DZnk79lw70xPNV9nD/2itZbxGCYDq+I9pVYF0F20Exqs0jNvawPod64m8M/Ou1NE4iihHSccS1IK0KN8V5dU70LbbSpeDxbiBS6FpovDG+Y9lkGavENTKqT2AlvV90FdFgF6WygMC7WH70u96X7KS3wgZyq6xIEI5NjlKkcSet7nXcz+dct5PpfzFzp+SyRongsfjQ9O1OEQ3N/s4VNmLxpxIPWUlW2+QIfB/bfYThGWUXRT2iFQdakVhYRp3y/evWjZI1Zcp+qcVmt8v1Uq7wv8/LsaAs0FiWrrpbf9jxySzjd7VF+AzSmzS64ZEf1n59sQ8N2Lpkio3uAKTCUgcDXLNWTerkdhTwgobDwpIwYHcrjn8X5ogpZA6s0qn9P+/SODnYKq3XQ1Ip2EZNDvtaUOlMr6/7UvocaoOlkwVPCVMmGx5cl8owoKghR8Y3x8BJJvTn6p5zUwJ/gBVNZIoyYCe0+Absv+jSssPm4ucSmQJY5eVp0cmDedE4vyPCpfbW5Mm6xyKecgQA9tephPDLnpovflI9PB9CnZVmNEa1/LUrCUeJqC2//f51HZdCfVuWiPeAIvUYAy2F65/afeupawxXnpjjN1mebB/UGatCjcYKlDGMuUyeLXR6oBKMJitapERZbNYoNtWT9uyIlVQKmGYPvvPYh1gWYGY13sq4lQF4g/wyAfuTAU2bMfhGeCTVBtYUUI5QoOCgBT8kmk/vPrsYPhaikTuKZvGrsokDHcjzZ0LE1VeVr3XH05oxuiffdo6edmydLd+J2DHDVVk8suLAskDo6X9/iQVunckKgON/PIFh40R5cuuV/nHQ2oAF/4EDtLgya+5aPQJYN8hvd4+COg1gG3GcuDjTHKuw+MyR5/Bb6nundp9T/xT9vYqx4fEtCXEZSYqRQVUUWOQ6hBFdjm9oWeeQIP/demlWk6PGMNMQB0kRsAHHnyiSfB6QY5GGh3A8nyNpCn7IU0Nd8IpYTC1/jX1I05twdXqmGoAs8YHhF1Xwdnh+WBL17et0SgrfFpgmIUf4QulMbDDKVi4rBCCvPRRXV/oJSH6fQg7uNzBGSBfdTHlnsRPdvyW5kigsTcKYMe3SjAss8IYM3Lh4eXBtCdkPD/HYw2SloE3cXhC2sNmUWiDx8Ps1BRtmZf545nmmkXwupbr6dmAdPDWkl6gq/F8Qv1nlO8Hl4HU3twcEIWaVQfq8lvYc8fv2ST6/pOjoeYRZdbfMviBy734piBwMQWW/Cc7kkhzaEfHiPUXgwopC1fw33d+FX7A6YVlAp8xauqyRJrU4nGupOyq4/DU4dh0N+t6UKbxNJWYmLrxgLJ8xQyUCo9mTjemiPhrcfrde0tdeiNsyXWc5dJYt68oFy+bfMNJBxGh5S1jp4ZWeti3ffPzX/KmpikKOx+YOr2v1EyUu1o4kXRCkMbScwwqXI+IAdOHqC0tXV+atv/YqX2MGzKTJaZ9ADfc0aZqu5JW5lp8ihGQRurbWxRRK4fMEmZgA2lsxWlTuiIDOMaZe8JG8KBXVSior7l4CEhi8GF2vIORHzzijgsfqs01g4CfP53AGYnf/Oo1wFcrANmzZzAmhQMoNrqLZCL0CiWgGfT6PHK82toKWk43Rhniii8BFnGffUs6tpLUScCbVngehZG1vtFEKXH2SWMKMzPBYheDJXjb7nMzw7Ham2CzV8SwmxmZ2KUySN9rMS1CCbqCe5s+mo+VMbhSwIZRHle+j74Q5QuwPt+Sw8Y/Pd18H4nSJrnm1ue1YvY5zRfsfHXuzj/7KljZsVffHe4sk4YksejThGrPCXQKLHMbUSeCdszviPjwfnLRJ50XTMEoEK5a4zZ8Rmv0UhL4tsW5QSXSM7PXb7jA/FqxZJiztDl8OLc4PkTCb/Hs/KpGCYaA+UZ71rPDxOhfoxRp9sByXaKg5+jLsYn9BYbPqZRaD17peUquN7QneEMz+KsvH3Q6qv2r+7tCcb/GXLOtnRsB+nbUxioTdWBDisnnOSnrbXfI7jFn8YtOiqnXrLI3XkNuwo5o2Oy5NPhpvY2krm/GArLy0BH5xBrPqphlrKdRtlwJfNZy6U5OAH8EiGpCOPFh1CFC2HFHZ42Ii0n6QUnAf2p4e1rcwLx6Qg7o7f+mEckekXm2/Uaqw+WhcvCKDtHDEmj9ifS7ikrWKm7fwZw9Sonh68GU/ZQOi/r6JZ3f70Up45uTHMQSaskmYp0o3GR+wByeiPJiIdVNqLeb/LAEqpwGg3XdVOuF2bJeSbZ8f9EoAQ2abOQm+6qo8VcESt7R9xhCS3DeJyydHZDer1fPXqz7UCYTUlWMZpEmsV/4XzPIc2L75Z2M1aCih/DC4LKWkLkYu1hxRSxivc4IWD43Kc2yjhZyTd4HJK61Y3+XL3Jhb95NeO3nFo0Qa2mTvsOIpnQ0hvqLwdp1NoUGHmATld7JIuIl1baUx9OKajY8cEPZLlktKwGiRpHHCmKDkLyWHWIpFCHzvmG77x1eR9jZoD2zIx+secq+0ONiYlF2reAwGT64krtslqP5P9Lw48VxtyZz1y1EofuiUzhPxpiDaucjbPYLPZrXSneABOnM4ZfncYgRLNJPRq66kC2qm9h1SdYLBwr1wfNvwU337/H7dsS6U50iILqSQaNSkF2/ngJYZMIzD9fy9avbVhLWjvsyUZtAe5QTrMeDi1F6BduLNkN0SAv6/0G5UiegmgQeOQf+e8YRR8605+0WxWgYz1awzhRxjd9NSB8THOyDynZrvUaA+GFEjxRvkOw5oAgZp/+adCQ1cnJKx6evMBnjiP3WWdooZK7J7X73BazjBlqN3eVL7YtKn4WCyrRdACO8/TAywyWkdnmlmKmeS7fM+mHHa1HR/5rcfTGU9YcDzBixQvemCWFOo+f5eYssEsnnj8AdfB5Z4ebpSOd89J2mK8W/MEgsdu1u0bVPin9jhK8adzlRfqIfSnX56QC2R9bBo6SMtVXHA77tTFxixLJBScdF4+Q9B5KodRwu6IM1xvSfhNAVs+GWuQjgjkEJttl8e/Xrj+rQ8v/yrLg6nZExjk7PY1i0LEULepFOE68UaaALnzvC0YCzGRpgY8Pvuhj/BY4j2W0EgdmdTIN7FsZWrvMeZtBPeaa/tr0bTRMHHRqqGrpb2TQ0D0TZKcDoXr6b3nz54XzSmUsUrsR0FIXpe6oj9mabOgb91KBOM6Guz+pfZuyN5H6JjVxFq7uQGVTv6XvmUpZcYNcd6jgPjidlY1sgOqFU1HnKj9M5d7z3OChsCBT9t2AjCVjCOSV94c09REO3/AdDfEljMonwdaA1zsxVth/LKkn1rkVzalpmDrYUixVZc8iZJVfi+GZnZA30J7fjvndA3ekjq6ZDZFuOg73a/xsFWWf+GlhuVnzDZODjSCz8limzfxdrTTBm1kthpNXKS5xCKr+AGoiAxe25Avhtr2nsZ4duOTM1CJRq7nUNyBwKqdPauAf4RxsdUD5BMM8E0n9La2PJV0kwaR/2UFJ7nCLS9EKCVptigDz/7EKwBVXDPVnQi/Hb4HNsMEDxyFyVIgKhBY2ObPImNgRbB6mfHrqQmueLExQQ3aUIWh7FwJgvDsjGCMLKZR8NbYXxMDozCoYLYA6EUmtakc74EJyNTIi9i/P7JZhWJw5rlx1Qw9juC6bUJtaofOX3n3F9O5hsQ3o/exrbA7sz3bP/Mpnn+t+Ug5BZV4EFLU7BRf/F6iLEsn4ssDrZ/eCnQsdP2suP0Xd/1VmuYFxOAjXsBNamHJKIijDWTzQFoBqqsIuHI16kPPcD7jAMCKmwgg5D+aAIiHRUS/4UFmMFGfLUj7lUaJOHzDS+yO06FdvTY2NXGVmMkwzcJFccqI9vRNxaSmdsE4qxHYu5Hg8Qyc5UQpoMY+Z98DaHCD+faoPhQiZNK15zdlqW5pulNwtkKIkaIHZbg2jjtA4NNp5W8653n32folgDBKBRthO0O/ovsd56hfsK/LWp0emTP1WDDvqEcBa01YARTDGMlzSPUz/OF7jf9I70v4LR98i/OSHX68QyylaHjSXZeY+OK/tn2WXM5vyGoH+VVRKXDTCWS6k85xg+iLejtnJC3K0+ng2WL8hei6NFwLiwgh1sJKVyGevM70mKD6CCkFLxqbivAxLgdq1b/ExQieL2/Z/3b4RLwjX2Ecn1MPa4N0/a6Ed3NwJrdMulVKNVI83rbKGKliCNL5rWhSYiSxpzxY8UB5bfd2FnX5HeXCuHgV4Ox3qwv4pRLeX7fTO+0YVJ2/J8x98dLSfNtSBpSv44Vct5mhcJIQFqCsAR5ksyE3XTRQfBKblkvMJ9ZJDpSkOEkXJbsWuhRpNpDTSqH8XWWtclopplHbhDw+tiWAjv+7UMD1Erk9mWNOQr+Q2UnYP4EpE+i47Y2NlIl6vXXFwgPqk4igpB89KG0jRtUCw9odPpWGBeAYds/FJtCGUBx99abqWgOIH0TyOP8IsUF1NObxHuXN963LtEAyT4jjvOipZn7S35wXhA1si7tnZwWeQk4/rv1Slq/7QCERE587gt/aM390u2EnflEDDI7+6Aa13Zna4CKvs+2P0M9Ap4o6W2aWdSxniyUnPJTHsQ5Y0YdJ1JSa4G/YbHpUqunvHkkh3LQrhYKIoUzw+CYqNkOlYx1Ve2uexU9Cxs0bvqbe8SNJnEZMGKAfjTZ/gFYsALS4gBngLxtk6HWOevvarKrLfC4HCWsJtUgW2YZS27RL+GDVEQZSJIiLE/oOJvmlGynwk+h8CVyxb24W30N7ngNoNqObVAtmQPabDBCtBcwCQy7PoSxtNkSJKUyNnBedzceKQl5uV/ip7qisDpQcjm4N0Ygd6VGrSVQ708yfj4Q+pWmtjjCo0qzxW+APROfHCe5VUpvfsQQMbuEcAs+KzI4jWpFVH/h06OR2yRU7DYyMUoZf+oNJQEAOvLftHvQrcGHCnc87E+3hFrZbH8Sc042fo/Z8t5zuJ42iEAAb+OfNxC36uqejvjB0FV0Fx1iutQWgB5EicMrOfntCJ/3oC4hmB32uMF/KFWMwOA3EZiHORHLIVsc9AskdiCetuDM39yx6D+vMlFGEoa0qhfByYf3VcFNWj+y/UMT7nuxjcv9rqfQFfbGgFjM5JoyFoW6fysaylvooK9IyuY/Uo6HZgO8DJiUlqvV080/IQ3Yhn0/NR4RV9sfeBEwIZp2FWsZOp2T3EYM0yKeIg2izfyg2TxQngjVhtZWWJdq59IGuhMTFjK6jker4x1yxjgcCcD4Ik/YHtwgnmzKyhC4WmR9u70cuhHWtwO2C81blIcTXpng4Cv44Ju/qqroQWUajhpttoaEnjzoPk80QsZpWuy1BS6RomMRvB82y+h5Z99hUfLY1QQ6QcwOFdJmFFSp82eWecfPumARPsyC+jVg3UbHrUyl+yzq+qxhPSJ0u4xe7N3vqcEYKiXnanQfcbdLlnHc2EoSKraCd2v7JhFBZfZR0yn+/TaXiyD2UaOk+mv/pW2hTLroyWLlOHPtBNVN1vfZfJnBYXMYNoxW+P5rG57MR+ESwn+LFUo7fDaNGWU0bJydug4bF245V/1xEfbahBbFmc8F9VW2K5CAq6gL2wzjRrijMc5qUBG5sgMAcMXcGGvgkbiDYFdPXeEjZsjMWEyJqASoSH4bWXxECOoB0rEZc1LkZJDAzc96U99AsgTSxyH+x2y042nKhpN9GDGJrUYGbMEYW1m+v0ouzCXMiXqyCA+O2hJZ0QcJmCxc2ZEcOmEYX5nFJsCKXGZn9Tz6doY0Sdi7XA92dTcA+w7UiGRAUHutHb1/WdrVwmI6ByKLcbv4v+jL5gcs6WtFxLB7+D5VFyg6xYjXgX/rg5Bl1WQMSWsHqPd4hIprPfR2wGHql+SEm3PbQJtKe28NIK+PQgj+i/gYC4wBmI8py/B5rR20YeGaODvf9F/U9yxqT/unf2KpL/e5l27MFH8orm7Or+E8Enu1pFxXi4FLM76CgNigkryzbw6S0PPXg3yIn6dbqhSXAKWjgcdE8KdcU0m24OHxK5T1N12dG7GqqKdaV/5eCTd56e7kfyoawfU5MVNTT+L7xAXRMG4qHIBzOGqAQRgIZWMxzeMI+OaeWkhDH3SVslzwOzWyQ9tqt/jX+KD2yhT1JoWnQIJk+wvbbm0SUMA3olmZOE11s4bEDG/hW57zWNnHEft2zYQUSkrM5Eu8ErO8+iQNkCgX2hTYo0v/x0UpHF++A9kO55Afpkg2aUWE8XAoAZgQtOx1Uz0BTnw6/FumkZKLF4kGGTun4KFGdBNB6383hJe/7RJ9HP07ZLnCFOqqWCbVDRZHo5p4O6qUhIWczJSKH9c55Et26GmI7QXRLdihZHdfw6jnnNfM+6V6UDWjOkp2Mn69bDEFN19kjKlEhnKpHk+sIuU1Fv9L59tLUb2bLgYx3HuoxswfWqOyfmfOYmO8ZzpneLsTBuUGwBB50E+Zt7UM3HUGjaHxnVXn4OWWKoREHCgJ+pJRy0yljUcW6nFS4pD/JYZHQc2pMRaU8IOxdP5CsQe0d0wJzC8O4m+/89CTVnc1qs5sAoB7jLtK2jbL+jhf9Ivv5EbUsgSQCktlku2Mmj+f/KPrACSr8pkiY0AHg2z6M/pIk9oo2OkH1K+VQxAjfDpLIojzvty7feyjmMia7T6wevAnmZ/YcTEjIrqN2hrmFxrsid5HdBvjAPKlUm14yZ62gu36Zd5g6lqXXLJDoOKVOBC+QTHC99h6NwlP5nWOkdNl2ESSNLssi7huu5skIn/8MkUT7rEwFtyL/BxPgD4fZsfOrkGaHfV9cFs334ZaxlloD4ocBKEruE5j2fR/N2fJMW592+qYM37atWUUluCj/4DwlEzqcV3BcwCWxbgF18v9v99jdAUutU07ccLAGMzzmR9E2+xB+SbGt5Sh/Gt4Y5n8ZhmjcXk9iSsH1slISjQWeCrtgLoya0+EOzZq2xypuvQUjkut/Zbwt5kny0wVOXpSRlv/sbDnmojA660LtsPO6bTVYL92FZeo6+MBawEGX/B8PuiM/xIrW4wLqYuY/reUxQnCaQhmSHF05EpqqrQNoBHUYlTIYR9joxxhQwucXW+q+2ZXMzToDbEXsyTOXIFNNw4yM/Zu9DAGqwSb/1CAS30B0NhkaBdF9OikflNgkETnkBbBew8MipY6GeucBnHzYV8D8dOuYyEMLxvIuHKIM+cJmNJu+gbMlY+Qo4mzXzAPY9auM1dr/5yeon2+HMACfwYRNuVPNagS6arAHzFUwDY8ZjoNuHkt7cV39BRSuCl+0hrPskao5l6Y3TCPNz1O2C0x6csftg4K1o3Ury5YCZVaAw0Rdpcxmtk+990EDiyEU2GaJZ1ZGbjep7tzFwctPJ1qz9gvsoQA1FjPhmaRetCnbs1Ezcwb63TlxVyYNi4/2ipKLczpr7TNLqaOE3AhFdg80XWSPel7H1a+EhBtwdoS1B0XqvHz8PCUfv351wdo7i4ZVIdKehO/10dzUA9gEZN1uGU9KZfh3T7Y3RyMSq46LPEzC2eL/hB8saVZKTwHmmKthxW3EmGkrGmeNgf5anf7y4VBi3R3Nsh7WkC9SvAV9hpsYP3CvzdhpySVKSKJ4xqvwOwlCCQJcQjJ0h4MrqUqUCNpZSTYi9vIW/3QNGUB+TElw7jAefg/0WJhLQV1Yp9dX1mymE3KQWjfsnJJ2Y6jAR2C3DfCq8lZ2JxR0BALZEuMdqIse6sed0OwZwDg+3aoLyqlTFPZowq/ungOfLE+qiMRWDPxNJrUzXh1WUiXtncislcL1jFJHnz8aoLsjjxWxRg0D4wUw7mxbHh71xF3zV2di5GwghMjgOXJ8TYyju/tQL/duekFybtCimsH6xMUWLybkekZnZuicA4JIYmo3TJhLKiI1E+YplclTDu5nSMBD2oG3KN8JYtcKvejeE52vir7qjFP0BPSkvAuJEOdfGlDyey0P80KQggLT+4cizSYiabPbYT+euUWevDZtmvaEIEjXiKk5/jNK/zZLcRj6qXFkhjLSeIzYtEBtHQtL5D3nZtfhUyW1FUXz3cemshHW9vTYmmW3y+emQfmCI9jS4rQcg+26cy3mic3ViYZ/ASPRpq84KgpPDWFtI/DQce7KsS+6ZfLfmjchxZukAI1KCZAG2BXrqCcHSdiHnraY1TQf/vQFJvZkq//h2QSRJxvTcL6NVP4hbIF9KHGymqb9ex77SFY/ZaG0psa9sqmnL4WeKIaI7unIKFk0unNYeaqr6z+MLIBNh7NL++w2w5ZImALyUKcpRQGEdjVTlVOCdsPHxq2POY/uyGYe89SO2GcEAaBHFdpWyuuNUIFtZajab9RVoY4u5dbRhmAktjgGZP3M3E3ryEtfKf/uuwo61LOXj9nPuYRronnt0gAE7z3jKnQVmnO+qYQN8Yktfta4Kjf7Z/VEJy4JddkTiFkLrVAtVt3aYdBRd78Hm8OVTwc8hjAZkCsrvcxPFtzk0cAW9zQ0VqDfZVgy568bdBUhKXIWzfsWoSb9DT38s4tM+Oa1KGArI0paChyPXbLHLAsRi/8Jug4Mp6iwYBXRtg+iqqpONPW+mYNpvQQ6mldZePvvMp2lAvWYUmFmvkpw/mSltTULKySg4fDog4gaz1aHfPaEuU1sMJ67CxYgM/VD4/CQ8AjMxT+83ECU5dwd1h+9JzF9+7L7B6SDaCyDFfOi1Q2LU8iqyyxjjxOTozid7PnxVc9wcKtb+mCLr8DFBIL4DffGA/pCWQKcAC++egY9hGv9I527xEm3d+t/CA3p83yd/vS1j5ooDxc8WDO3eV1vrSTwPNQtBcUSI+CVSvrO2AcvgdLt+uGE83Riu4Ca8O8+gLC2JjK8/hQ5Bg/97z4SwHjPrk/hUs17p/YUNa0Ih3QD5XrIJ4/I6LbfHYwOHbTk7D87NPoo/ORX9DqlAKOUzUcnTh9P8XiH2/zvvuD+kATaxUpRPmwf3lRWPWcOZNd007QXFM1uZBNt9lFoFWeXEt/f+IkFdEUwuZ9VnniTIwypqugkf3uft+d6dsHOjVJ0Znt8aZAiaY2ZO9Z4iLwAZUQnVAdCFzWSzG720Gu9JIJOCNSoVqj4Ape6bx2g/yiOh1siWzbsoJPEVrU3srXMOfUybT+Knw09Fsvol4x9Ksh6rxZLO3Aj3mrMIdGWN9ieyl4l065kUxjZ3t09qGj4FAMgHJgcPKDx4AC5jQRTd3BESO7gw3dBkNlACswtYkz9yEHhGvKpCL0t8gwXo+oT60MuRHMmoSKBQQS23lXGuh3VV9spbBUOpSRv177+fawvmnbeUKfskRMaj8RGNv0K/GO8gGT3d5MA3po6iCMQz3HpHNV55lIq+CMJ/1dA3sJNI/z9O0HJ6bRNjYqxPWuTii9RZiAqWtE/gnkIMi6eIiiBmWkcNmRNAY0wWbfhMJpgtn/CrS0dL3IaD2dXQBPwk4C/7n5vFIVlLwvDN2vYqEOttFZDCNd5WtTkisULTyV7HStpv3oOjarjByLyeg+vwTId0LdOsMGYsdgGSxkOGt41kGLaKcAe41gwBVnj6DrbJeAxd1PN8IsScsL9MG7Vcf1Sy+Yzdh/lYfDM3HJ0/CfreDYsnKcm+Z3ZnfaBjZK5wVDr6f66TJj7yPSGWp2OMOH7KtFx3YF7pA17CgS8SnxIwvSTUTRPoi5FLLWFA9jfqevOT5Mx9eIWAX+VTjJRFEG50dEMQbrjXb4EIv/OQ+oDUZNPQHVQ6IzszFa8rAN7FxMutbZeeAk2iBH8D+UlGq6non4oWwKgLSePiAAoWfkcWDL3vHlx65i19jEOidbXmDgSRPRvUO4ncvWeY4TK+WyyVWvLeBiizIdR738QtkjG6Tsae0I7OvO1Cg02FNMjfUwUXWjO6HnQTh+f6MblcErDfEpEpHAMXd+P6XgOUDGuPeVP4WHMQ6WgKsfxZ2XpkM6NpDtODcuXB4HPVi91FgtZbuyMwA+5abSJ1QxUToptToWkzQTQ5GSHO5nyF8GlqybAJKoxLGt7Z5fF3IfA8swOp0ZfzLueiGv5GiCI3b8v4FkYZfc5mepLlas9VXbMcqE6Mwn6CejX2PgvQsR9aTVjmzuE788TXT8yx96XgxXeU1bd7s2/rjEkJQQu66XUK3xaMnbp3E73j0UfCBcCeM6Z9uqKbE94+nT3B/anIE+ObgrkNDD3FgOv5+7c5cgi/5QmLiHadr8W87PoE5S5ofzpbnIolTZZ4nARE7QuYZn2eWhSSxhtj68g+X3+Yj69mVxzmSTbTvNbcY0GD44eOOAdndmxZSN/STj8AOgeLpZOhTA/RfSNELjQKRehf2ONQm/GZRKLduVcbBMaPUEsBEF/mZq1vURKQWRcALEJTW9XNLl2DlxipClI8rbIgmbu1rLT06tfk3fZzUwby0d1bvDloTrns0PN57nDJTPu/G/EGwUYG4Yhee5M5nCn+Lw40eJGSRw9P+lmO/5sPedXmtR4n5rBwZ19Dvfx2pBQn269Gt4SZ5tiBMhFsSp/zKCsd2IyTvA9EZzfBj5Ufx4vOgL7UYpOjfRvUiFqFEwA8z5b8W9o31GB860CW8OmbRU+WeW3RtUDzHD5edZGeHh9U7zBq2zXtGDaGJOAYW+sqAq5pG4Oz3n7Ssb31WPRLMex8X77/8zlTjexM6Ow4zQsBtIGXe8uXx+lhID2bijqN+drmiSIgr1OifRFpJoVUiXiK1HkUyl29IP2yupmrmVRJin1dZlTP3zeJZHS9oRkOl2wN1Usyq6BN4tEgldlfm/e0akRX5kKLnkWmYDRsTBMC/7dN5Q/vGY5sKnK13h6hg7zTKE60Pe2xnpkWdG4u6oCVwTLOsjy1i/yyeHSIInfkAtfVhNBNOUOd51bycln8uC9pC86VjF+V9WViEf2m9iyOj91vLF8hrAnKeuSeXLdkbhhR8Vig9PUScv1YwbvymyEid9odPMQo2HBerTgLrv03Fwl34pC49UYmc3+b6z8nf+OkJOa7850liNjg1Vo9UjdC4y6nbXruPzIIquh5jhjGgGCvclYGemlincTsULnoFxylWaAJcS1Df6BS8vEw0hocSjsUQHfA6CUIY+C/XQaKgdcCN8FpgTNMjnnaMt3uEyzlo++58ahN4v89uOiaKJ8TYx62KABj7qEKiES/uxBuJWFodzBOnuWfhs9A5PDVkMVMjUz9HfYZTqFglKp+UDMIemNnboSindAk80KrZsfkOkJt6ds7JpT9ytn9LKfYzdxnsHVZkbC9UUpk8gmytnlZ4ik0SRxNmzUmDbBLQgUNI07q18oPJYnLp9nmp3rOD/uEm7pNz4vUKAsLq2gskU62HE9oGVxJi2EvvP7g2xVtwjRiv7rwkuM9LhpZxWbd+/CAHrzd81T/TqNn7fsw9gxMXlACDT+6jKbjSUCgNNqWYOqgHiW8+53Qlx0aIbC38hUys/phKL1aIkhapKmekSC0ljxx8modUnd+5u7XXUfSt8em9uZqUIzUkgJOjMwZs68SPh9oA0jC9uD/NA0Whsf6w8TUiCZF0/M0BIApvQW15l+oG6sD6CNXJRvBkyhmeB/s6OzBXuGtSu054CwOF9huW1CrYIO4eVBOtovr8JLwPkhGwpQ2zR1XvBZY7iCOy2SM1JX46p8Ce1MUQqbXHPqmtvPfvR3OI+1YJQy6IXl5QiRHMG7pTN+jIea1vmSx5f+TOysEYZ2xzS8q3tTtiUb9zdstjjCXE/+LPLBv3zHIzcv0pjIMAcPLKQKG17uLuIz9qG9R2LHEYQqaxRmCo46XthCbB2JhRGnk2nVonr8kw39EwGQdbf0ZTwJuighnphLArWqfhdhSvTzKg0/oHbEuEd/AIKZ7UNfeHpTOYxq/A1S/ybxdPmIggaeIMcOcGG5+2rNNJ28skuwfRo3ivVaAewBnd12lTMwwPNalcrwOrFOEisA9gI+3+rWyZ88vyNbc/GooBYreYhCMY9UD4m8fOl0FVGwqBgRk0V3k3Nb9z59WQkUfH85M6NxHbgbLfpJ52nzcgoqRx5K8qBzEXTYoSHVidLriOOA5rD8XwPkdOrS3NloIGWNQR9admxuYuTWDfdtyhtNE2/KND3lDmevfMPF0glVZZXEIMF4t97S4yMdXYYgMM+cTqjNLQUwvGZM0xwYO2Z/A06mRuFZY1vKoYD4VRSmGJ+VAuy98bCzoi19zlRFAoilDBaCgclWbXguSvapKBqthr7IbZQL/1tQZ5UtzfHsRwSJUer5L7pTL0QVD2pwDw+SryLcSnS8604ddlCSMWNl6rlqBwR2NIhxK2/iD+rxNmy/5hLkG/vncl3MWrlsCHUNwKc4DehsFOd0/UL6a4uYO8/rEywDQb3oxL7b2SVE1vnbUAsi2M1pNnTH2WayaERKvFl0mW+QHkdBvUvJAPgwpvrpC6Nhh01aPENKlkwD2sPSAP+CcPOqEM47VL/I/7r22ysYFf3XEOCy30U4NifT/x9Gn6YinZ4xA4bEf4ygnZs1nY4JwYsG9jtKp0+/jmywcIloMgMT/osJt/cYk/RPH0C8K00NiCYNA1ZC7nc237w3NZioregXhNXS7IEt31Med3Vacqno1Lxqet4xRajzc2HDZ3c/gq050Tjc8oO9BhmBwzfc8oS11EvCOMyVrCRFtxmgk2/EvLUlFjrXQBAZ9QPmyld2NidH3vvaBorZMEy4aN5CvR5eCMg1hZ58AQ5O/RJFCFzRuioqvSZUKPy+WtjbITjPGrKvI57Jn74bZkQHaKi5mDAX9eunyG7kYCWXe+zhibdxAcCqh2NoYa/kn+V63N6xg/WkLVK8bRL3eRh663KKPcECGmAdGhRIM/R7jHGvfMFfChaKwNs5+fuJ8uBffU15GBu09BSHNONBeduDCBl7IkBPYx0Gt0OZo+Xv00v3leCMFJHKMieQrJBPXHYWXE6kY8geUDtd1DlE+WhVBWyrDdd9uBMT74p+94/NOU83pLaiVCj9HfsxrMYvleizhp9RpJL6kWE7BsbCnJt6JFx0UW92zo+Qj4m8Cbiy1WKwQ2jG5VbxaMRjYDfsYtr9d1a50HZwn+0eG1UWmAAjuhChixYIJl6ImJgp/dCNu3/c0429p7ePxMiYVakbHzLEZsAXKw4TkN9y9CQL9YYfAvbKYe+00fey0hHkTzn4SSkTjBchCjG2b5AzBmJ5jPwbGrw1vJZAor72vUSccTqaCkaN/frox+Ja0CPyHw8SeUOfdEM0w+YOjbYpJonhorYGqXNMvKUXtdFe4cXczRX+1NoU/IIeNSt5xpvc+rYTPtSe931rwp7n2bZW2dQ8A+xcqN6on4Aw8wnnABLseI2QuC11yYX0qu/MQEbntmh50KZmED9d4i0agCpWWPUuzFPAuUj1XiflKveU7WcEF203Dj1BSD4QJ45MJ3aMKn7Rvnl8PY2dVuxA/bUMEjdaOiJjj+7qMWPYqFIjKPGbcloU7tkbVbopQfH3d47DBA1XXg3dwW+Pf9VV9WADxLHitLNEvCDlIxCnVr9FLChTtqo7D13PCIfZHs4RiPHsT8jPIqQXRfVO2M674eTIt1ffciKalxMHB90BYBrBZlIa8BC0Com1fXGeBOt3G32mWQ6UdRXBTJjkOU34coH78meXZpY2TsQqkYXWOxzxaKhdq+2v19sIkfn7WQC8+plD/hhmTPYcHTEiOu/tp8Za58v4nua6AiIx1dCSPaAkaLnaN4uh0i4oI7mXHZ5mgOfUt9RitqtT1XKF7ncTcueHA3OFU6BDSvj7l1ucj6vdPtxzJojIrSRjnFjN0sAhvl5IBEG/PE81qww0e4k7AvD+CRPfY25jjGl2qEqGsKzUIyfN20TbEzPX3+ppOEKvHoEvFqHaHfWWXL472qBWdoiByVRuHBLJYeO7KvYDGRQq4hPZWK9eu0V6w0Bw8VKPfD0ayPtGiysTwDqHv9nOPSi4wRT2XZ03o4D5NyozfE7OnE2Aghu+xAY+rpK0/phQTcU6UtZdXuXXReN+smC58xnYP58Hb3FK6cgcz1O+Ls+IO2BGTzn45dYY2bjjK6cb82G4JtLip1DhvNcboH6YIRbIyGr+eCqGBkxXbpOh4u5vPOM5z14hNb2ov2dIRS1cKzoDjw1bEam0tTTt83+Ef4UBmTp4Tee+NDWHiI/4anS+vs4V8VVIhB9k51bjXpffx+OdsfCE6HLo7rXhWpL1SXF5exL8j8d0dZ2aqTxrMia1UQ7GjirM51sfku6MgOLrJMtuRNCzXLd7jnIFIishH0qyfKx7Ok9nNs77Ll9PZBjO68JRGfxiveRx1evfuz9acZYEYX7LoPZVZue33QAsaikBAF2OK84QZkIj3L9WSJakND5akkd0oQLT02HfHQrTwqUJxo1oXWgBrSEY0xADTb9v91G7vIDSZ6Gk140JnW44NpJhT99Vaf2ve1u7dUuyefmgGrfzN3skG3fbmc/0ZaNMGZDXvaU/xzTOyL+Bw1tYR7NNThWjyJuzVDTLNbbgSM6+/IgeqcfAQ6ST5TZ0IMDR4aYGUeOvjJ5C/Ok+6EtFN3CopMlCsiiKlERzGnWkIeI6OU8BBozHD4qZLO8CCMiArznMPrt++m2GiLkaav2xELYEyqZduT2P1vuNW4bdhmCzGwIJcZV4tOMuC/3oIyI/m6NhgfZhqN/MJiQWyz1+iBN/BELlFZ5IRRQ1wxMUwYnDnO+4Fm01G6LRlDTDK+zCZTuTisRZuOolWfP4vo4+dQT1UjMHPQlmhvFC6LHJN6IiEeqalHmvAt+k8aejMIZF/9NaIxyRnPf+QhmGyQTgRfryjASjSw/gCUUdiEs2HNU8/HpDGaE6KoF9vWSbxhg/cZbPKrQOD7mQEWw4c1cJbG2y/mdChXaXX1qHtbYcuXM3uhEoXPRPZTFjHQI73XjgKDuc8zP6wZSwKQU15ooe9IHaqmqZKCWum8u8yGO6Z31dcCev21lVCRVCahVdQJn+rmCa4m3elulRwHudLaFlnmeo04MtwYaP2wNWLobRQo1IRru6VIpyd8+28lo59Mg8eHXY3INwoKEiazySZ4rSLc1xayW/oByKWVYS56O6HbcGG0qtI2W75cC3YjYNs3GzTIaaoEQOXdMFWXUFWP6vGuS2WQayiNsoTUDqzQjLbWnXrBuDn/YN/4VsGKK8f00n3vJKwWb1HyKQ8/CwivgCM+lSGAsMiDkNdHxP5u2xh4rem1g+8Yl6kSkuoNzQs78iYrEgWj4DMkFtJaFZPEE40oe5XGmmYKlZMBFCzg2P1oylrR6G+32AqWgXdeGzVv5B+bazKkRQ+sRXxc0012dmzJGrJL7QpEphBhYjLEFhPM3RZRaGWTE1Jl4QRceldbni6ADZZDWGHrvMdgZ2RkKDgL3YL9myWnkuHielNRjvChevDzDsMzknBTBvz0QLp/Gq59RMERDv4bPk3kZ/ITiv4BJyWlFdoiJ0GeGUrclryD8n3nn1jPDPUR3JUIT/hSSmxcd8gUqfqIpP/WAoApwCInMrhsStAuh/WwG0tfv/d0gzzGunapgPsJySiPTglrI8xLBKO+9TlXzDQzs/lcn5qDlIbOquU0Bk0bmg5I0ZyZpgPhfFPTN4Ej6X0aWBrBlqIBMweEfaHCCp6W5jvugj+ZOxnTqSng2myoptyz5QXY6q977fwPFBejwnsqBir4oTWTYZVoz1jGXqacE9InrW4gkxNy/sRMQksNR04vlG8MALl/LSOMdfeGbdYmaRDt2B/Qx5rEiL+bKL6vwF4v1mHv1E7mvEhYfcahUH9V5A9hpdvD2bprJU5nQstzPwIv9ZxNDbjH7uiMResQpn0R4q0CL2Y8MZcDYwPY53YXKwbXtX4ktSsiKyWTYAN4Oh3PWnLNlnSKJYaSgns2LE2NeKBkYf4FtDc4WFAMbNheAFeC61+JIgdor+zLOme5YCJShKeQUayfOicdTkRpTE7LUx0dxuMuxGUUuYZ2jIsGUbeRg5FTZiDjhxz6ojfnsXOOtZ5AqGHC/xeo1i0OOVHA6jYhqhCh4js563CH+pBD0HHwaRvM+Fq7UZDck4MURjK4P5molWOWbfR42PfGGaDsJE/M/g4eQwt/N5c6n0H2bMbJtPW3K/75/dJNhwt3+otWQd6P1Lkep1D0x9X7kJ7d8CfcmR8YOf/TKJmDpYzv3GLdGWQDkNWpmR+S6/BiNsNOP0YMISZpARLNUf+f4zFwJNGgy5VmeSCVQoe8GKz/E4yePX+cy2OpoWaPszhx2YS2TpJSY+YnOzrqdfPxsm7MtnB9fv+dzcBBUq/Aylmgd4YL0J0uyvjsK8eAN8uTPkdnoSKtMZ9Uc4tKo2QCOFs+B6aW+Os7m+xzpnaptzNRDzYp05b6iVM0zBIGyDbHO4vJ2NZAsz7F36pPIZkN02nB+oF5eMdyc3UhZEA7S0eSvJKFz1JMD4ddJ98qmAM1Fz08qcFj6JtEpRoINyeHBpTIrQ2lmrBejBlJFIZ8EBp90aFoP9TAUAbJlFK9BsgLAaF3DFo/oCZVg34fOgM+Up5MDT88oQqhyzHMYz3quEmEEeQ4gNHWJa6eDYQyViROzlzjwSbpuxoJ6tBkvryCY0P6rJoypPP4EiSrYgqGkgPJLGnUxOiwx9HhHAsYRtYzqPFGwZFftnw/5+l04ipg4JPI1PbVZGfarZ5CFcCOnfGYrVPWQFCj4k8Jp7kOOcnArUGJvjCISeShCx9BR4Yaghl/l8qHNNjMM4Nz9RrPdZLh+/cOhgWfWW2L9WZREoXBFuodE7029pCLYJDIP5RloiiA5l5s2gYZxJdVytKLpR2qdP4XVCuZVQCdFatW+nhQtRYR+bLuTDAwllrruo2Awc1eDG1FhCumI7s17QXp0VVKhXYAQwydffh8P1p32t4LJITzB2ApKIsposP3cyhtVIJnN5+l49SI8lKdTmKlsheKJUCKs2Rbt0mOOi6aSdVqrdMbN7aIk7n7iMPHvOh/AP8nT8oeySWek8aiomca7965eGgmov01Pa0pBqY0YmpIbvKuzJ81FL3I31/dM9Wn9TU5QQlOry5wPjXRbq7POTeVHOwqUCBhV2Mzgnnm4uQ983SCicUhTu9E+osah9Ue4dzO1474YUyERGVhBeVyhN3jkm04/JxLqGW+ZQzNgNay4zGORUDogp134AYxmW80rtlWgimUIpUJ2/L/dvCy97jjh/HG+RpxfO5xc46oGrHSdzUm9eWs3ggzJ3/hoOL7xhvdMHwWffNb53y4aaardgdmzrSisP5IbFa9vtoB3VUS7FEXZW0iaOPItI4Rbm/W9MOFlcj7in2nbjzbDFAuSoFX1LmmGw7iYmlCjlKYpu0RM68w5FAp2JbXG1QAMzMedsOHy7A/oC1iCGRfPV9L43/CWYM45Q9+qt9B9Qod2ca0LUkqJ1HvDBHPMcHd9rtuxiZ7ZY7XLEJ53DSkrAs8wsJdPpYI9qzXD6VQkvpq7AiQZCbS3jvK0UOptuTX0ZqtfWFRK1zTWh5Xu/9rChR58tDV/KgPbZXejGvcCmynAAcq/jkk50f143Wb4sGdxNoApjPMd9GwbITNNl4eLYqaKl0W3s4qDs0XhGgU6hQ9eSxyHHYA2WZfbyGTU2fxbWXq7J2CV7kLDtv3NMyuxMmtZhW2MQLxWzRpTT929FzQgxfZ0mShsyQF3MZJENvF1wMUykjRaCTgTJkj80q/28Mm7LbvxBYpFVON0ZMYuDP+7hY3UpyfvTn+7Bd81UpYv3JzX7sur2+qjW6NwqT+XQsNa5JBei5ExPhcdKQC473wjlr5vYShRDfVMpyafkZj4PaQ91r1jSfRK7NZUPDsvGyfCh5wm2Ctj6ePzmDPQU8fzL0dzYIMzSuh64k7cgEJZAWtSyrhI2Xs5rWINJflKatePqotw/QbWTW18c4fDvkLQen+DGiBintXRng+XEY2akzD3hBMjirrJRumXKQDU9Sski/u6vnSjOdmTQ5dr2uDLK5jlxm08Xdm/zzendIjjbwqmohdoJMG+IbfwHHIiz324AP4aryzWCo6VnDSM+ct0gKzQCrNwlRTZkk0f8Hy2I0lvLV7gLr0lgHHCop65K03eJXrcCP6TIt3wLtrSmvOdW1nfrMrPd0k8pV71/2AOwFYuhNSGPIaNHE88PW2vA3VJT4lEiniBluXWJ7gKUjZZI7zNjOcWb/2B3ud5d3pnLog8RzpD6+QlIqJuSDja7nTILKD78LA3Eav5KjJa7X17i0GxkrzhsZ3A5g4JxV2UgJClmZHzlZkdaa4WOVm5Z4WXLPhKM9ah+20PWOSwrJwLu6RML1mM9uMH4VBn2vsnW1PjvdHWr0NEbKmcy/jaqycK5G2UNTVs/4anHbFDWw0RORzytWHQH176HLcPe276xlVpFv522bC/HUSO1H7BqP391pO9MLHB43shhMFzHk2Db5VwuAuSHntJ4V57YNopMj9idcraiLMoZzg6aQELRyDTl1zNAA+B3Ibfn9PnD7MdhhtZyde7MoMhJUkNsM0QE8eubTi83ATCbu0rwlZj3j4U2xE22WhG9FrAediV8byrZ+joPvalBmvFlXUedJUgNmy00RZmlTTDjT0frbQd8LNls7kD3zW9rgsqsNnI6wCDprZn++d4UIW/J8UGKdemWrdPyLBYBsjsSOlwHHZ4K+rT8qpBlI6Yi29LN5rOFWhGa88I/eKgWL09lPZdMrTtkJbm6JN2hpdnjChZxujZfe8fziFHUC7Xqs+RtC1BKKQ3JcyjWzfgPhYkys1ZpRjkF5NvpjUhPgk1UPtq/fXHtQURkqQrqxlD+zpss7WkLwg3LWlpAxc82HC3CrSyanw7h9VkWkq2gmlxI1dHgLByLcOMhj4zkllEhyvmRORzHWBr8KP2OcCMSUKBa6HkGAf8cfKjujOr6Zo41gg8d2xI8rqa7rYxA/DwqY6VQE/F6kIRIeK8OFJHPFaoAtYbfPHaxkxBjiFVNh0cQ9CLlXAM62gBlPPfnZVJJDJL4rCLR+1hYsbuZSx0ASEmSADKCpMTItQ4FrOx+oXUOPi1/zcPmdKjAjHMFYJKIwR1btpNQ02HhKP+FOxLBGQpQB3dObS1Lcn1Jlrqrhv6qDDg9GMB44oluVXTNXdgyWYajb95RhtMtIOoDBY2wKioY1KMYPo2LNQn3vEsCcyMGTrgMmxp7JuZX8B8eA+nJM4c+NbER4FpmKH3nkk9ZQBsPnmBypj7VQDuI/cR9JAb0cknsRYNQeVJhJWt5z3gVVJ7zQ8s2WGIU1gNXOYurs5pD9+LtOAHtKYMOr/R/V1JbKKyC7ssiFZ7QmZ7ODlRtICDz0tjQAr3UIEM3x1Knof8/32lePbSPzOXifsRY+I4xLoHvuQ05u1eQfHdG+GwqJizflNlfF2zjeZ6pC4AxIVQkQMEmfFLzmgSmyTC94Gp4ligfqOwhokv77euplWtjREHh7yI15U6NpwpoLKtFQZIAYFt5hKYTzsCX67bHZF/DsMoa6+BK+Ha5ihmjOxXe0F1/xVp+Pj6BTPaTJkJ/yB3Q+2ovV8DPg7TWyvBbDudntDwWdYmAuPP1p9cPBkJdkGfCpQVIvs1Nat9o+bJoE3aafSXd6AyD96809FkxhS5PuD6od+pQTq9GcUiDq2d3nNQJ0dBu9S+EKshYuTN+f/JDm9y57ASudnRqTB3xDIALz6o5BXR1WypsYhTSlOPjpa2B72oRVw383XUs4m6wwYXCuVYEN6iy6mW5BcYM9ibwt6yea72Qv8ZHgj38uup1mP9X8Eq3Kfz7mGvjGO6Eu2KOx7sKcBP17M5xEmM6+5zshyyINTBAu/bpb28DxEjbuVRDCuLqdVlisPgART677Gx/sJH/Eh526fBFoIn6etBHl6RBUZ1hYSydWnZbRYZtwPS0hMFYgDhqi0bJ5g3QgXHeB8Wj9WOCz6v3Msjd2YIpOmdmpqpLGNOtPsxWlvY72ucAMTxIn763NWpWNgjsisZZz/bZ1S7h8gL8TP5eDJuUgHPF57GeqOIRtH3DgyXSfgVIH7gfoCIJwDtFz+TvRRmCEb+irAwIaytuCfyiYW5VRDCMHEzwRlNQQYaocHVy6ROudd7gg7EtjrL8gxdhb6xqFqOKOclQHpdmq77rF04goFmjc4v/kG9gGSsQX8HJfEO8g1sdqukqkZNRZMxSlYdDEy9uqyeME3+DpW/2XiZT9EnS5eZXeeY0YMl4vjXyhdM/+F8vrFg6Eiu4KyGSwVjnO9eRWyjJdhWETjufQwXv18sVEnt5j9uufOGxY02f8l/AWbQDF/7lsrY87osG0wgm9s9EEZaIuw+EaqMqdYTFhoVDgCJlpTZcrDFTPhRmyRet6wr4ohjpjazd/RkGmA2teng8bka3VwJIHXUKQ800jGfA+H/CQGAlpbSoKZRkP9w75Yw7UVatYUWSRyP33Htw1uSX0AUyKrJbu/zL7T+9LGDPubBhVz06tk56lUHNuddTG+iZDKSohtmb9mnzvCAyN+8gkstkgxPO2zs3coCx1sD6LrxyZCkEjkiZTp18zpIAuGaPdoGIsWiYURAW7PfQchz2FKB3Qa/7eH7igOJik8nS37FbRIOpZbA/5GoAFetwAe5bRQKkAf3e5QVN5dAS4L0X4jT42kenPZpJi4eTyDaRzoN62eRrFDzWUQKK1Hs6Sh3s8jiJwMM168D0MCSRdJozXFKiJTJYXREtf3FlKLlZFuxkB4+jUwJsRoij0MIacXwHU7FeykVW8p4Cl9A4C5miQ3OSm3Fh9GfwTxQrsI3KM9vdEyImH+P90ED0ioJw59Wg5fM/0mIO/KyCWqoCjsRs06n2Eu3dtx0xPOJBc7AbYSUegMbfbmkUxegYvKgEDvTSaot+XOicef0Hv5fwfHqkR9KggKYC5wxsbU+D0Q2eWqovGncyj/h5YHdv6Tt6c7FSC9014hrcM2sPJ3Ot0iFuaVwGy+tmP12xoZoC1HSfnbuSJ0K4uxL6uJfSJh7gz8W8vOTEpSlfDBE2hObuwnxWaA+lPRwAOWCbfczGOouUoUfqVC+McLOyfOt81Q499SqTyZQgktfAb1mvEP0Tcr1Dw799xfZe2QFOdUWLJ4IGhiyi4U5thTTmCyzvKuoRtTrNCGFH/EsIiiaYQSo3q4v/8yneko50HtrJwVyIRRu0BzIyOMvd/MoAvdMSI6OyJ6DQLET3waaLliAh2j0dW5W039GAYPUNbxNIuVx00M5UG/Dftv2ANetgRMcPXdpHC6Y92jGiGRiYQSwbi9yMiNUV51EWVXsZbi33m3jRVgqkI8L+b3dkOfYVQ4xymGJT+NrUNX9TrDJ2Enls/w+QF/2RRjMcsptTy/uloEqZbM1hBZyTRZZxnFqsOT8VxmZ6P01h1NlMegVPcbYiMQOcrmWWA8N1P8V0die2eXoM2r2WZ5TMGemTASMIXKSnKQQvdCYRWaDzapSvQGJTVeT9s0kSFqra+6oSwokqk4gJkD+WRJhOSu/D6zmgazb1p7BA2ItGdtvuD5d5dd3TCb76aB0/TmTtdv0K5dpx7i21yZ/pS6GFg2IJqilz2uksP9ht8hRJJxmiOYTTWVSncDgBTtFlvI+i5ksFibszl3WcuhZ/mWTzIez5057NzFH2qHEvst4K1PiVZugahElRM2r9kgk6XAQiU+lMVCuZreKpoWDQDI89JERzgwVV+1JOs6qZEGQTMcUJg2772RxIDypJjnAb/DvBqv6XeWrYCvP6H2aorV6j435Fq2Pilyo95xPWh3iU4AZoPgM6gaJwiqubFx0+1XZM9jvCZClr7rz5st8WshTj7enUBroMDZJqG7Op9xZB+OKL+Ah7VjhB79WhVLY/rbhir1nSJs2HvJBxBsdQBSm89MSVhodPRQGf+ELhnm7j13oxpxkfAnIp8FbdkGDgpxVbXeH/meF5vKbIR08gTIJ1JBZlfGfVZVRXdL0pk18/qT/0gN717zUuBq3g8KV1fQI/cTb7MeG1OpwKMC5S6+gQD9b0oyLVu9tdsJ8KdcG2AMdv5cXWPh+o94yns/Ll/A8hm8Bckxc2VKIA4ffDcmnPOxmMqA/DV+JzITiFCJzTgIufDzEHDzvdgV7tBnMk7N9zzU66Rv5vzFziih8lVh0cbjK2pYIYlq2Vqsl3TLfpYlemHKUQSKhkkwKbOL+lR4tYRp7kMKXNyIZMeCWlPgYyq9mz2XrkcwcNd9r8tzAwDXPH8uX4eP3oQwuRH1kQl1H5ivmlHhD4AYMFLC9SXrRggR5NZjvUKBTUhoGakxJY5Wh9a01tJn0qbO+51gLVMpnuDFw6ibWbTZp49oa9+uAYglcz4bLBECiFWgH0y4fuYfdSMEq1pDssH55VtDdvUJmHVgZ+iee0FnHyUelNwogzNCX0yKwDQ9ZHU3kWdy1UNgqly8ow6mHPM3mznn/kKsSooYiXTP4LuK/1uogcs4DjenHBh2Mp/7A+jpxBDJ9uaTQwK3TD2I9GIRMVzugAES/Xhf28wvzWIYyDzYzoHSY0/J2Z/g5W3HrULOikP7HqjFCwK3v6f4Rj17yln57FTOiTsU3eXQRPkE9XW2oPTxfh83g5Z6pEZ0II+7sz++xP9NroSTMysAzexPynyHD5Tw9iAuM5pDrcNrGwaF3somCC6p48O48CBECCZqSZk2tEV3iz2VTtrtFQaE21m5P4iUPCz2CZSgsgL+6DgmTmegCrO0PhrLUs5PsEixGlBETHK2vMRNwkeuTfSwQyEGtzV5R/dH3ioiIAPYPwuqKljQ/qzsPHMjHkwD+jedN5VgoXN0KUT1WEg5RyMJ5mcF4QZ1fla/i7oGqk+NAxJZ0+Om0jh06HWkUZGTBpZ+wk72Yws0ZTVRaZzQwBHi8fa6kduQN7GNPEZQ36AW5Om9eU4Z5yEr+usU5mv5Y/V6KbqJMhdTeLEQ98PNM6umu6oI35Lq3G/Qi2OJEFGsbyisTBhoLztHmeQGM525Fb4c7XSGurJkYoRx50zVx4zuBncbYdnq52ddVd3dgJOkvKeUeAj0hh4F/LMbxTX0Z+g4OiV3JructXSgBYMwF/AWSQaVBmigWFph4Z6cx8egYDtjGh8lLh0VpjgH3yiGzqpLXYJaTNEmx3LgmWBRRT9hjYZf1BS9T87YAvYthEeet+y9Ffu0dl0jPrcKXlKrz2QUn615mkuhNboo7QsqRuUY1OhMpIvvppv3mwI6kButUIPJotq02uijXWtOzlmdFkQQZ/J/bzMiTxG2kxUlyHoivJ0IRtIEnAwirQ/vJMTjwRm8mtDW6x10tXGp5MGzGVmeZb/55532XlecSmlrdSchTeYptD1dVogYTLDSsURZzdVF3aZvHhjoRxU+EGA4uF9ofUfde0OiQmSujjLH22DCtpaPxqu1d5m1IOpfGfAESoDFH2ODfJwYZR7zUscUbxNJid2mPcaCvytC4ErSbGgrVhivZwpGXKy84P2R2ZlBZcMQXZhNhVYRAtsBkFWaMi5TvEmYw19OiNdTZuSsseQtz7jP+oT7xWzDSHsrGDMLE/4YFYUEze0Re0F8ha1xhBL6Amlff2sd+mS3FJyMhGERhkaF7MsVLq1DLc3HaxD9S0ogJy5PmbkwXdyivyHTbMh2fyqFpLVDKyB6orsVPHUyBVEpQMz7qhIyMhPtymFtkMbxMQTqjlRhmvINITlpDDScDAL9fS/EuerTZt14LtF+a1YybgjTRc/0WlGGwaSNQt1FShKX0gk44y4BgBo8WY/OS2h0iXlSB7IHoaIkwWXGmwQFqfCjml3tovOb6AnH5mmFHAVqX6GRbu11zcBe6QkOE0nEmGIh9/OWL+NDlVz0tatGhdHd6CWTDxFrahvEuKLMIal5E/nAVSJj/3tCc8G+2nSCY+hWeTJf7jF+FaY5X1umD02JM8Y2z37qrt6oRhJBwZe12LvSWJa+F7kn8M0dEIG/3eyomDQZri2xQKxS3ngK9ogaEW7kv9Y6Bs9VAzU/OJxLCHDSMcKUdeisiIenZbvldklQ7Ivm3NNwTMy27xu0KACrVTBIBIDcbf30R6rDf9JTcMVSq9yhaWFIjP7gobKhYHsu8yCBE/yRqB19Y4KzwwxW68PUnAh+vNjSqWRFoWadhrVIFAHtzRVxjc8PTRK0hO+BV4qL5dnH9my8xutKRzwE2IP/0qyVa2gZqr/G5Qt15kmHY2BoDd4f0lOLViUiH9+PVjdwbiP8EuhNUChvRFZwg2KaiD2JX1zqAWRoWjgC2fm6z2ZRP4XQs047Ag1MPtGCpqzClhUBQHawd+C1tdHE5MfxVngak4hXC/x27EhN6FN1tCt/KNPM3/rueV6VDJsE8u+wFWa6cmA23iux1qc3B5N1SQY8uAP2XFLGio0fgRpbyb1c/bK0NKj/Sh6kWzYZBfpE5nMoZdpRHrJH9X+4ucpXLWY25cqcTpkH0qJWHo8z1AZ4TZHb19ciCsFnLII+DCdNCDT1+EbArd3nqrJeIkrfv8t/8b4aejSwSdTaHvI1hnjxGmyiAVaJAWsOuas7cIBYKK69eKBAt17dAVXt60kBDR2J1f10knpOKrI2BmZ16Nm8Cyjh6EfMh6H7a2oJ1B0MAuCtloXFmfPnFnQt9nF9ietsd9H4sBufHZX00OUm4dBIt4s0lblB/YJttf4UWnTwelLaJxGKOvVvKOyP6+2IDrzmWZ0KJ7QOz1t1Kpe4ZQ77RRkyjcRpHGTDGl8IdyRjGXN+0H6uUc7EaciiAAlBxOiZoRrGoaC8myMWm8P+xqKg0sNoWaVChonN+/PMEfAdGFTOEPh8XVc4MUtSzlhUsGwXBiNKragfFODjzGkKVvu/FeI95dEfIlketSpl1YatSUP/9wJK+QvsHMqVuYDGK06KGsUon0mgTQgx1jpL+s0gbrjNjDJmbebJ8ij8pM44584zaMTKl5/sSCJw2695wRCAq4WmzGfMYnI97mAHEzf4PunCPdpejyF3n2/gRqxm12TajPyCgPbfjHZH9raLsIcTfqGW19dtQL10LonEr8p4UNzI8J8zEmpagsz4yhjyLOzP+sXHleHwZ43pLzj/nwp7iJm8/TIDIBOY1n2eMGQ4T+3Fe5i/5zi1lI0nctnCSWlwI4g6ovjjhL6HYA4WmGdoAfVExf0+F1va7RHo3TwSEMooPcmrsbrkgpcSluLuK3B3XYKaPCY1qrjdWpcTm47T+7DrW7rZpYVECm2ZzvNcpU2BznympuLX26/Ap7UQCfmH/dBbKLv668EgIG3T3KH4UXLDGf5DkNYjMNnUwEtnHQiBU/RKoxbjcdZavgoXrj+arxvfO46GmcszKbF75fKO0a+yd/O1OdZOkvkxKUaL9M2DIgBtsRUzhbwWtimOF3sHw8off6M0HJ7gHIn8PPUrcsMctjZh6cEmjAC48WD/7ljtbLVLoPbSMwwt1QGabKsXVqZRFt0FJGL+ikA5qHwCicggnY0RSsAyv996fnv7bdf2UWeIg3ZvaJuk8cF5XwQvIT7z2sfmAaU+aePz1hACJ0ryczbMxRT+bDZgTls4mzMImCmP/bGwGxBq2JvsunGyBGsb4AXjh3kRvrVYl32rHBDvMIatCpOhH8sqlgd3106wLh1lbl+V9zkHOS3qnpahLQ5kD0ZWIczNmT3bMbZYeYpNdZgrNZs2hcjMyDuyBHVQUxIYSaD2da0JbVwCfFXhNYJBZnv7vH4gflFf6/dupIuqhzfcnKjyeFOE2tGSVhM++SAUhw0NXEKHTlaPu05g0/PeINGZQJEJwD/O/rQOBjl3VMxVS4NBEOjwrwjcopWuO3+fXiHxQL1HoaN/4YaLb5aDE8R1HuIhMGdU1Szu+KyY1gN8KjPOreCnj6MGV4s/ERZo9tC4eRILltTVt/y4xDhpBP1QH4cEEyprsovLwMyubwtHYSfTPbjQl+xv4+OQr65ISm7UQnBl7VB7PSiMn8+fDbpvUX3C+HTWbvl1a/o6vZmOmOT0JsjbpfxHjl58tQPkr1Uyisk7yMji9zB5Xch7nwkf1OAEHQguq9rO8fprpZ+Y2x2YzDW+Dy/Rt/bLYT8GPfMNmW68ya2H3fzR6p8jKDFDGZr/fkF3Yxw5DYysu6oMoxSEldJdn205cvraa755U+lR2OLAOb2M13m0wxndjLZr1xAdtxT8egRWn3dh2x5ONBpa1kpDHX2K3s33iIna5dKbXY44Qa+cRaDgKxFPn52/4mJbq0a3hkiGsjPqHb7jNe+2oxrH6Z7rScc8GLAA4irSdz7UFoziFRbi/7dtPsunXAE0xtNVovwohJcrEMu6NNHhJrXULd/y1b8H7QNVK5NMiKw35lEEBVUPMjQp58d7ydQqdiS0Z4LW0/ZK+Wbb0stLmx8aU4NI10kuAwUz1NL0DItWXsqinm3DydpZneckYmfpw8uAhzma3Uxc+N86hXsx8WmoyBEJbs3C2yxkJPb1G1jXyF7jAe+TBYyQJNWXZtSmpveB/2cc9p6zSGtPwKT/EG7MDuCcS/0eCowtPc1EdNvQmdShoK0sPf/nYaVtlXaFWhL3RvQxDMtvuWyKvWigGy7kpC3ejgo6sPmi/Mbhx7TjBPZHPdi1aqBC3Oj9s6kyq4WMI42rEwVrC4fW9aAJJiIuejU+eJ0D2qv7GCWUC3vuE02ioNvL+VWp4vQi0nxs32uK9IhWe3Y5bqQfGo+vvZCJ+wwgKgiAa7xwsnbdVkcpwsbXA4SXXJhda+QHqYwkzimy50MhFOYX7sVkNj4mKokrq+jH0Q5vRgzvKrafIjuKf91ZFME8Y8dNlotMrGDq++hbQ1LKgJHMCld9DSIOemsKqrSW9agvCzepIBebLZ0tEEp5NGF1LUfTa1cHBpDTT8rp/Pji/RzqvCFFRtOPN0pmN54X6/Do2m12RFrQdw3KJGTXdev/WkEcbVo3Gu4Ntn49YONhnQTnrBPUzu2sQTuKxgjphTm7wIeYn4lnWGhhs1nV1oyWYcPRcPt4nFCaJF6HO3QBC0lNexCKcc5vvqcXnFCyWuyU9VJHYRIl/N17qNJKQ94J3xovRfTaHdkw1gBPSJIsn+y4rnU2MPaHI9WdkaSWHL2BtPmY/ILv+4CVQYY5ouHoIgs8SrXPl4/quwiY4lf3EC/Rmp6YZYLKUogsi4rE9qINjTlYLffzaq701fQC3XsgFVgf24yay3MPKm6gzfUTN4K9k/bywmSgNSQ+IzT4XwQFdK5uQl9DnaBomlKGYyuIbKGsnqVPazUNEAvy38YEzk41UMmv56xRTsCxI8y5KNC/hvq83U3GuGD+dSWQ2J/58DWzQFP2yL0I+LsMGOCrX160hDn5d6hNzd5Darw+L3DPp1lWNcIYJXmwG9WroAbjWq20DoyJYS81PtmCxvP2zZyF7vVn9PsH3RbWriEI8nO0nyJaZu+uZm9bBzr82IuWn0lJg5mSQPJ8Cxpud/LCYmqdi3aGugeTCW/O7KS6ckk3omgAN1uVg2WXCOmZHZrcxmWw3MTKYkdnaBl2hQgCwulssf1N8WKsOap5DPfC6A8PbhGJYTby6dUJMqS49xirX4sjuK7kcxGNgtmHmS5YByN3T/pxeRmRrWFFTstwKVowt4D4+JBaNtu/cGi5NyUxVw/5nmAf1oWO4+vqgLRP0vr3WvKpY+jMUP3p/f8UlbxsbdBuUreGtFm6sZJxX72z0+ki/weY/SYMTBPi8LjyCbvc53dDlaF9zok3pXzH4jD2ntpsHe6bGvtM4OgMYFBuSrzME+8MIgqs1hwde9FdLElgwTma3tgilWsdNhaAMOjFe3QcXQHG20VXS9KKksELLrcCbQF2gsxHC8TgGNlXa8jU53d05GNeyhKJIa/Y2R8NqxZtT+C4DS7cU0W3SGfz50ja47DJ1qxgOMXjQnE4du3SkEQ7z/4MTao2ViQGAK11ByYDZr/OFINm7OpzjURaAaS41vwMLlvCWUr+4SB1jdbFzGNSk0t89xh53QFjiLabIBLhq4dhPktXueOzPaFzn3U4ImISK7oFy4JSbv/sRAHmZwHfsa8eFg810l9MH1M4ysvBprsXE9sM4M5tHuSz0m9Ofe8o+OkcrNjctXvUB1gDhUIcVexm8iIKMF4gEsLNVA02DOS7BO8X+cx16aF5cJjmvy1R9WCHyjtLCynIzYJPSSZ8F2A10r4TCTt55R+ujm7BldqUKMCmDva2QaSYxaU3dVM04H+Potzx027YUPFd48DDGY1l3ndnuZfev19s4Newgo0rugPCiJypBUw6SRIfP+pbaefPX2Qss3lKYjJ8SWubRCeGqFQcyZaWAnT9n0qwV3EkcGlSriwtgZEBv325b7TniiLroOrtLNSJqffpQViDXeaNCRJumNs9IL1L1/3bJffjE4vFa3OcKlgAxkJl1exgnRAuAU4taneXpV5Zk1SmXJmuMmlLwWGLdfu2EhaHwbNqd+uqhH9l1f7F0qLuYIMRNaJ1q2RL2rcmV3jXsEaTG2lhDx5qzqGncp3bDtfwv85wEY0XgI0r2tX823X+b8ghUT9Qg6YD3dX/EZkwIt7+WATt8DO4/A+9d/FEIwVImJan63xp8uygaKErdrQ8jR2nezwBwDSUkbNJT78A2EO2HEMFLNl3xxdms/D6lb1SkrtpJ5d80urBLa94waldODAdDTzmdwMisB60rYhnvpGNfi5hbqLvRtwXvWiDUKAvA1iocdbfp17cN+2OPh9YxsZPGUyV/GzBU2GOjC6Z5f454eycRnD1kP90R61moAypSporLTf46fykGFcufRFqRpK+TGcSQzw+VZZZpKZT7y/caBvrQTy3cpYSHj58XZSzCkt9avM2yeIzN/JKiVUJdK54F/IjsNSchOxopIvYjW6JVUae1CdQnyVm1WaswTtpXjdprdmufr3HQnNYz6lwtk3bg2HSQWiFGXJqbXpB+wfbIXlnEdDRUGDJKpepem4TCbWfN1FGztLPaMCMMWpo2qKdaQvEkKz3uWgAEcLr8dWTRpgJ/9PCst63G4Fy5nXUJU+9ldJNM8ohM4Ei2frSsvg00Q783iImuew0UZ9YW4xTS2WHthTYszRXepuaMrWw0kBeT/GNGkbxoSmqlbFSd+FeQJYXO0DU7+9LCQBR/8JL3DBD5jzzuCqYgjGU41hNwsG9ZIzyKAFtsmuNvf7BZumiY8+Pp/U4dvqmMAfBZokX+vR1L1B/lwqv00KXcETz/JhH/bdNo2aXcG9Sn9q+D5tDR05H348/bcfAJwLCyPT3YQ534t0dFmO8xZqgvNBw/Mn5oS3zvh7ZmU1zLPyO6sYWiA63Y8kB4Cf63A82zBouGONcDtds5ButWk01zwryvw1d1Ee5atw2uu319AgisedHhl+sXTmH/cXRQov3lzxXZZ05L86GRq7qwpksRtVQ6puqKZz9N0SpkPQLYjxZNHNZ8dee19hwEvYmHB1dEcGjzqzQdxRk6cC2zTLbq1BcOuy/8cl6kr0KkM8LYVbUh+OHHT+sx0+bVV7Jt0XKpsUPEUmI8oUGvOy6x4DAFwbWXNCKUKHKVt/Gy1JrvcM9G4/oiumAkBvE4Bljf523nQlw7wzqYymG9SYNUiRt+U1yMDTwekvJCNliDZW7q9D64jaICyOXyihd6Ql2bomkKP9EzbIXJC/5q3wKjaZK1BzJ2dYHeGZfWWxNfoVNRYjNVAGmFX3msmhBHUbN1BZFHnSDpX5bkMhSLHhZi1R9PJrg//O7mVBT6dae/CTcW0b8HQ7s1x/uFhKHRasRJ8qxdYt/95vaX4Rvmx/zk2m/qKfGzhPSGsf5zvmecmJBiWI9Hfm5Levyv/ZixBuhlm04B07xMtmSlXUfvXGcUxS811nfcnUG2OQ6/2tebHEMl4xaL2PpoXCTiVVgAyHC1Q3DTKD0U6vXuEwmQ08Fo33USKl2PMCXkAbuPmsZ7EhOUyJiJ9mjECyeSE3VtRoN2HrhZGCtBKhuITiyy7+7LID5bT2BljVwoiC+PPaJJROD+B8XiVHZz6d9b4hQAN4eFWyBLdIC0Xjv12HN9gKcO8/7yfN1Uo/ohLlgJrVyVB0RGXgLaxO6CHzQ5/vfMt+bcJOsR1btvNtPd1Z5H8kTPmtEgXTv8/7qCv7dGc5BpLJiaVSLD4h/fxcSR14xSSAEZ3bYbLUWZ5n583KCXs5LNtKUMNWRfF3aU01X/05MvCE90k2nk1rq0l88UqZ4byNy+YUBCMY8n+i8M2+IZNkSywtQfN80LcQk+8Z4VItwdY8uVYf6mKmtrFqKH11oaGul288euUjDf3s+fgEgTxQdw74qyrCWimEpWym/gm5QLMHw7Ou+318n3u2ufvE3jfYX98ZOy1EVciKwJ6OY1SBOnyxNZGLJxMGCMkZwSqF0a7Lv9rXUzfupYez7aF9v3pVUr0bJiinFJBhnRIF0FvhO48PmCaSCz+yWmeE87yjs3nmFqNNlKXSuQISthtKoDHATL+8FiseeuMPAAWIBX1O3wRI3WYpYw5TeUclt6xB97OZRxPCnGXDKefTV3zd6B6PYA/WYlTPEQTlxWsatZ4NrAL08o4HV59nUsSgIFxAbm37ikJneruvukzaTHBKlvx2CbI4d9jWyzRvINThPouM+ezYkcvo3SxTwgelauggwfpEEc4nfZsn98CZTZH0RNSXWe3ZH6s0jKjoRSeRMYbGHMFyT3mpK0+bbnN5sfJzbYc/n2LOQpZuQpfGhuRSEmEAv4aClNptMl5DDVBz8KrxVIrhOaWR6ct95pEtKjtCxQInsNT65fqhyfItRu8jh77edzVx2dsx6sLpzAl/rbtLUu0uvijBVl31Hzac4Tnx40HgqtuGdfN6h9jDcjY5/OPmWBFjP1k10rYl83t6cdVvbK6KROCH+cGEBh8jscJdbbH8IiXbHcX3Q1xOLc2Vzv/shaZzsDKFgh3whaH8cESio8H4pPxY9G73xDjjXrlsGiQ8V2Dmubt13kJtCF2GCY1mUTtz7W/Mnb/guYnNaz7f49dK33Xm7xCo1/0V8iLQr3awRZcFOKpuKZWZ8IPMclHMj6HdMOkvPkn5RH/J2M/FZvdjmlwj2m3LRXAnfTyNnAHXEOWn6rfo1J6b+nIEqZi6ZE8Pr0JifjEn7UcwEAcZIsqjQ9/EhLSjPWIXvpIazraw3F1juJpF9KGzoBputGHgiSdxrHF10c/xMEy9fYsVR0v3WohRGzERN6xaND3Ubfw8UGCneLwq1p70S40Nz9HSWAsh0VO+6B5i3pQG6nLs2FUZelKEQ3zlSTCygVHKCLtO1tAblvmlH57QGzfG4ly9grGtULw+nArI9tfMF1R1aM0jzCplkK+bqMNt2fvz5Kc9J0uKN/IlyYdritndgHy3hA3OuzQ1UAdkdBcA1bNQLGPESSj2PBTQFlPqEVW2eJKS8atwe2OQ5SEoSlnjKXRuYHLAAHwMs2qyzE5dQ6axCGLUNkD/l50y+hlX0UHQHHgNsM9bnqBfn2tBcEnLge+VQSKJpkcsPEsDYCAxKUD4J7bNcNpNHy9Mukh9f20qaQ1WNsm+B8sLweYSlO/JLLSLEqZE4Esf+RqM4ZXgLG5swLONTHPDRA61e6O98UalBEHfTMqHSl9ffE9HrN+KIHedwXnbpvf9WhpQpaqEcjYhig8lt5Fl74EVpYQezkaXIQNa56siWx0KKcjLR0/uY99gtLfKdSUHtv8GdZRjDgN92VXbkfxRNa0AJqZPMcejgjBlED0XtQKkHilwm/8Hi5pThwwpX1qLjFzMZkxSteCZbxTC135N3ieoqJ41HnUKFB7o+VjHD4naHrfNXIopvsQ5zddw+i9Yy5jdpOp9dYKSAeXHAJ9iQEy3EHqIPqBirkYqnQbCTZEAL19lona8j9As0tZDSaFLqGl/Gcwm1MbQge6qFrNzVIAg4UV4wEnNNhtLfLHFVMwxGgcH3IFOw9zOFlPNI1qr8Fj19upcNBKKzYdxtk4Ke9pl4YMwpPKoTHf7gMO0IVIF2BK3EDqcFMl1ikVKBvX4c+/56bWxJDd9FM8eXCBSUI6BpVu5QgI8kFv+ybUWmM6ZRsKVGnoNg6yXoulvJxCZM4M5YXGmmBURDdDVrT0SaO8Dexios6SjolkzhuSdUNu9r1Z3JU7adxRAj110zJtlrd+9VxkYToe+xs7Ff1E8IPVRh7VkturQrq/o1n3L2XmuAFGoMLFIQKAIsusE5tZXtAH0jno01aNpFsyQxyJC4n1N1A2cLMck8Ki1zUepc0tdR7DfsakpfYX8ChL/3R2YS9KBDBfPbLH03b1wjCdXpb45STmAh5D6lNxFihfRad/i1JbnziIKmHJ2EiiOfhv9wtbfGGx5trDmaiy6YEXu38984nqPopJ40dL6MUwQcLVwfIZ2VUKOFk0TDGwIIiWPo/HyVGZPfvNCttOBFvvCigKqfJAIk3cekkynawWmaeHzGGuLPlDhzjpQrJeUk8B4FCD0T+vl1/Q+3wuhI4oGuTTrnWhCmkHPSDAVcl35OU6bZlScGZXjUld0OYlFvJQmNnw5DylG85ySAQgyAOlOVdcR7qEkA9oZp0BXsB/IXP1NU3pum83NyXXZTFVL+PWRmv9ycwnVQxYqyTMzvHU0LtfaiwaifpfdatGUDjB18cqMr6XP0IIa3UZ6FEMrHdqwBU0m6NY1HL0S8xiwcjQt/8uzttv/Jgsj1nYjVF7/e8FiouLQgGiG589aX1OwU8QWwkwc58SWtwpekmkySl6PF/klHmBeDAlFUeYqFXr3a+P0lytQu8pNjFCxBVr+q/9C5z2Z1USvtaS98U5CCFNTohcZ1OMtlZTZFyHdGn1fkaxNLyCvjqTPesVP7DqfLM2u3CqZKRtI77hLHJyAikvuu+pyudpzBd6rdTfxXYENgGN3heSmszw7ne2+eTO0re2YzFbvYiZPQt073hZkTCINGQUFkkWF0saCU/P6bqsaB5DaxmSzCYcoRad8yXMJYs/fyxfcftEPdX11fjtpHbaK3RXttrjzomfoyb+JYTO4fdiS2atDsWU8AMTIGY5fssMnOeqtrg+m+Z8uKgpXtqiZoBE1m1hM+KALtvS9EBZYP7EvGk/gX2lMcIN3NLbVpRyr50CNttn7TAJ1k+/+rvxhZR4PRSR6UY+7rQwiAyxNantnD7qXIXgnXBPll+mGv7TZF3Kz5pSj4JqdFwYIXu8rtuwvMRUHKrk3Y/vAZEAse2PYIaytmJyEyAqwjOwnSJf6g2T5U7J1nw2Gq2QsZiqEX7Z0GbXZ9XP/H6oNx3E4MQJZKW+8ADVM5wIRlOu2xS65oBkIayZ5JmbxdLJTvy7jjLORzqe0U7CUOq72n4UNBNIR3vAOz9kx35FxzMBbduc9+96jMX7zAp+PeXqbIyrGuwA5lQsP6yQCTufEWEox6N2gfjBdJVRkSm0tYep8ipWUOrsvI8qYpg9NUlSEKGwZjpw/HBIDdhC5rLhZ2o7cqNelqioMVRqzLDTwn+3A8pG23StgLR8ARtUUgBWtZv+Hp/orJMRM6dhDGOmaV9QlQGcxQNXTK728zG3bSizrrs6xI0evlSC0y6LckRqzXPnU8KrYHFIk2jfXqHdMDHlR5m1qnyLtOSWInuifDnan30wIdKqaRGkdAYCgSPuUXbnv4ECS/lt2Sqcufq7U92JlLuDNOYuvq1sPL8r1uO9QFPlu29hlx/PYjJcBvs/ETSBrP4JfB7kA2G3Bs5oV9hCKy3IaKKw769FqIjOsmJbsHKbFrMPoOp0s/YM7pDXh8K7ZxHv96M1xidqZUrfcEh7OBSMkl8k8zZOAOWEnxNIifSt8MKrEeEzcwsqX7u1Gwy7hvRctzNn3QLjCOv/9tY+i0dYmxGaCp6u+/4wrExwxIr+eGI00DDCR9VvT3erluk/XTunrxSR"/>
  <p:tag name="MEKKOXMLTAGS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Vuyvi9KtdcrFWMqIz9zwdYI6vPzLoKgfWeJFJzekhMwDZH0NxQSOOGeL/74mYbRAVx4IhierBDd4+hWrDutDOZg9+9oltQ27GIsV4QU8IvoQjdBtlCins5XeBKdnE0c/1fMf+qHjcLYA+pCk+zoKfxOmHY6sQ5yQfhIYkyBvRARSskX9wYquYfMCc1+wdWNFCW5BwqUzWe/7erSRBHAVAFUj6Hnfdm2KTfkTere2RicH/4Ua9J8jPA8h/51ImZzju71CnMOqoqOkP5Ct5yJ1yBBi5/2Lk9adiWBgjkE2mQlZJIOF5/jx7ckwD2hI77AbKRBUUFfjaxO/+R4vhtdWlct99nW72UQ81g3KYly/L3jnt+2zTFbe/AkrCIG2tyba535mDmekDF9N7aSf8LNAe8NNE9ckh+NtG7UVa5k9B733NXiLyrsQb49hASqqYBudTE/QozvlOm8ZJ8kRz/stq5J9tT6OFXCU3YNM6B5JijB6tY+RLrEBdMT3MGbm9nwqRmJ5Eb/qqgYCA21aVwuduLeBuSFjjoxcejusCcbmoe2fyrxj8hi0IrAoQW1GvBzof/3iA6NsTV7khg+CwjhfV2K8YIfMNL4BbD2MveOlcLtw7mui+tFjSL7p1YGnWUbqiKuVOoRaUdQYqn5pNt5OSQIUYyMfIrKXChpeGFGLkcfGcUXf44c5fomdkp/kkPZwSe6ntcRQizdpxZmkU1umgVibl5DcSSPuzNAjDUEC9+dqJiN3D8pXadcm3V/qNF67B+0pQ9wHP7vqn3R3USDPMbtMCACMVTRmqQuzq3AQS4wXRU6RFHobc9FUruEf094eFricGPQoTy3YPAxS9mMwZBnYiAC6iAFo5UKWdDBwAy/DWswUQPGiwn8zVnGgn+uUard7nT/c9iUZi4MS1iATob+JHzBbHL69KgU16k/hyHAl5C6ltXFGEXiM9AaOk/tXWXjyxD9mvyDswyhkGSzicBdbUvDVkdsqhS33i/ppXBlghd8ZXcXz72zhJ7Fv3+0NtQuAp3Zd3CJ9d2wM92TEDCCNF+K+/1qko+D2cGTH21eNLfECHeN96yHBL9SxEqznVugYeEq4oV1Io1awKruKhaHj3jeC0JSSMRh7Aqr2fmnUpX6mCYY/L1cJVBAmoNtBb7/X0LxKTAcVH10XjDCoEs72OwC0N0l7P0YGKLqwNEnYXZuhDOmDw+ZvpjMqNnteEKskItjgTNUv3y+sxDT7l/2haHTQixiwItA/xgWif5KI3bu0MJSeqmq/aKT4Te3+6sG8z1Gxd44DamK6g2DocvXfIJzsFpSWlqXxHjtZoLlMFfxmZWaiI2gM6UzFVkC0a5R6OmxfkdkQqroiJZxSjcopeNAn7SsOfsDYVEk9BORVGRGeBbOjkF4xd7h+bhNlEW/3psetcBy31qURGLFrMZDQOUieRUx97X/qlMywGJzQ4foEywMwBfcboqyxFEQyZm5f4gVXHGUIgF4dgYBaZe5Vwdi/cGDRif8bSTwV6w4IMwj+Y4A8HqjZRNzgdvRlzVYFuLBws98RqJYIVgu7NVbHSyXQ1s0a2XhqAUyEKvwRMdMwOPGJIVEAUdKEe0hRhZRvE+IClyll/OMnFR0N4NU8l8Z6/Ktmsg/gvIizNh3Ed/6euUxqLVvUJxpGM5+XE+BYENqKF9mBWWTX0tBSS2ZhWGp8JMX247h4+7Orin6ALUaVINvYrazvMiICbiARmuq0BUcAa55qNnLx8hyarJh9lT3cmhRt/aIu2poOmtyZZBa6z6vY8aHuwhqWofiHMpl/Xp/wxZlsWm3Aw78RFm2HmJK67psdwLUrf6F693ftv08OdHBrj8Z109nIc/Rv4ELqn4CuLk+b6PTz6f/qkb8LrIhfq+0V81lmIIZEpgdwz3gD6RgYSkGbQ0XgCKzqk/MtdcvDWhq/OfB0N8YWYPQtIRAA9thoJEqtFdeTtug9hZQEDipGVKROxpXRW4z/SM1WIIi+OGOzb7oZkrpVl6DKzOJHSzbk2FO3Wpo48j2u0oSZA6ItO1sTQso+cpTTmniMnPAobgtseziChcunrwZbbbH8T0qntvFadcHWqxYTvLIjBWPRz4deewBwkk9MOr09zW79+uX92vSICG2YFeTjPdf6PW2A1u5fnxcxvW/wAoyG+FCdGTGjG1zA6d+YOAJ+qsUCEoz4KRPkn7GEcVFpemp7POJUD3TwUyynSAvCqOLe0Mr7J8OGS8b2NwF+Wyj879nWJsgZGXu7C0T/5v/j+ZRqxfyd25POv2jSe7j1C36ibaCVtyqyZgiCXS2IaXhqifIqjade7l/dgQHkPrFpq4Hmu67bk7JWDh+fJcd/05eIk+zu/n5fCXgW5rUPoIb4aNN6AfErCFHvv6P+L3rTT+HQ95cMwr7uG4dr/+fM5g28LbsfQH1Mb1HMb9PF5hGjgelx4PY/8OoYyEdmmrT28/VOEZdK7TNeQQDRLk/kD+7zPcpee63qybDOdq6UURUHAdv2luN6H4wzqzvUjLQaX8DOOvjPb/8U3dHWFMDzAFhXNKwyKNkVKG5F1Cl55/yQWCi6SdUTsLnVlB0LmrVUr3WRNfTPP03Tuw2NO37ygvu+KrEe5zhPAYBpTKfm757GcXuOwAkJyUgMvLF6c5RsmKIX1i8oS+/6afM/SXvPd3TutufmmgyyeMKa4Mz/m9RWQowLY7W0+SV+7eP5iOyUrG42if/86SZ0Xe9w2sSQw7xmmDMlkHef0OgtIgIf63oreGx4Vs/eL1w5aTm2OCSUhaUNXN7qp7hIEcQL6YBeV+iBMIgyMEJ2QeRNoprOBvKuaLplxERWyn9nL8c7OjCyMtf6GgzF/okZe9pndRFv/y4oqwhQWyGdN0A5TmpDJBPxE8ILRIXHZZglt+uTaDE76UaRDdMqKbzCOGpBy5oOuuoOdAsCdGHG4Jet5l/onUikM+yGg28Mty45XDSDVjcpUyuo4t5ZpMOgEoJ/8Zd6dIYKO4PlCC70G0fE5hr+Q6YUfPqP+lAuUgXOa0x8TyTS3qLSJcY0GqnWbXSBNMAPOEyigbC6+uwe4YYjZkIxWQ2txTLvVx1ifVITboN0PLnrsjbLWCqhUm3FW9MSKaWRyIXAG4cv/EIJzQUQSXccPtAR376/CWXgCXofXiVu7AU0aosCsa9Yfx7HGhTM4cLNclR7hUO9yP+FA5CciY97SJdEX2OKPuToel1MhjElmEtC6dW83n3zUY6gEXnzgaPNXiZcotuNxM27tQEORCwp1fTdLv8YpgwWXpmXSTP6Vt1+zyrCDEsrnWCJosHBTEWSWfHMAwFm3M5q5tDFXyyqP6awdjU1ktG/SkojKJcPab3yOqMtAnmTVqHwb+vo+Nm5KWYEO5SQ/wGAgBObmAPnyA55aDT4g2qSdTCHWr4xR9tYdcr5cUg4K5HTIB5IOikdpMvFjSMnWtjbzSFefsvNqOA1ruYUNIS14AB+86PrDmhUjabwUPH3xNyLSuHptcl7A6c5rG2wUXBVdA0wHMBaV+wHWeLsOxxRu55IXWKMv62gMoGu7WyIjMsg9KX3XcWJhw1NEytsXn7ljEVW+rrWIcXWyU0IzZTlzCINiwt8FL9m1MsUL/oOdUsZHe1usuAaAO6qY6TVefsOYmgywQ2Ts5q8P4mc3cF9S7UBnP8j7A1zzLNqzHv3QSYlwlrmwOatX+LIgj+515rrpX4lDUeg+acFwSa0fN/d0dNsI7EqIJwgTtjF2QtXcP7k3/Kg7HjDDt283HPm2/qF0jfqRhi6jPIKW9f63z14A6PMKAqnZnKs2PyUAfRWwBUW6MO8qIFzjBf44zm6e4fwQARBFBo/PagPyH1YWgRdjh3Um84L0utsDOedGCLTGX5scYCkL40bTkKnNHGlKR4qIl09XwnlZDc2k9m1euMO4SM+kxCg5RG7sc53SaHfeMWnZ8TicmMoczBV3vSHzHr6wv3vPjT+tbOBd81KrOCY0pvXke0+2/ncKVWXAkpXwOvljo5+jEwYnuTBnBJ1WFV5ggZrl/MNyz9rFHRdzOLCfjX331UR5s6oO493pjE6bjrbZkf5USSG5u8Hh1TD8wKEiTMmojPFIcyX2XsodnER9WQp0psaTnY+at1U35PtxQdnXsv86H20vv3TxAjD/CnVxjn5/sWk5PR8By9ZY5RVQ0yU+bNGDLBuocwcQWetvKR5KXEj9iUVjw3j5F+4MZTYcpVAEf/wNQ8EeGP3p6SRhv2VLTmQe5/4cBHZNxVFRzYmWoYls0y1RpPe7rAD+E0ZiJU89f1QsHOUtP5UwGv4omEpUTOPDGi2G9HmCjF9a7r6n26YCiFXq7a+Ie3bnOIkdX5c2ODhx+AdiqVg90nqbXfANLuAxQ6Cy2AfKGiOQhm2vOmyHKq2cdiaSKNJ5C6IJ3vSSNVbOY+75vcUqOCSLZRge73iGmW3ZT00OdkXNom24eKEJklAIp+cQ8ILOkqxU0aGc4B+OYvSDSeu+G8ZFUA6hv1W/7GOXz0/IuYO+JHRwLrKW0dov5XoluYVSjzo7RUClZSG9xN55WxwBLXPLuF34+HUrA5K/3NsJlOHZTGQZYyDh188Rvj10TimtxBXuF7TenPlcb7euOVIyfUvpdhVW9BnS+JQffxtvwVlTh1LmL3fHMcXxtzBophXInVPdVeomaCkLdU6MsSxgQ3JVAoxSRD2IqdWqU9pIxLmQ+j+5fmaCNsnPjSJY6gSvG9aaIkah6j6GiR/LMBBv6Xi+q+Humps7GSPVbpcWtkOHu5+YcyDKuzit0H5Tpbix4N9idOyIM7G4cZuR4g7vn79Oq5mw32TyVapuS7C60s6JCvxrx70Mwsh3/BOKHcOiIzBlwnGZFGB6WmWQMrTGJbJvcg828AGdCaLKQ9bq7CVmAi7Gmsb+E3+OWuCKlX8zNuDGismLyqfUlNT2ZVEUc85A+GIiT3OxodptIdsZT64QCAGmDyRbpQGJ4ZHkP4OcIocdj7ZVrVMdNvWs4WAPhBIQR1/G/5c2jSKrjoOn/JkLKIJ4J0pTucpXA4CchXg6rEhc/qM2xDhiZmpT7HulNKplfiFvnK8auOoDp9/3BTfLiyFZF3TTja+zMtHH9c6W0qsJzcolq8NzDfPWKCmpW9bk+wa4MPC12uauIbcoy/DiijD0GRbUATPnnHTtszEZTEimpvkAagoN93gbd+NmgKYV+Gb91KoHko4M7ZwGQbjXwdZd2Sad1qYig1dLY4ttFA3wS3dLGbnz2bC+jbRsnuQ/3UKXeVSq1f/CtE9I/2F7EZJYticBYqFBlmaxsvshd6qhmRHEIR8D3v22hFh/n5cqhSIE2zBuF0vERCJtQUwV0cZPz5sTiaCNk0VuHlf60mNnv0fHnJQD9unUYHYeGnbVV630zJ9jcqMKZIvZ5RQ1/rNgEHgoK7NqF82VuJC0qtt+mP8+iYOvmE6VJ0yaIw7OvNqLopWg8ja/IkEpaV6BxGr20oRcj17fcc2dqIkEJ0sETGgmh5qgFBp2mcgBQtqlleXNkN1NYkDBgt94WQI+8vtJNaqOUxXB/CzDnQdmw8acrkUK+8gCAJRtyrj3GrUsFUaOkOT8QqcdT2i1tUCPl3pGxENKm4V8nogVJBsfSNUnm2sO967nptNojsqImpZvUdw9CJwNHJXWnStazoMNGzfO2yDzq+n14kcvEWpNR59AdclItch6b3FVS6tWyiX0c2n2rc38/BdPZwziv8pR6mkB8C2lz9DNAC/Ng91+ALdyuVIUf1X4y5P8YQicYUDWaf2JZdySwq0AtFHat1A/fJUJua8ijmkVp5RFG9CzeR0KMGsxoprpah7OaIl/YzgyalRUHJAcYnv1GpMs+Geqv0qOuqoIs0r136MmWV7KIeYHHtNdnXCxG1j7Ze2ynbcPq4mrE8eATR4l1ToYrjABepJWRkhwa/YXCda1L4gwNpzkMyFVvKaEvhCIuRHpYiRGx7iWi95zlyYmHZ8Y3QbYngxcbLqo7VHJOL3Z9wW/s+/6e9nPi4evNIpm3ESw1mvwMQWE2kBFVDllBC+UdxmVqC9A3hcy2pPsDxgFW5mdIT8VZQvZkbHN1Up6a/MQWiRLE8Lz4I9Dcg9aj4p6qpkvObtdREPkQlOIUW5Rz1hbR0E0vJVdpaM8/WQRbn0kiK9VPZX9wygAvYW2wb4NMcNYgrvO0vOTMXdUgulJKZC8rLVzSkrConShUWCIxnGo7/L2m3ge7LnZ/fNSiiEOvvtBsFGbRZxQ6AJhWEC6wO9c8UAVMipAojFiMgWbUB3rJN22bFHbZWPpuaJHYZqo2tIRvmAyQG8l8uXqQ0EfArzIqloWPrXQQoVGtB5+QnUanH2HQ5h+Ji28v6uAcSqj5PPP2/xER3cTEOYGfSnSymHwDDGUGQI0wXhF1nsESY/xC2EOT5W+KlmjCH8m22ETSrw+MJMYgXOEeym+xjeFFpBbc2p/rEmBSQ8r7liH9emSyIV/UOFyBFaux//6PFaQcer9zencohcZtuhqZJ/wu0wedoO56BC3BjWlI7vlIR5SJgFMYztdC1Tgur8VoeL+oZidu+rXuA464NGS00wQ8WD3h1LEEHgQdLZhP6iUZCouEOklCO/zVJXKVU32LR9pvcNj6oUPvsch9fi7yGLxAaRDT4WCtrcbzkDGKv6QOMRiRXhRD90tEcpd1uJI5WJ27bIm58hlJ54R3aRd3Hhlh5VtQci6/i6zj+z9Ct2tFvbpOEh71CZX0ZpHQbiIl6J30oSRz2NExqqr4/HkIQSYpRuKO7kFyKrYxa+fzMS3bFQ3IscQvxRlg06YtIVr+LMumTmK0F1sSWLmJeNcZMBe4ASNOv7oHbh5xavFxK34+ns1qIFtCfPaer/MiKlblrgXxRIn3HoNY5y0zPH9vxQjcalaHmskUJh2PlMeEs91o+ID7f0qWEHgxfrRjaOtbwKqiqpk4TjBUT8uZ5pDtJ2eF1ztbl6frGRjinc1KCoA5Eu5Z/u+ohMFhHDyNP0+INX72NStSDR81fZgbb19m/Z5+f3vASMElJZcGsbPXHGDAJYm4F3AhgOwpoUvCWdIfWn1yVXL4WXevl3Ma3nZeCglmLNOwhdiGjMdDxxq/CQGHyKP/8trzEBCzWtKw1LpbfoY0IrqgJo1lA3qpgq1YC81rwGHCFiBxOv0ZQ8J489dAt5oE4x/PM0VMBFpUaWIGAkY8ZGwdcE44DrAsEjKF4vUu1jfkZSVqNeGC1M2l+UEP7j2Mv0oszkJ5pKmg+aABr3SbQFantnjU27JAEfx8+YEgK8Iqq06x3cPF9R7q3FBE7LWlQGhNtizZMU4bfNhz/gG/Dl3+yloEFTDrOvQ0XmakaWM2Dk6pfKeQgBrY+av4qs1dIF49ahw/RN2yuRveEsqRj9hGPhe6quapcuh/VRvzpCKfVUgEMXdxwMG/ZtDVrApWK3D/bQCtDpWyWP8NJbXhFSMKRTp2J0jUbadgJx4ph3nAstGSPYxlqS6Yzg7LTdpo+MP0Ll4cKo3oeNYftAfukrgPugNUFloLtZBTYQWdkxnix4bSKVu3ldNSXTmLSe7tXlKEtKz+00uk8hVjym1fGf137FiwPjhnEDTHlMwLSTaCkhf58tJ3zRhJHp/U0QHzj+94rVCPJ4E4MojFslKq7NLEWE38uSjMP7jAHiMIAfAWgReic81Mc1sWjSJxXl8+pbTghGwPIuKMptRseauBvPuBon3GBmr3lVU22YWNqwqsqXeW5GBx0Mr9CtUHix1sA5c1MRUF6K9k7JMA8yXBzSqmNMFuc66Xn/v8AFZ4Euc1QR5Y/cziftbfj1U4EwMopenxCC39UeeSC8QZAWp/7N1f5COnBdEa4OncPARTcThNhDV/4sN5dKB4dJZmE9r4SI9c7Xiw3cctsBNtQNIdQO/Fj8Paeou1faixlEg5c8NmsAWfmJSaY9+MkxAxURBOz4aby2zRk+y/XDzxyY8aIZYqcekbjN5ZMOq8hbCITk6WZcPpdkg+2zVdrfRGWgyeJc/Iw7BzTjcN9ydOAVLdL6g3L4VKlxTHTA86QnLgKhBXal+obYbYn56huC6aERVbeiamUevMblPgGwX14pzGCK0YJBRMPUrp1lxpKxjnk+Pby493AyrCDyCmQP0mlXZ2l+tSXCcAV4nrHL+LScOAsa2A71ZKStJXIhBdu39hTlJ8RcYt6FbEOYH9j3wTCugYIZAi68ErWVrieWKeKG+H3r9ZprXx+i70+pNxcj0wQbdCoeCyxZBKNlz6RHv3VpF14kMu7+VQOs0jo6pw7JfTYUKhgnr54/1N7Y25Y4JAh5rReZDaZ8ukRjfjK5l7btrdlhmGZrKtzzHk7Om4WDGGdsDZ6RNCrLBO61V+v8Urfwa4k8eOS9EhArYNNODEsTrm85e7QzRE69Lm1zKqSYRxh5DpgTnbraLHYDuPnynqPZqqDmY0AJE1QxZATW6ZU5sZRQVBTKZxFWdI8ndR1It2AYuNC6Cy/U48g6j/LcYhq3taZhLPcRwF0aXokUyQQMvGc36pJfQ46gqMGR7sJke+rrq7eNIL42xvF095yba6ofzBgPrcU45zmr6lSR2dmkIEP3ubNtWNzZzKr1IBPJFjdORfqaL8zuKHQlaEQEB38vVwM+hjitdHKrnbnLsN0Pw8RWdlgYREOBoQXtmHaqij7C2rM2m1PhBjLN9kNASOz8iSre0W4T4XbL/HRtceC02NSs7XLOLMRWA0EaHIStHNBq0oVQhD0lt5POuEEj3jlXfNPhcA+EgN/JvSBBV86TY3vg7mBGNqChSM6x0/2xCEmZdplOKulg46JKIwl2OhCc8L1Oa+XDyZTEm1Mdx8YJZbL6iuAmTQGU9Ya8DrJWa4/ywU+5vXeF6McMldgWFJT5qqpHRprmJ1ozjphX1IQwbxEGCTDFY8DwhniLCqegcbT8o1yUWp9rMep6XjhrFX8x7QKDed+RQgbZG0+GE38mUgcVAzuMb0u1F4H3Nq89o8SwzSMXxneCrRsbvHT/Gso2CASStFy1WW3w3ttCxAnbMH3ERnVsoe4OO2y4+TzDyfSSeo98KTldSG3Utc1Tjb53WHfOvqCGnWh+IXXsYkdpKQ1BmdVmqIfzRqBZmRiG/w3nRtfMvax2ck/xSAwRCqbJDs+679vSQuMOexZdTX0QpZ3NqzTimaKu82+cP1M+iRepA+Nv/xdNRMJdA/OqcqsshS9GQ2nRzGzzkprnEvePfkK9MC4CAspDfokOhKckN003HbcdX14Hi/1gru0IWRD0g6rv8b5ysr/iAK7dF37iBwWS3FfTC9PgBvZgPIFAPKQQIXz6TSYc6D68NVPEijLDJDdYj+x0JJXgArRV5BzMs9SgvwRmhDN/LJveewtoZGCba3SszVKHWJ58VMRlHfyLh8YipULVgg0zTlV1XdTSg0IogHEcDbXSW+JCUWSvSNXMCVv/vCtdLtwOQFetsVR+2VsqpmtY7B+SBNtoGS8evfFkx7kUdtiyTBHaNE26g0dt6o62hnrqvcGn30A2VPLCC3CpfjaIgn2tl+XzDxMZaF17Z5S4KWGEDzfZ6xHLujy1vEAAVt2ukUtH5twp5gYdCR8vwTPQWv1maN1YeLnOTHfr2rDlBrValtbBvUpBzISflhZpb0H5H7gwTvKpBQfDsmFitn9Gq5ZJwAAjzaC+sBI866OJe4KRNdPan+19o20w4eS0yRLPOTFt6NkMkx6RzE+m7+QLeqj1WPNUsw8Di+l1hgGmjHWmIUXfd+Dd82vPBTyckrK8mFUzhlHnCdiSEzQ0fyjbowaWHhr2g7LnctjRnI2HVBuCXTMLTyOAfifuNEb58NSYyyNcNx+HaKI4SEAYn3fAzUiCrL/d+0+I4CzIrlJ+EM9WF9+S1aDqEBbniyKlF8jvbfMkG8WvQ0Pxjv7AcrFsy7ZlBib4duRPJHHlbJAGmYsicN4Ak7gQucPH8gNzUYCAkgza1RxnPwacPbp6UmE1XCoeGKn8VC7sqQrzxQZvI7bCCxYHQFhyyxStcR6h85HZiXwD8fB9IcIv3Go00trUULyV319nnM2/8RVYLsx45DKNZHH3EmVymzxESjhyGwxcIy5Ss+TmuhOP4+dsPGQBvursU8rKrd+kZXN76IW443Hoj/wWWuJkAo6I4ggvzIbvorRN4Kn3gug3L/LumiGhG+pH3xwJanBTtlriW4h7TMNT6AGVYU5dZLK49rdVrjjkk/pdEvYcD28TpfQ6LcFe8B+cGFjBtb3TG/vlWZZGsiHOSJvdvC/npzW4GWU1YVPxoj2VrgqAQhRLXaPaOz2su+e30wxBBWi+7BRUDJ+KN1JyDGH7DxNJgyiAEqV2eEGs/XDh012PL1wgFBMi2JPb68ulsCvGzSQGdXDbOAMntBa+FjSOrsMdPUP7G54ZRWVzIdzMB+kipHnVJ7c8C6Hg1JNuGyrhApI+zAcWz7DK1ztQ4JWT0SwxWUoTn/Uh4RFJVqdTDyfuyWaA9rsHjko5HW/AtKTNectUu2Z0HQw1XZPjZ6MjAN3VnjBS/AcC7ET0UH/UhVbaMEANOguBuRt5FeP1Dl0PE2EznzevV/13E0xsz3IMbqPe2X8rPr+LiPKZw5KLaPrUKDKauRm4MDTB7Tjlu8Ou8y9zNANfYAwZhuFhT+6dIseRaIwrO6vPLhkqwShKkkf3tDxEkKDfpEFe0Es9dvO0sH3rpm3hPRcOaNU8TBUkyzoaNFZwrDUv/rajWcXDzFYnV8ZEo0DmEruarh7DUVUxlOdBlevTLPqdOb7B4ygPoTWqglrFeku0gax+BMDJHzFudgloyoss/jOrLWMhdPrI8jvtlMSBWqy2LBiNuIFvFa2lIXQGE/AofL6Wg1iWjl7CqLt+neHf6fcNrAI9GqCISq/TPTcpf6T8PwlUg/Uv1Yj/Xi/pWt8j/I0NS5yXdumKKNaxTLdhKuCd6GT8ipfuGoG2rgoOxmITrVc23R2UNgqhTBMmtdgJtmx3uAZBMOuPiakpOMCVW5iCQBeFpkSDnYkap6hlvW0oRWRRgHAYZYb69hLFj+D4g+5o0V2gH1179tiv5Fkz0qjAe9C+yJKSFA78+5AteaK1asPb/R7b0KeQFCvdPxzzJAFubswTY8z3xGRzKHmc3AJW8gx097yvycHHYctSArZewUODxuoFPgJ4oAQZXx2YwbIrXz4E+tedQtySbe/a+ZNzDaQX39EzHSIBjTkwk7pBHX74MLYPFM8jZZAy4sR5xKMFytt8rU2mmVtjp/L5PvzFPJbbZLnp/iYGxPBQmpYEOH7dEYbepcMIhEnP2Ie36ar4LNjN9O3FebFKsZkUlmDHYq6ME+CZmJqyeNMCzWtyJ9EBXR+k0XVnIBP4X98mwDVMNbYfCTEl/6N/xnhnXMAVI5NwXmgzpA0smkRqp7eOw8Pble5Bc+YmjW2MU9hQSF+Uft45PFZ5HRHnS4FGCEJjD5/dw8c8hp5uYKGP7j4J+WvGt4MnqJ9ezigV/n1tCRn6MB6JlwqZo2ajT8ZQMQlCxgYLvp0uUNSD5YN8gnPHTx2JdMcI+t+oxOZ/0YU85LaE7zctOAGcQO9uYjmE06dMQePS0aVbbBdAhkFYlliO4w3YLjIPDNwgSkmT4A+JuunZAF0BtI3xahnPbfI+A2ZkEoLtuKQt47tKsS3gwc9PdPV+xQgFM5jDeHtpv2wWSwfVulJQMKQ1dxH43+qeCVwJQv6GSYpdI8Cr7h5I4EohbgfY5odJpkoAmbcMfjLsA0CWFEyfCzSfMMnZ3DtpvPgqnWrqwo1SB4a7azo/kR+xW9/bQsHEFx9rxk34LOL5XyaobUhUel87YNwFDO2WeZ6pNycuDHLXqvjOYhITHA3eTBPmAZr2AHWvVDMzOIiZK55FOThh9CT+mdokbk5KzWZKnL8UACsL6hz6CB12nlesdJ7Kz3Lk29QXwoNDWDdr3isC3LCoyuI/LVY3RVhkzfYNwnrnQ++E5F+Go3UCaModl6yqe33LaAeGqNrqj8Yubf7AtwQAd65LSsqWJj+rAb27FbAohn3oNaS61Cz+uxZfNKIwUFx/T3N9hSCBmkKzuZultzBFEPQ+8mz2EvXpLno/fDbfamRULBUbEyZKiZysxKGFb98LIGgY5n+PI8MnpQZ5qMmnXoK7WcJDx/6vc0rCcIprk2fYoEABthioZoe2ZnCSoXs3uoHlL1Z58/pcv6i0F8yuo5A6IqBmcEzL/yLjQP9NctfHgIh7yz5GS9MNsOjE5yImzcbg/ltSpEZyMgU7+tL0CrlwB9OXobO7VwmyUUzvEo/4zbjDhvCK2yEoIVGzpEOGzAnc6Iz17X6Zt1zp4mirkEkONdoZJ/zSPuVELZ0bmR6Z8epDm1MfRHjHjDliQbll9Qbs5EKfH4FDH0lqzZW0EQuvaV+5cK/SKbSw4A8HAN1jVzdthguXOfzuxFeTh2RI7aVD+lv1U6QIjzc8Py8PTgbHfS4m62idrsltsv3iBmATRvdjmsug2RnuWPbN4iY8o3MmNhiTWm5li4QKprJqDe2HQydwQtCuAXFKOO39n+lHCr8eCojSqnnvYJHPMyLPxJ7ezVD/9/Y03nt42s5ElXduePS/iz4eOZKEdGQcwvrv7ameKNk8usriF4oWlLMzrtE+Cv0SJ5xFYv8uNzTnl31skPXDiDZJpPY0z8Cmiu/AJqyYSp4Mno7EhY9WEN9GoAbOZ73C47D+oIJiWmcVf7n/X+/OgNdfBAARGr9Q/WREI9ggEcFqvopZWbWx/HA9oaR04BT40q3bqfAy2ICHiHcOIEvi26BwE4v/WW+b+PdLnn+zlGbCCI91S7QgdE4f+70szQLRj4/2n+CsWOCThD8wvuScpGVrUoi19kJpslTwz3XusBasUqxPjnLwMxlVsQAfGxq491TcdNTSmUipf6155B/h4F8vmKVnevAXetXWuniU+r8xfoghu4s5QF19C44S4hiBiy66TaDDsovyIUUiDv9PevTYWiQ6ACcyWPsGxTImhb1t5PqmBmIZH1vJhcJPZEiG+MI6dtNQ3ytrv8/kiv9cK0RLoLbSVtSCHdsQioDMbTQE3XaF0+qRxI9O/EL/Rq9LZC6+wN5LBmZwLh+3TqvUZX2r/soXAEWcdY4kSn1g69lxnUe9JsBXtweI5PsJOMwEC2yjIwKEdxW1E/ohi+nUUm2g7YhJwk4gwrp623DHImjH03MM8BdFhHPI5G8zfRoFhTsdtyq+BlViZ0rZxeS4i1MKa514WmV5Oiy0QTThniEevZL7lUoHzvBl7jMxQo/5U8sjGnuaB321eQrYF3DOBRxKNqnFP8wB0RmPfhfs4XprHHRwykQ/Knx5dKuiuy5GQcRlU8MSyafD+iRxI3jPd93gPCKJ/fc+JLfiMsnZ/s3lmLszfGcQq9MPFAO+cFfG+tlEjoB2M4nhTKmBVo3hPFhtaClG7tvC8mzBa/bT2IA3JLcN1hN7wf/3Pz76evOHsIQW9ogi8rIpeCj2plxLkyN3n9JPbOVNEFILvAffGC5FZpudMtMctD08eUQcZNbF2qgzZlQR0XrU8aaRT+7n8Z3gk+abUEcaqoxZRbRnECJo5I6vVZH1uheRwConPKCSCppShXkb5vQyQuwW+X9Nz2KMfNEQIQ7GwvSM8h2FX/aOn9HJ275N+ukUDUgYbWItR/WgvZpyPkNeEkkdJN3Q5hP17Ypg142kcbYpp0wBoxS6PWTKVHuSWuMHLpHsmZjhh4rUCtaurFLBxIcF6x3VUORV7RWpqYqPHQ3OlWGTfZ2GOpznYeJOZ5NqA8HKk5BAcutHFiGEMvcMOwUxjZ5SQ+VRq1D9QQ72P+qrxRWE+OOWQSrzOZO9s/ZNtVAX+tDSNd1toX+VdglAYX1s4PyF80chnHqJhUWbEJL/Djnec7pHDNMSCo0AxN4du4LwZDK1XXxAH20vzIxNt1+h+Hd/T1gLcxBgrPmfTRNoHZdVD6t5cj+SKUFdMUgmwiwLB9MfSS+E8Tu9OH16ZjaD9qHSNbdrndxTgXqto7y1Oczx3RQBiYEiu8jhV3Yc6pGqrZrLdw10hRe42ixyihryTvSnsoCo9K2Jf6ABRyVuSJuUYStUSuF/HL30JIY4A0mcedIWHLCKVi0KFlaWmQBvWBkPZcsxrApsovL9wxS3Y0DbSb5XV4l8YW04rSJiTx1cI8v/y88M1aMxYrzq37AtVFtpyQ14rJqqKZrSYRSHkgYoWg0nARTnhG0uH4LMPFk4283/IOqv/51fIrs6b8Cv847M/OrZF3VqnOUFOfr0WsWgE1TKqlohedV3HnrRnDe/l70lleK8JIoiVRkG0uW4+uqYRChhH+7qLwyvipnxTrZ6gR3Niu+wLIG3L3emUyigWJdEUqnDJt6oLj/T6Qgxckly7Lgk4e+mnyHR4+zxH3WQGTzXzzcfYd1aKZkAh/u7Fk1ZZ+V0OvjqmoJwJUfA+dqOp9Ag6x1UhEbWP5jcjpWsRoP5uz6V4tvZTRbFECX4lAO0G7sbfSbdlCwOSX15og3+Vi8RkAanZb6yr2SXdgIB+6VGyGW9boCUel0JdQa0Pi0mFGZ+iNQAuN1rWPbZnThlCfIW8B6Eo08URhryRLvOa4/+rwvDkE0XGRT4ou0GiIgPpELau2atHVhitZBs9rZEnhS//QaEyRoggx6G6MLpjryjBX8QZU2paMaE0hUbH80wqslFxhvCqy/bxec1WFQuiP4VCXN/ypHTrxJpXhzKCNJS0NK/wt5BxHeTM6FC+IV2w3xa1SmW9h4JD1TxtOVporeapwKPLSGmieWawrrKXPiKlkwgMPp+lHhAHdEubGhqvMkE1LPrq/fDV1jPqIKln1A1CIhR85BEJwAnwlEuKrbER+I6qN8xtPI1a7hTGFA/2lKgwDQoLZqYU5H2efnHl/0QHbH9eQ7Nl01GMW/QyeDNKDx6B2t7QW4Jg1sHrxDsOn9PuThojnviFQXU2qtuL3zrzacmiY2BPBiVI+dChwOn8drBZXRi866SdYbAH9egNqFjwrDJ1mGXWjeC97+32OJyA7GRBHOKqQTDXsOgHjA7fTVClrT32W9vjHytqTxoMSPsVLiPQK9JKGfzg8iS5evJY5afTY7j0jDLAjEmxVIFBXUawXJ87RFbT7lk/QXwOYrgvTa4FiZgnZqGHHhaUZjlIFBZg1ONuxrvhLAlaKWpLvVgUROxbLjFUqqAQPINi56vY7iWCH2CbQAhQDTL9ef+AEuvzWNiU+nSwV4bZxL64ODcq7QsTqSw/XHLffSEoCptIPDZ/rf3yv3uKEBgDsajJ7YTnux49fqQYSIqc5kOk7ToDvaCMWysEj+wYiE4Vkl5r/zbMTF8IMFZ1AHtecw/74UqZGViBdGqH0FnL8CVJhW7860Tke0v/uQATGOcUILk8DW8s4x0wQ2LorgVOnzNWALem1MV4og9vNZDVq87Cmq+XUJQ3mj4lt2y0SYLruoCon5velvUl1V518bGK4Jtmo2NYOlbZED2QkoPzfowBh8CXtNG+C0ibPbpk//J3UOQO9864RgvviGzHd8gMzbBjg+pumU0/vQZNjc6dprvyNRCffvUSvytfPuzdQLWRTw+qUcDl0P5CznZueIZSvL76muOb7NuqvhhihNlaioMVpzCg68sxHqG1aFrzyXdfcgEbi//PIc2qzp5sb9aNajlolRJr9Zt92fn3q+2ij6DcqP7YIItmIzz5H4bVh3t/Qn+m47ocinGga0YC+9mMyP+lzOfHNgW1YnFGUxxdPe2Y5hqEpeVdCdntfUUI+MOC6d/1K+eSyuDTvWa4uEm+BBTWJdgChTw0wcpKRTg+qxjz7iYApH8PRWxvbq9B/e5ftnEf+S1ABBLIfZx4P3eORMgHYq4akN6HwEhKADYA2rSichoVihaIavUc8OuM/pIDT0tIi8KuFEQ6wZqzrb4B93RZ7KDPkVxvJnxhYJCDOCqVqw+1oII2nApbhGb3cUzH4DmmxKLDjDQ64CxJOtgHdTgHtKiESbJMiCFnxAdcGJXsxCSGoqg6HwNuN6/6xejdsI8v2HfmXXfNr5xgUKtvGFUMCiG8OMw+6Ol7TtDvUBYTUzjWVhBIrzv+m5xcoTWdxOzDJ3TsWXXHKoYAL2C18IWbmSCRadnPfEUlfMtXZeWXIGQxE8ncAqSr3KPakVpyoLJ2/CC2xbscP/q+SKQdla03Vv5rUiGb6Y5oDWa50VliNWielIbNPTtyHHftkXObHHrQECaUZYNG/pcejvwTQ2aqImQBjtMKVJ7fHnVN1e15jq4hclPJRt1qYrLWhs7SSdOiLOE+g+P4FMTi4BBr3+moCEy/FYlbozuKYD0MTuq49bO4dc38MhurPvbmkZrvBsi7eGf85vzFIZOeyrOaFgntqE5ZjxkTH4xjfXqBaidkpJDOjLpqSrgcyzUqCtE0/w77clp8+vSJhg+YL8lVNC+JAjzaPH69OfWrrZYY8W2wfOxV2WABrjlV/O7XCPwqF6fVwytzVY95JXsV5KsOVNHij224Fi6F7XME+iTwW6mD/66WXdWh+T7ecDqvercw8gGdC2W2UeNu2hdlE1hnFjSwF/NZnRvxtGhYH9kcnNZxarybFhSUlEzfKslKGi4HuHFrVd3vmQ7mURld7RAfZJk6Is+tTXD0wVU+p1XyuvHu5TuD4zW3z/hss/keZRnxRJP5yAEhEButiSRpkwNfCMbTnwi9NUNgiv0dlWGrolw6+fX9mBMu7Oe6Z/Webi26ykP+dD1HiLVYXbiOZmpfIgRIMGTki2uCrY268YMlEFh1nbnLcHd1bGtd/WsPSAwTZwV3O9t/ir11Kfcu1t0kMg0CAR+7ExZvEmkI/gqLpSyG94C/2YJgBEgsFt+Ghr33rS6zaNxB+kyL3U8lq953l7guGo4yvkli5bH15bTpS/ws0ITD52grjhXWe4d510pqqFImGqqYp3G+Dh9tguMNifHJG8liiunZ2v73qmIAkqKJ98NgaAHVa3ixt28mXeeCJjIKhYS0fAc1xOFtGTd0W6/5aWw+EXh1FHXS9waESYbpLs4G3ckOks4c73X+3LJuBe6pz+X4P1n0adXL0n/3cTgjEmybM9XWXrfoea97SGfM8m15L9R5gyFxwB2hqf8AdFz00AeG9wslhRPkGyAkZcvKtMfY64vkVvyZLONcJaHWd6KUDbIUp9bbhMxkNK2DOre26eSvx4YCcrT+5nSKUdd23lxDbBMfKXPs8xL+pPIMK21ToxOS3grmmTtOW2BXfrR0fFzSX9MXbefNi12n7umR3hhm7p+U6dk3I5DdMDiWqFkNm+/nr4OlCuB71l9UKQD6Wpw67xniQ6NX7HrQNVPE1Pm66Knly+HjVyFr781+YIgsTNG07Gqh78jv83mK2Q6vr7Y9bznCywyz7dRXDw4RYVt5F+UtFwpIKG8/KdUGVr5IQBR5bONn81/Wfame6pSNrX3fXreZi9oCBbkxSMImTWfPcqvobmermhxTNMdIHhnMh6rbh9aGNqdfOKYgzCYBos8exGPs4/0S0v7sbVkrd/w3nX4mhb1xWkbWmGmjE4ONpvUIyXfZ8EDjDyi4YOkKiiJoRVG4hMDA3DAyCw6SC48TB3JtCmc0HXNZ7emRrofZY2R02sznlveUwPtroMCqvsVGHJDd9CzDGemhTxpMm/j42vcaXq4iHdcD7jFlr9NeEXAM7PUbn/Wr8w7OqYheX/7AKHrqWmywhQSZo+QrIsUmHmLYCeHGVqoZaj0cVSotyqXkgHUxuUtTRAP2UT+CKgahUeU/FdTfNshHWp1ZEbCEW1WvyhE10NuY43ZU6i65nQI+8eCdgDjR5/n/xPnGKfVdHDLwC30TD9zTOBVHvD5ALQF8/aCRzG1NHfLFUhCamB5/7bR/uIvaEhaiGx1qRl/Dl37DsAllU/MoKoxWi+1BGJ+891kM4UFbEMq1JiNqhfR+kUGGL7GiWNicFyxYmmZeHDW+cxMD3zU/kIPuQgQPGYax17O6mfbCds3+yky/jvxMatnHslEzsBUBM4aanKJVhIbgHxS2JHxeCezW92szS4W8zQfKnMhVd17pRcEXc0ZW0X61iYCNyLVtfOvVZoGd8TqM0Zaub7lVaxjlJiM03IVXUMo9bgWOGtfq4kEdWZ5ZNcG3r34UZWcUBOMg5vAx17vVXBVBXq4unHGbjwYLlt9CLnlHtpV4HiTPaC5zz4uN9PWuQbcRpTCljMmxzWw4he8Y6ljklVQKXKDBGKzSuR8kr8ScPpDeCPmMOZyczPLfayfFVSxDmzM77gvtvID6Np2COJXLpjaLL+9653+WAvhRtb5j1ZDo5srLAFxjSB5Dc1DwNLUyOlGie0jRhWJbVKJDa48UZmJT1zr8ar9AIi4PGvWOi+WzN1KAEm2AAuerzA0N5vDmFqbd/5Sf0fGAr3TdbPmMmTusCejUl9l9FdxzdhNkxbWrIxUbqllaTZ3XCKeBQ90JZOSvrcnbqL+lBWfVRF1Cfxy7adAIJD4KY+iqGipOZtHx8VsxINcUz+H1fC6S8RLsY1uEd0Z09jIgiuY1QDDAuDgYXCB0/9tUCt9Btb44N9YoOXef0WWSwL9bihIHy57+1WWUq8Kpm9b/MXahC0GwgQoLKLLa1YlZervpqTxNERuNGbSRktf27A4hJY16LMF5PpVg6NPQEX9zNibaygq2rmtIpuTlB0rbSmpg2lBYJ08NY1gymUZXEbemj9Y4rNwXw+H70iWRf3hUKWWT8UBF4llYwDSRSD92/cbeopmKVQYmBBrJbe9tCn/6+rX+1gDPUr8QpgzjbkOZpw1DTs/42QKBjhRg8drsuCti+DcIRzcWcK2wSyLuFejYynWNz0XVYLs38VyhF8oiRwtcKVMYJ4fZhoJTvEy6YHMH7j/0u+bCCA01JpAVo4RFHGbJvzsd84wwPlgzITaVIuG6k59525DfLshovjNk8mO+Q3UaVyTXz9fBQZjidyI+yy8fOqiJ/bJjrljOphqIIfZ/4+khYxK5V6/m3gJv1h1SSuhlxK1JxXEGUc1oe1b1mC7j9lpx8sXfzvEE1/1vICxP1aKzRMuyn5qL11CxIejN+o6iiACSsQjsOKUUyXDuQkiH0AvriZS+0LbrJ87dKCUzxIZW36NqxW0s5gsKk8w+DZTvpgif7cgFAQqCh5W//HJxVK9Rd0bXikFQlJTMKoaPqIs2uO/fAYRLNjK8I14XKdIAaSkS6wJq+oeboTWDac23blUyYLs5tbTFMT0SzppPqu4BHclrCCeGpmYSI5pIVGZXuSK426neIHBlcCcrZxJoGdtyx8nZPkoX5Q8OajKOrGS3GqGwWz8Iwc9OaJL8kT3HGPypRyYjT2a5IEQzVKgVNH/ulO/29Jngx9TBDWSg2JXOVLYBQg/zyLDzwv6/3HtfhsP1b5ep6BVFZ8OdVm9Rbo3wJCwGy4sDQiIpX7C5oUYWcTQ/ipv12IbuDjBhaNHH5iY+fsyU+sY7b8cCRhq6IBqTspWa86CkEUxLPTUmhMjavPsOJspYiJo/LwggtSyRoTlXFMHD9yM336Ku0Qxb4qWFl5MsmYjjttT8rggzZERHW5iDdc37OaZ4H1P/QAPoJrf6wHK/eRgmpXcVmiX/9FTCgkcsi7uQH4lqmzA59fqz+cv7Stv6gsLUpiKkJ9L4An5sRP5MB5g4PlyOvckOWIxugWQJB78BzAJzqmNsFAFMIfIb8RNy4nmOPOompPMqhtAYydHIIqh14V4u+jjWUZP3AePYR2T4vk8QIT0LE/p84xfKbb1ql1vu6sTOC2C8dJKMpbk7KMWJTDrSY3Mrw6ObKTZq1Vi7VWRUerxdcxKbXEIoFVc6a9ZlrhosENhBfcofkpoyBuMfLnWlM8/ei5sd6xg34KcjfEb2cGI69WWJKYCNLqZ1SagHXvp+/kaT0twjAyQWB5OHYt+yBeBOBUL1MQ3o4kYTpD5tW2rz69MJAdOdpiA7osxPFJxuzs9SyHeSKWqR6eujZZ/t4rvImefMazpbGrJdwdYiEFP18KNXNB/sHsJ1kRYleDYiGvOEKk02YfBBYyflJkJ8g3pzbBtdUFqjfrPYdOlekDsJ+NAM68OB3QDjl4vFp+nfvjD/wrV/XkHvxja58ZrrmrRi7L8BDqsTh/vZbH1f1y/XvHQHzZ0jtuIuIsk6rEp2J52T3nyl2LUBAkvMZ2VR3rkeElyLnql2XOF+21NJ+uqKZ6MmaEuRJH3gM/KDQbJk0Meg5Oc51PNbgOCagYQ6h+v+L9RPaVa1tb000JBjrKTrbJU2BN8zF7h35TgUVddmE3yQ1DjsbfcDWT1gzHMmSfI8WEylS/ac2DGUpt5Oma4pjbkvVqW9H+tcXdDusM142Ov/4PhrKciR5KAP5EcMuLcJrvnn1SZ/9H6gH3M4IGoGqoMBKNam3XCJazFFckyrLSAbMhUDNMARjjKuXb7f7EqlT3P0RoAp+4Y8R2VcD4rIEvpLXcESwLhy+5Wks7gsfQWgA28GqQmSGoP2G/UAoAf6MxhQf3TezK4/6vY545rRowdeY/L5dlHDr9bFcI2099WU4ZM2y6c/4X0wL/25gFwtsxVGicW/xAark+m5nJXtHxzcjSUom7Q8kcROSTkyy0jR/9X1pKt8jT3J5p96krTKC6x9fOqZSJefEGxWhewF82iEx7KNR4IbR+LV1FFBnRGGv7jCj0NXQ3Mnj3YIWOIPrHty7w7vj1SALetLNGlDqbzOnGvRXjd/UURYM9l26DVt8ixkgX4achJrMMTFdNOWy8au7Drui1rWrx4GVtVT8nwIau8zBHMZd246Ix2mGOp5okvrWXNwm4UKCiaWYQzOGpFF3bv7+3MkVWziQJf8HOtsY4phMZ1im82en7Ls91guLMPmCHr3vUgG9BUFuy10WB4FieH+CEeW7W+IvkKKqr8iyPeWf88GGbjnYn354Qkmp3TXWeOarCEjqe4dNMIr1m4mlzJ/DXYc9GJzZJ5wHhFJqnZ4WP0GO/TA6700TMhQXxmySYwPDScPv76BiKo9lT+uBHM19d8ATGZcycjLTVzUr1+G3dbf/O0BZgHCZWprjdLkY7mJTIX/jiQe/wNcT8q7yovcKDcrrlse08mv2Rbbti9TxXUx+DNysIFpZFUi/5em/vms52aqIqAGw/j1CW+1n1yGxeMQhd4u8nLGB9k2ddbAZsA/U3rzU22NdR6sHSVUAsprXcAn7kIVN1WJxNCw2y2U46oSK/ekPPX7AZw+bVdbSlDiyfFdJRoO7iGDwlfOq2R+iuWaOwV0A47gc7PD05ArgDapYoGamAIap7fR+ZZLKb/0ayU+w4JviptH8iP15imd2TiyAC+VzTaEPjhadH4py+ssbGKbiuoVN5u6jxVojc4N5nRNQ1u0BevLvR3inLQqpz7WaOteuZs827fXsjyh8qljeasM2OTKpDpIJuhp+uqu4ibgf1NPVdrqmU7VT9BF2HIonxCejLJWapPUXIP7pVtG/4/KnwF9DBJL5l5OHZObXoPB8+gymPLi7t29fQ8HDU7owYl6B0wefs1ddU58WCgF6LTYzmK+ksWTNOnvw6voG9a3SJjbEoBgtFCMVr+sLpY/ureQCr/NFR3GCYFl5v0dLLrbWRQEHqbaTDluEZBNzaNth/uWBewI6E/eaxsEKRISjMwe2VoKM2TDq0STnifdtq2MvuNaNk8vG1IlCUVxKjOeAh/bzNd1bi+ZVUu3J+1okxYuzS0+veFVLmE4BWafhcg5giWZnZ1ePB0TgDlJVeeR1gDLjy7gmIxLqUK1FixB3jSRlPzZu2lsY4BNBtGPrsXfu95HNUhnrcKGZJFcTFG7caTGRBG4XcwVoFTjnD6wO2oR9U02w6LQYs1QyChfkuTngp/pqeny2mH4fJ3PLfkQG5cRtWo6z06yGt9be4g5vx0jswZMjVw6BXRznebPBNYweNUljAs3aXKmJCG51g4bQO/cAu73xR0a0sLqeq3Nbw9HLkCynQtK9e62J7oiJwkw3b7GK/NfcgVPdQMLFNck3DiI+1mI2FONjk49gU5NDRdjPyW7j9HfiJCFrRgWOswOZcK46SJo1U93IyGK2M1WI3QFaRGq7aJvSfOBndxja9MXs9JosdN199P/Gqwj2MeEjqBSntDIwU9BHtaz+crww+aiWpKMmgUoafLIhlx87tqyaGAYd4bhM92KdSN/lm94413tqVu+WagyPgqjlongpyC5bJZLLw7sxgy4+At1PQQLj6wWtmF+7SuF4HIDCIXda9aa+rZ5XCEf3GF03LfPDH3KOERW/RrKaTIxecbE93lFTXKo4wmVc9pO59zT4aeZQ/bXr8z37MBevGiSDykS+qcju2Q9wDdM8UFEqWDcU3PYwBzU0r07dSOiZP6CIpcwo1qKUl2iesu/OiLf37kG/LQwaqtxnH5VzBpIGtUUl7Z5KiEh7Tyu/66E/THUzJUAfn2h3nI0Zm9Z6ziyb6fXwLcdyCh+QWX2I2LbUPSZ5x+PJAJzqzhJtDyhbJ394JqZLFC7+CRM55UuvvzHnLFH0cC5kxjj3WcktdgMpn0RmV5zFJwQTzB3k/jAokipcrMgymez7SB9JBO0Wdut8nYz6pFP4Y5DmsoJGPm+f5+rLBnqp6e7rQSaXo1xkqWA3lYBDi6Azw2nEwlwgFTOS1HUj+Gh7RLzj67FzWSHe7eHeWGCrvZHqsQqA3h6Hu+ZpO/zxvA1X57am0gM67JknUZqZA+h5cS+Xwt3+510x3fRRa/MM0y1ymiBjKylcjDdxAF4k6whzZ8dkfqqNfe9s0rRJwxQ6HwTknDhf4rRyKg/7D+GoKJcMZp80nkJFe7qFWtUgDEEgRFo3WK+C4FmkdnBUh/TOg0HCeF6oht4ANkdWeg3wvReDEmz0BfAJdPpmO1c+o9ZVmL7BwGNjB4iAeOrQjPqDL+P441v6mjlExE32KmHobrvM76MTejnYjH4KgQc67Iwq6Re7L4WkPUudu7AS4YfvsJ55ykoN8LWu+5OAs0ATgLSaVXH9xLbS2Q/LluYY+CaFG2htns1wl47n5/wrziDj8+pP0F1KH6kobJdnx7YoludxvoKhpnJw7cmUgrbxgoeCTKBy5C4d9k1UBEZPK5xGIilbqdxpxgUoam02FupElRFOvCkFRVXBzLzwP5s8z6IwWe3yjZcrpvn6DZ3WzlO8DWYHXZ8gsvJmG7olPbhe5ZYO0b8oRAmwf2o5IBplrxxZQSu8AMuvM4cVA4xTMC9JMV7KcUcpuO77i5k2Ot4kjRsrJ/yA0OFHY5fVRV0PHAIobcw0GhAgJOSEGWP4XLkD+3HmcgpIJwZxaNWHlg8mD7ZfV7Q+h5GqrPomMUuCJH+0pB02EWpW/JzzC2N9u2NKRpHdSFDoEbJ+wTtZwrAiYVjXxBgSlV3Cy24oqEFKyrXmH+3fmRpW0SWGFGGzQEPL2JyGbof1kw1BzROLq11hk+t/YRObg9a6s34KBKlRxRDWpR6oU5wm047dMJfNG7HQH3FNFJr5m52/2nrHGhEjBANqlOS68kkroaVOZziadlqYLWxM8JlDyOsq1nU5R7szLrehsQVJBIgqi4CgIku8dwBlajrxMj+gAiIWzgYT6ZjwUOe+EA9QnzKw7Xm7Omzonilngp7RMxFQRraKwFXNJuZ3j3j48EZOYBcUPtTmxV+qLdNQvPUIyoIqYLjOZa5qoUUBGhE3TOhwTmePSojhq39Qm5eCCjQLkfZXh9rTiS+KqfpmZQ2Dnu1D3BIz/eX9B7tej0vLudR+Pp0ArWtLu3hbV0FNgOFMzP48wgP+6gPpTvtrgH5oT8wwxKBNxDRLvpXNYby8j7zfvtv6qbo/3gEUjyviBJGYwI1x1wCI90hAHyTHtzA6qEkNZhMVHllcg63Jg4SVppW9ZOcYXPgyJdYZGdFjn2KOWIgJ2GJayuMJiAJ4t+yLAqpnIdqFPjcmBzqHNRClyutDebZrggPGLVpsObwnshSjMqr7IY4YQJoOdil10r99IHJfu+bM1wu5OSyZjUypd4FxPI1U20j/Nc5qGXswrCpsKPveeTBMspgZ1nJsi5lge81WgS/gEOpQcqNWSjwAi1Q315C9z6jHEwA2qm1t2Dt+//2IUWpw5R2jqUSyX50TMjlqfdba6unYmznGXTisq24Vb2jKp23K8YZSK6UAr1rL5n25UICZnahtWfVytaN6o6Ly7YQNlOZ/aqb2R9Ml24NPX8dMaUbmswpxVq0oKhW690NIjqSbA5oN3duWMw+p9ya0UQiWz1T1Tfx0sVifLsKyS8BFrRIf0LdQBs2aYnKzavWZtGQmx3ajeJxq7PRPBb+yyq482vqIdwyJzHMAbeJMuP7lZSDeaBYXSqdBakbUwrLcqRiTp8vQLiAtiG8GFBjd36bysWdBorJKT3T2btAfci47D286QT4zsq8A6KIFwnluEsC0nE+438lVi23/l68hEAChYzAAMAjIXyXPz9obDADNUYPj+zO4xdgBEay7fxywLOF0xrHPouYZnEt3cS9rlulCS2vxSAT3T+N5THymVb3mDMuIccADe1sxSrXjq7BVn2vpv57ZMi2uOCScwNH3ToRrDsfec9MYAjyaeOGDIMb3cU0spIkLiU7jVE3Winp4XFIWEL3fuK/KDPI6MUe8Fu9XoKcFcXSUCNbRuRl/A1QmKOdy8TW4/qkJCqva0i7iwpECXAMjqm7CkaqXh6Svimz1ZOjuc5zJhgJ8fThXUqY5ufvJTUETUSB+egAanW514KfpfzMUGgOIVlg1Q6345D8RLjB78AMJPG1LprwiKfgvylSXZAgYmSE7/+Jov10JWlFbeNOipE5a17Ego+a4DRoH0oAUZi9BOwT7pmjMKZ1DP+AVpsHtW48h5dcpmicid34pinxYgj41gkUkgWN9SbW/54K1kGOc1xYXKuNVsbL+uTj0WPZkEY0M+Ydm4Kcas9AWw8pwzYdFeaoqpcCWeHQ40fd9Nst15IPfCkMYziICHzdw9dnDQfDN0Tw0hLiuz1gYxduHJcCTkVhwiZloAAQVYdZ/4CA2dZ419RSvdHbXKQVtYHLDHNekkQDTKsZUTnAYqqL/ZFygBvgtIQ+ivO24RUq5NQ6PbWW20Y1WNgb+ggpbB7Dj14zO/0haArvFUyjIrdFTZqylSd0rFmVcNHl7Re73sqAIFqu+5FtJt4fWS9SeRC5LPb/KOMsM4w4lVnHm7ULufBkMtQh6aSg5qTVGTD+9WcHU0WLOUze4APQdyFx+tUbA05PLxZR0BTgcagFCI+A3uYuj9K5X2K06NmWeeAqiOo4t/xvbt6Ka8hrM8YYDFeDM3G1d5f8G4jv9WpGLUE9UQ66maB/pqMDQ4bo1aRoAiul4IDSksrW1+RoyXeE83ny3fufywwZkO9fdCcKiYVou/dL5y0jk0lfLqLwLyDzeqW4X5+fFV555cxEISdnryVtSolJHNO9kh3jVIW4K5RnY7GNvsp4sTZSbZH/h9heOOxqr950u8sq1KK/aFqdFH+DT5AjO1Ykw8NfF1xejN8MLpqTvAVX9Oi7nYfwcZm1fOT3RxhDJ0jq+Fa/rlD4uJ2BCXhA+NJ+wIHC23aEw9i7ps5w9erXPX8bsejMritOVYGL8xkH870VTVoLs5Q3MF5z44jZU6Xyg+hykujWtSn4J1SqjNwZaJIm1nQsl+A02If0p/XBpWbeVwZOcQHqwGXHjVzYNrQ65PdbbPRsFtPrLGC7LHKkHgcln9AwVXjN7zAnDVnd5PX5u23iRkXOuHiHasU5/A8WoeDmYkADCDZUc7vjANVfPP2C7wZYvCuYmcmEjSSsucuNmA0IWxO6iniSRjaaf312olykSotg259UOKH0mJdwR5uCOWWogKA4O4kB2uXdvowEa98t/mWZzF3CQ9EDOg0a5/j35YaDNLK8q1SPErHU1FL+r+oxGOdPJEbJrQCzaSbv+StgEpgPX33zO6eVsZEVOKOBj27Y3GlqLlapXFxQCGWH4xe+2kpPG9SOZay7lfdPzOslYHSTn+ATArPEMGh7axYXkmLTW8SK+KTZ2Fe6JciyRA/vke59WlYpRXq2VcuI1yr1YbAaeYvJexV6PPLB9vhSmqQpKsx4Trzdq1EWmvgYnudSil4rsZ3VCHoVD6rLbweOKwmUIK6/YQ/dmljznRFAwYPX/2XGmrYwh5iIGmgSuQp3X+bQ0LxUaFsB5x4ogbqw+ZMT4/ddTJz+WSSOQmSdI5FYH6sHw3uRnBaLdBKIBfeRFiaLC33jsrqgjXAMipxeqI8WcgbHRipqxXG7/XkyF6yIolydspVl/kq93U1uOjaQn3iBEk6s0tfSNeHVNzru8QsKJPkOv1WdwGq3Ow6R/lHz1Dz9qYxxWVs8NUHwhQZ4SrTMxRdQ/7cRXH8YyU6II9ErJVJVlSHZgp+P352hqR6CaoNLNHxG45/cu0doJUWPlpZWs9tcTCXz0r/1phzYzJWrBI4/Xq2OLFMkwK3Eh0Qv0mKySq2eUgz8lU5ckh3nXmPjZ3tgO23K/1h6bOTBEg/0ofmUU7U2Ybgpq6wjPTgABTsa6ciaSV/3nvKzy0MqePmALSpH+gBzx1tEJLklNPB5kVZNSqZXrRHXb6nPkRb2JhiMJ8tk2vc6ave/WRV+4G3XKzhjMPNon1dam8V2tZ9hZhcRa3MCxsVEA2hMeBze++mW3SNf8plwbjCQpyEm9tQgQPW+OBDsGBUQlx3k0qV3eRqaPHJdz+D9nLyZbPRyrtRDXleX7FLRnwwNID/ANZ6a/+iL/6wpNJPw0MA9vI53Xh+/T+cDQ8MyM2JWo8M/EIteQgzrnSyExIela91bzS2Cq6CGUWl+hc/3pcwfXTLeZbDUINTng2vSJDUKHdnmKHZtlSTkkOB3pwb8peZ9UZj3AUgki0oxhervk6ECdJ7KjBEFAvkQO7zIY30uzWzoVSqg8crR8Q6S6u8np7Q2qCCwBZrBwCeVbkDc3jOgh+6UFjx/JVJ6tQ+MIQm9c7Hj974O6JaRHb5a2plPgtufP6xRDtGzoKBKiB9cb61OJwTenKPnymqQZkB/ZVLgaBLV7QQi9remxeJjQuDdDhRvouRhNdF3mIuFzXKJdQcmgjykeSD9kxwWxHBR9/vqdkTqlql9MDoCIW5nbSqYTJf3ptFKjABZSbH1SzaU71mJEABxy6S9eQxRSuClJeyOP5izo65pr3tueVmO+59cercSfoEhvW+vJ2W/578JleeU3eRY+yB/Bd1N/F0/CdgDluwDJ0kEm2XGraV2atdVgH/n8aKPzIvvms36nNskQzTTZYTc8MRfqP2QVrQ8A3aaeWinW6lnSXfPbzsc+7eiv7etopYr3oDlbsLTKv6gyhYhckerbbnwCYpwd4W1h3MoKS2UajVL32kJk8Y/dUH5Hzfo38lzGpdHEpFJS9ZngQYMJ7SZAMZ79g+gxWEbPi0MoEEaKh9frhXfiMKXlTE9kebnEhUSc1dY2lHaQsHQhPV32zHz+VoTkz8mk6fI8zzbpHdu+MJaB/XXk26OiDRY5NePBZ8DgLh/COEuavzb8egQqqjoVCC3hANCzCleVhk5yM647S/WST4NpjOENrXXHMLxoBwwxPto/tKSizHfjEqL0yknZJqL3SV/L+1XwgFEi6SqlpgNyjCTnYxmrKDYRhe3i5DBaVlPLNsOw1D1Zpw53jdPdkA4nkXf2iMs8uiTSU3bCsRijuaAKqknswt3h0Xgs6HCOoft9zfc6TDdHLMg6Zxp4ZnQtHwqwQvjcT36SMcfESa6+4fv11+zmL+m7fZZAVXuirqp3fGVrt5+tQkwyOklwZiARIKwuodJZIjntVmBSh3k/Rj+ja7gEO9FALdrF/qnWMvp1Tl5KcSqSqA4GSJlFg9k8UahEi7EZUFDSGe41XKZZMentv9aAZz0TJFAb0LvOyWjFb2lk5gDcdN9Zftyif85cS/34fSGRviOhSHKnUaqdxn8QHXHk0mD8Xu7C5IauokOUk778LeFXdZ9vsSrBZ2plLDZoHFX1ZTQMm8XHffmtN7mwCWD+0DJ6XoVVZoXcpawCaeZRVZAwVKeiYsVRQBoHaKi/uc2ymGLWGBi2GkVMao91F3ta2yISdI/up4R3KnHDS47Iv36S3TQEZh9+4GUlaRKDGBTpk2HZ2qIV2BzAdr7wa9v/4vbYIVmui2aGc+ZcS9zLrglfiavltVx8MTNwK7sxunrE3+O/RgkecIJmox+4JfiajB0hHqZtH8s7tfgqQf4aM8IpyyyYaoffCBAxT95f+2jRG04hWaGfeHVF0nr7FbAsNwTk3/ReR61EzoFGFTQiDsxSIqWbkZQZpn4FxICRn9ksw+TMnznUbzxMCbdWS5g9OuYX+6xozKwuw4N1LXB4oMtLajUXaOokxewOUdRXN5bnm33qHIGosQ1Dcph8f9UJ9Dfw4qFM0W9dCauhE3sbdbBZj4W/dosB0E10dZKBREoTk4xwkneXWJmPHpCl/7FQHwVkgkac1NNu/pwneKh17KUfIkk5KTpgDbDaAxRV3SW9WvItYORaNSfdQEzfJJSPjrjBS05eTCZVN4XO+EXXBuaL/9PsNUw3RLpMIPfGGyD6okCTS904oOOLN4ny/XC2/YbfcZZs0TtHzY8QF4Y9lX2a3WBd8XsxfMwVO5uPfloXiOXUvygNY35HXFtIrY97wCOaZIPt08wgwFq+g/p9EsebibN1ikUyP5/b+07rHDkpl1JvVwh/UA+hVUlUehthj1yaVrnIZZ2+hU1NHjDhNCLN9FpP5KZR4FyGFZiwWFJ1qrc5VeakvZSZRr0xaLcbnyDFJKkPD3MNaTW+yCUpHTHRtHnoAhaLaedAjT77J1jaJYydv+dGn/oXEDK6RaSPvX60MTZvMwtFUl4MeqS0HoxOPEKULaMVB2GljZB64UFi4I/NJGaekrEdCjrJi9iAcJSi/ZsHQEHhZYqXeDI0qLppoobs4OaCwUIB+u5tZBuyqgXs4PCevh2A7Mpf6VHjBTlfNpy/V30JyKG7YFtiOEhpSHPBbxy5AaOjEr6jLYxZ66XM88aELe6oO5bb4SY404ndUMW1xC27qvEr/Q2SGV5eJJQpjAEuTXPuWcOPj6sG/EBhm+BP5tJKkK1mnMDAE3sPEFRj7tEPfOa23XcEkXUYPolGd2+cstC+ONeBkDbMRk6ORtz0zjD5lxe+wJJUMn7x6Z0SP2N/kRrMXIIOCsKAAE77x/Sw7aqGm9Jtn8UL7snK/RtqVuAd1/VewNPR6/ZgdIJz/fHzCB6KGyZxdNAA355FIHzM28gp1IH6Ky5wAA+ki06VgaCd4cC8OkMADBC2Ab63d55gKeek0e2gz/n0LDz4AzPU2Y5rscjpeP2qO8lTLSK0gEMFP0OEWxz0KPtzdo2/BeriWdosL8ImgwNSMj0DNl6RMObyj18LUqBjF+qC5yzTp45nRSndCSrZv/YiWf7OPpStJddBXf0Dt8k/o8pE8nCH2Y4rAahuW3y4YW9IWwWaiFFRXkF8jEsk69KVKLAmKZanMIqd79dPE8du/Ev/itbma76PUc7WmpBULxX4Ka0fpqaid6YHgZVY4kDEmGWe4TXd4eYAt1Nnu7t6JvPUHTkaE9qnc5j2w2nI7fpVrPt864SvytN2OqFltv/LQ8HnEGxA6GB0qc73UUhO5thcTkAGYxN7aee9Nuzrbcfeor1jijbES1KZsU1L7at7OJiBQMjKjs1KHSV+JtWY9njGdN/VUT4OakCk7Tsl7N1Q95hzZNEEiaOhyJhAdL6kH0v6Dd3mx7u0zoLyg/65Hcq6F4E+ak44gLgiKLAZXDdVVnxqR/nRU1tgFcuEJFYlJIP9cf2OlOVYfw4MSWMV7gOy6bUriDU83im8RYOIvE5I0uBJFdhvMU+ce0rixYV4pIJjlg27MuLWY/W0JHysdgC82SbohTr6fLSt/GW0/xgPS5szDHChRljQ38aqcf5Kt1hcgzMp6OG3hmmSgP3q2oVgdfZnoOUcKK8EiidWxRlc/E2EUo97Kf8XuW2ZsvozcTnhXP6yzMhsh+i9so1Co30kf1zLnh/m50lkFBhP/i7umfdx3/MV/DLj3yH6k6q9dt9veczYdGB4sZLpz6wZLtqsAvptwZBpez9xa8mAlH/Uu1vAH7Gu82dccEqQmwRb9QBotNk9oHjJNNjgQQTXjd8We2YXDYtV1H/EjyhV/Qm/KF7Nf5+//SKPETgDPOogJsHBQHfQCAJNkZsAJ29JdCjszEzJfDXfuxiL4Y0S4xEsddGzQ8LXV3ccZFVrSW+UN1C/y5zxEh9frUmNpl4HwmHl6VnrrsTrTgShltk8db/kl1n57bkAuyMIgxSmNwXDinSH0eHFxmdz8tNo/WvEBFGgRLnNUcTWB0n1uYFjow/HKAIyO48eXfYr42j5DkiwiBKZE8WPJVmeZFmYH9ndXqwKevPj57ieenoNwCQzfk0rLSkq/oDMG7V6L5yuc9OFULjLAnlgbMJztv9z+VynzABvYOAwYJXKIDIqS3qTaPWDGRyvx01hCRcg9dr4jIOef+PJjTC2gt972A3McE9xZG0Axsi0X5lLdgUahf80c2p0ruvYRXCG68Qvqnuy9WXyLJBDUcMWylVj9OWJKPrxbUFlrHH3cQETof4XO4g/VXNKzeUoihl4SFCedLq3CmWpj5g7aQXNxFJtbAg4f6kilTs/1UWID8dNlV8qf1KmbPKrsMqdJ95+FUwqZ/uLJNRLsWC63eg0sjxgwcotUooxUPRRqtEh+c6frClsoIkZW/x8DkAqbbAZhwXXBLKNO937yjo/tM7Uy94fj6H8G1qYoe84jR/R2IjkPJSExpsiz047DRwRd8l2BPd3daNKvqyoTVAPBNlASGP0V7nMfR7x9Ek7hp7u/X8Eepl+dTaQl6Ifr83omucov+eXYSug/aCEbbP5bGZjh3sAfNZJtb3b0DZp232+4yQzzRvdR/0lNk6ZurqeyGchE5i1Uv0oiZ3FSb9WQQGvFbYatTOf64M9+l92pPXBmQnHu5J4yRM5hy8I1GM4Fhk/le8HRF/K6ZR0j4zp8K9ckWkONraPavjEETaCrDYgZl5seDU39TJK46dK2O8Dz3zDiB5XqkaUgA1aM33BKmC8MnT+QB1p43YgpDUwZ1i5MPRmvl7/2nn2WJdMYXkb/Nk6NHGqM+4wbKJh5Eu0H70+y6j4HxvX+zCS/xhPQoPQOVdnKX2MKRuLR7tqeHZ+Nd1rAn0F2LD/fYrLTCdDVU3uRgzfrLVOmMWIYiD5T3IBjFu5bxHz9FHq2QScx9AP9ka/zPMJBmJbwr1DOw3GK9Eqfp//je5BV4PSThnvsjigpwValxe40iLPatt02OnNyY1xWX/15aZdhahsoW1a/n6JIeEQBKWMTJYJLhQjuuScCVjI+aMvxr4x69sPKhU/ydunivNBLYuYXv2+1otSnH2n7PijrYolxy2EwpwqfheVUwNO8WZ9orJSzamL9TYjH+7Mw6LutczHjavBtlq6ntgBP/q5mkPrqjI5SUUFH3aCs2pa78cxaLp8oKFDzs4e8n7ri7G4QiiK8pZuCGoK5S7O8+jmj0rDzK42lTTl6tSlXiajc9fE3V9WVWwTc1MIiqUxlR4TvHrHkLL2p/W20kfPFC/qWSOG6io9zt2lRyJBwu4u5kSUHp24QAo8YBJ5QIsP6twwlzq+TUMf2+iOCrgGtw64DxW/JQ5X12UtlDavA3Jhjx+KYNGGMJRYFt0S7y5dwNT+aqZV9NqrJ6fpM3EY7o7Xyuyhhy1XcjsP5pwOqMbQAwxEQa98FhsrwPcGWBSTBeyBtPk1X/adPDI/6W/DqPKL0KBk9k5RFxSpRM/qkfIVFAq9BZ6tQlxnxN63uiJoOxsj4F6/Gb9IDcHZqzvSGKH0s1QaW1kFd0lgLxBzwoR80glRqiVYVqYrIBSgONGsevFTP32IL9O4F6iY/Hf6CYF7ErdrTa3xqCEs8GgGdmJQ3YG5W5b1xMI5nC0Z9Bu9bw+OuN+t8YfEXMJPCYdy/+QtvSgvXzejDAp8cqYag/B8Rwsx9HvVo0kVPgZ26uQfG0MB/FetuHqa3Hgqs6QE+uZ1MzrGaOJcj+r4F1gJckEsAqQEnjQVvY1RGq9+geYv96btFttJgqyQnvQPqYnwQrOsAzWy8MUG+Qbolmuxa+wF06fv7piJGTZMnSqdtoEuu9/bbl4WpRxM7ASn5nQaiJHxieaMzTAfVdvWMl8Ij3bgKm0GA8cR5a/MY1y3Ao7PnJ8/oYKkeaTJ32fEKsp2nlHDjXTIc5qQl10j+JmyG836iy3J1n6G17Zkqhh1rEFwSmBHR4aaQZv6GyN/3Ijybp7UwcGqj15Ar9o4sXfqbPmIzWeplhWLAKnUbqTsFL+x1FQZlr/Qoda82z4aNAR2k/sHk39CIR30uRBoDxgm3YRY/ETju4HicC1KX2h4NMPD17oQr2Fd5qK7bBQxZEOqSRtVRdy/cqTXIBzKiuGeA7+TjKvGYIvvOei5oUjOEHzO69k0VBzTW4xME9jJgWvwhmRviJ1TrzqPzLHJ28DiGwmh0vwe70tkiF62ZzhPA5ZeN/jVxLc/kOZL9L0iDCjQWsspVNq2EyCnjWMY/8ItxVnV6mM+1oPbRx8P50n/wRsK60elN5qhSnVvEYVMU8wRnWr/1RRpfkBrYrMF0v/QsGLEO0OLQBc2gXCconLAcaX+IHHnd6mwCTIS6BSZ67RmM9T+V2p0i7aPGMC+j7FLIEmaGpfRGskyDk+E+bw4x8dTr7HJxxr6Vvuyf7wJc8xuXm+8M6DAgsWtaYeZrqsWzRMK8QYcBEVOW1S7DSMFJ3kL64f5N9EpJkEZanfLSzlGboh0hPEY25tEAVl7eB0vVwYYFO7uSGxYqWyhQcH6VtYvMpSR3F2ylE11sm3YdIjJlURwGkKspZDR9j6OTTJTF7TGonO6PVh2JJzmwtWTx/Zjd/OFurfZvayxkDpnaJMIdg06a2qIZSLVHPdcZHhKZczbEPsiich7KRdjWLJhQzNBhhgA2rpwhcQyXA9ti8aXfIFXQNss8/wE2PumKcd47o1+9P5gf2kphE3Ra89Q/SGC6tpQVQskPLHkvhu1HlRqtD5tonKjFuv7H2wPG3Y2iSqhGREwjzon7+/DQYSEmlHTWE+qQjdtXG1a3GHTl7AoAjirhOZB5g+uTLBBE8KhKsui5v+kXQTU10CKbG+zFsd/eiPjZaF/FPuS6bdM0wSIOPACBA1Uz5GyYSGTqdJaHNZgli7YcICH+3LTW7xDGatsJpxr0xMZwfhOONNcoKX+s9oPw7YC2aYUA5hDI3DnlNVk/4tj8IK6WiZyNqiXddwpaIXKZdq78XdiiczjqL0O2ER37H6UrPmOekNXOV11+aYngHh0kzkDq7mgPDEYjRbM2fLSFJhCIM7ExDx4OtWuVvfgasc388GXGCyMCrYL4gpsPtB1kFFE6Q3leyz3pwZkikykIj4BJclxiPhj8HdiRKtnOnObvFWQGCP+ZZPUoEU4FDemlzBCn4irZwhWyOMtetI4I1kFeQzib46SUVo5iUq08i7spa8103j3sm72u2EacLU9FAb2+ortv/7TLYxllt8olyFznKbvX/TdSmcjYfOe9TyvOMDrQuNbUuEQk3I2XXFN90LjTJF28jdCfVsC86s+Kq/aNEaNdIqK76Nj5jQcsqzj2P7LUbIM3JJE/rRAr962tXQEXuSTJ0ZWQCITfFNYiUyKC1uiDFPbAA9ChQqx5ftorsueD3V4zUQCUAjsrQWBDiPULXbj/22+3zl5Fki9o2gQ7XSUhuU4JmHwR/S7l9OKWqvNAtq6xdehNs7NltyTIgvtmIbWWzv7ed7JFO+04qXgYA+oCtEcr7sEgYoYXTZpkQcPURZ0itgCBzHNWdIYhw7oS4d1aI017H+NNYn2ajAzgLr83hBSGWAQTqgFy/WrdFmF8mW6rZQU4VqsdXsxXBnB6YB3ch2QmzCNbgYkurJIhK64nCxT6XNyuoFaV8/SdW68EBgU18G8C4StMieejujY1/6Z6kLGFVrNVavFXdMnVGrjtsx1iumlDrmio7wZEWzRb8CsGEEknAONkwz17OimBR9ryolNLDFtCErz9u28vg4aVzqXSbqTaHqZ79SMjhsdu/keNbXla9FW/pZymiA98dsQNXdthxFCM3N3KIghXKLIojh87HSzb2Chzb/3Mi/h9jAbVrvVModKHn9v6OQU0ZmCfCv2giYymiXvpp2u1bWN+vxBY0mc/kFV4mUNEbKVfWtiq37Tc/t4m7dsiCFiOHw9bc8E0LZOb1tZ6wYTsbMMpj7Ao3SHd6Xo3JEhrvo52yuerp4bYKzc8LLZYtyNtb0gpItnwVvnUOEm5DVqXzkeZEV/17LFU6fYC8CJ+B/MFCeTJtO7pOXMrLhA9ezr7gLGrmKbGM/lPfkBwIvHKkDlha1mfi9sfJaSXAPFewRb6Wul0iQx8ft1qVeZ+9E0nFkCo4bMAIub8t4E5CKl0vMtJJAu1Nep/Tcuep1G572amt8bDnkcqaDJrGHMI5PGAD+dzEKsbCxE5RmmL4h+41NxY9++/E1hYqt7pW3CvYAyQViPsaGPQaiHt3tMwpTI431u1o5tKqYhtTPYQcy4Wf47WkQIazOTVnSkDtOCCLhkx4Eh3dJTXm8fis931bXkdLYI9XC6LuAP5Uu7rD7dw/vhnz7tbfIhu8md7gH9p8OV5+pFGaKcgJfVvuQ2FVU0mi7bQSVMiSVlXIpmYzZU3len99HjiU9AXWjqoRzcPcM0oThLX/aupYnOFnxVz0p91SfmfvwVz4yiRGjvtlXeR51vYOedI6mnPupx4eQmY67pKhgBQHBYSpdhb+hKWrGUW17bFqQURMrFcp2h6CKsOlPY34IWuvEPCd+mKwUTb1jn2YeQVlMO9UzyTnImjIY8Nmy1Ww4GGz1RMcg06epNBuySWOS1kUPRkFMrzKV51/meJNHHHU49CeUBG1XXe+PnsaZAJM3JgUpiVOVL4OjZeOVj37deWxl1hsKfCqwuojzVMUXVpfvfoJf553yk3kDeNNrx3S35DmcdmhQbMNcljAZ0qZpKeFazluFTFmB2BgbXFQ4YH4lJSLNPIQClfYrH4i9IfVL2jR4MGjIwc3J+reOnnzQ/QkVZYWNF4/sSmvwQeBxcek1l4wyEGMdIuPOW0v0yWKNILAw8ZYCGLGlB2qzPGoeFSGkm8TqqBILhLP62ZPG4KcX0F6g+Y+PLCfL2wqDK6tfczwgjoykTOIzkJ2bLgLPkQr2344x+7sSbgpbLCU6Kbxm3sJhGG6r/M8SCw1Hru4lBvpx0Mr1cCfZJvVFa/mVr+ssGMwuWlZaCIZulwFA1aWjdoKij+1V6m6oFmt7Vm0rXO3HYlsagrfLQTOo6QOUoLIl+/aozZo8tjPAQvzSifLy4zryN9f9r0calKIrVf6yX250EQgYckbg0LgMEgYRUsJC5XS2hcFfmjgnBw/reGzcFFTYWYnJP3PtMsHTbJpPn5TIRtGGceewHb4pVq4Dh2nY6doWM+E3A40JqIim4C0TdmjgamlZ7EzjwDeLKWn8ENQbojfV9PFXmHJji3nu9J881D1EX+D74Msc3RizLaW1Lz8wafWSKrC22m0mU1z/U8CMemxNGaeC+fZsrc3gIBc3eRbQShZ/wSOjW7x3+fgyEa632V2OuTs1JvP9pc3B31mglL4wHCeHMuSAUoFhG3ym46kpu6v1yh3GvZBfp8dOH+4Qgc+sYFweHrWguF1fJElh8ktntSmlduesY+7g8O8Qzle2bi3GmWaDCUD2RDa3bk2iBECCfWYonMr/M+tqQ2yKwd3YN/QKwrGbnaBLTAtv/shySNkvVRf26T++lUGSFrbYfKwKRVlqQH67Mq9weP1h4fZWwsGHEo/CjOFM2GQKkU0gfXb+8WAwW/CQaHqtIYK80irusuyCpOEiSO5v4XP6kdSr1dBZ5w3KC77rQlP3/3ZEo4rHurqddABhlkj1+Rx3TDkaMwxutJ0/Z/ky8f3o4G7fFt6QHnL9Ec7bF/Tdw5Ol6LWvAhkREAkvgwrXEG1awZvGtO4LKfEBqJ0X4rxe5en6M5xWFVVN/81dUwcpbla9htheuQBCOHPMoO4eBqmD5466lkB/h5jE/ksp7LUdn6ahZrE7YIYU+jPzotWc+C/mws5IvhENhncDpDaBrqBjRVEEMocqK/WdMl8VOvtU2ZGzfqiAfc0LKptqdeBzFba7D9UduD7zeZcrBx8pmIN8TILe1XzrQWlHsboSowmhvWUeHW5TARYAGE5ia/e3TKnsqR6xMyE0VestzBSobCzKMhr2O3eYq9DzQuZm8Swg9NYGa+msNdehH8yllCcaxsqAHaFCQwlxXmcmBTQXoKgrlIBj4GizVKn486RECdibmsmiAQQ6v+rUc7QQvmtvllvfTxvg9+NksS5iEylGuVZ1D7RPBAacd264erSDB8iKA525atXjj7Og3nrC32NHefkDsUX/GUFuWnk6kCoEO1VHs5dTJi1mDncAAOVZB9RPzeT10oRmLJSE8FRRwn92KZYA4S75JctD/jt//dZxdGFQf6EsQmCmAWso1AGkFSpIf+siNBB7nAX7EhmZsMc13cSSeeBZspOT59w75qEttis0g8VG6Jc++H9KmWkjAxL/bCzulcFC493dbYfO99xQJyBCc46Q75/XWwzN8zcpxEUAvs5Iyt2XNyzj6PiXRhmbpk/MNhT9JM/zBO54/B1d6V+auT58TzgjgBsCnD4Qia50N0xq1SOjcaujlNJ8W08QZc//d8jGI29PdaYlSmTpEl05sV0ljYO0mGN5kliiD8CIMw6Vniy/GiO5X9yAyBoMuVudpSFvq6O+OTvE46wzTdJDWC7nUlU9xhrU+85wZk2HHgvVqwE7lMHHXa3mUZ/ntCyqP9kjsmZ8ULe+0HMDN8KKIHsN5GUPnyyTLRA08OuOLt7bNX+FWAV+7nXi0DzcomYRFrU6AsWjORoXkgejxZmwAJ7Sr6NG7SQHqghDx7ZJebm6ot6t5Vr0BBb+yfE9T2yH+G10TFcCXYKfz4kblpkUMv9gyqAffLx5ePmbF3Cymlnu0G4YzQMGOmFduPzcztiaWcsvpxKthN02q+0AV4HgKBy/sQHIhXWFmAmYIkCjsnR/ti/JLtXMGSG7a+2WoM8ivCJIAVccmVQv6AmCc06cZqL/pl50jxn2/NGdxCVNUYvwpUpCi2c2P/nC3zagfeuy14e2BiNH0UX6n2TbiGiKRUPSabM9Pz39118J00yY8dumIxiFUOQbkgrCEJRApOD2tlmmL+Ool+ZYvFbA+eUkk9M21UvdJPTORM+7WZ89bW+koXSGf1MDwP8P65wNDLe7TkxztEpi47gRUbdo3vdJhaqKcwfkwRdVQ+6u0hWvMgPJUWMVHenXHx1jj+B+pPIJH8+yTQljiWhQcuzJ+los8Xn1sRTOMX6pMLgcfsdXRTLrRT42b0p6g2JwRevNIKZWOVGCE9CE+QyXHEzHJ2IwZg4//ryV147Avha4yJLeALfpct+giI/XfU2+GGBRnYDzrXPyhORjuFR8FVL60OF9yPgRpcHnOkYl8AobIcPyP9ejYH9x7gPnOAgKIPkrflplT2LebbKRMWKFWyvi5sr278mddTlZHYBsyhztEI52EmuSjB7Wjhlo4rAprwUAWETM36AZodCTXu2d857rD/NY+X6ZXf+gDYdMjtEU8tyvTHfXbPZNCwx6yVFPzxQ6k5MlOc9X9+oNIonjwmgm+IpCgANt6HZm/6aRa/Ewi42PUrVnh2u3ow3BI3eSKEpgROPp9vuYsZh6Z2dUNSkctNwcsid8H52xneSIuSWm/6G88QEBU09pKKIlWpIfoaEjQw+58IA0EsbKKJ1KWgAH7KHi+iXqwOxa3blrHhYjxBCoSvzQOG0RaaB0t7+PmOjir3Y2R++qj2mOmyi3Np15F71B20n7LiEek+RSX+GtC5DxP/bi9hCIl3S6LTQ82YQ079hC8X+p1wpt5Lu6rvY9YJGSAZ2Ahjzj49MFJvUSKlN/xVAD8Gp+AvUDxCKV595iLWpv6cHIRsmeAVQ+O11qAOelwiMTfphE+IcKZ9jvZijDOkl+chOInA3nwJ6f/1Qt65ddf2GjruZjYBOdk/Yh456uyqNS778wvuiRW+6RxyVJoHWbD7ZNeqxr9rJg6LxiVXkwwNdx+FieZ432rxdr/Wzrt7gmEHeCFU9TjsCI6S4Aebnr1L2QeB/mDnDSM37HuNZGpdjDJrSnTsjy3DlEeq2iawVhwQ7+o+KpU3rxoGVbZfPBXRDjlFKCLCiVHR8rlPBIOs/UJQA1ePJd2kUeRtkXnegd7GTcFqFjZHaxNVt+SXmuZzOTPvlvB5TKHNKY6pbGb/whj8laiVxp2vw38JLdCIn4aZe8Ymnf6aYJrw1a3RsNtJ75hrKwyxYCcJq5Urw+s+5pNZM1FgwYpzFVgiKom0HE2dauuKBpv+mw0WHU1BqE9bFBTE7CzIIDUx7/NPWSl+EAArvxYLc+gHbl4YH9g3Y/62UlIat4ZUuMBc6VGINGp0OzzurCKQsHf4pJYyeHvvnVWTkadTAX9xssmXht67L11pNjdHguYwKNYoS5/MzPiZ4IBset82glrSIQ5uo+LCmx3TlteOys2AApM1mE1Y6lHAL78Rmg3d4xanp81Cyf8eUm77nEjlvOEHT0GJ5NRc1KSp14QWgU7/ccg61XhK+ajWYE5Mou+hYc20lKMrn48fSUafk1kqDcqcxToyreFIdc3xY3dhJ280LHbEdd76LUqFU58PEsnf1H6Rr1fI9WPyI9Vnb1ULQjXbk3y9V6ZwYCBb2jhBvDexkUSI/43iys6psKviSWaPYdL4hBXdTVVlpeXxLCi25xW0KTBQhh8UAu36uCGFm1KpHSI68+vV26Af0McZjDdPcJ/7fHAaoW/51KEGCtmTwrWm/CjDCUb26xAOXDs6huTeDG5CmgezwImPTPXMgXHfmuwYjKM5cOJjGD3tv/nnOMlrcx+pTx5KzyXAz1fZjmb5Vil/C/o2PRiBRkTA1iafYI3q5/+9cQspc2uMtM78T3FwPP5OvM5Yx7W01/rQbfQfp/C5UFrt57kalk/W0h/U2HsiAdlF/Kb5GsrVF1oPoj6yuJ8dkYfds2nAQ2X+AD/8DWZ4Ec37dHW4tgVoU54Yjz8PduBNy8AIh161yfxLNQnXDcNpJVGAIQ9ZsxEQpuzcr8HGTajA0q35s7p/G0eoxyaHun7f1SqinARI+7+hvFn8wKPNOli7luFyJ/rGnqlO9rxJzO/Sj5nM/83WDShiCk3XassSc26CVLjrMalSKE4L/On7c42E6fdyiBw4S5APAA+J+cTzINo6GGikWlkxzAKtiD5Xm57rsmt2RNIZ//THgt1gemy/ztA6HklL2RC9tJT6Y/yIAKHer6HK5Tt+VgeWJ5F7y31TNkexeYX0mSyi+kDFvnbdHUMRn+LqnuL1s+Fv0Ly1ni7o8QJlMTeynwvAPXdYp+jncR5fl+M4WjXSKQCRWTe6EnrgVD3MYkU7C5Y0T/5tgivT9/G+gVpKr7ZZAHYuLpbJ8gyw0Lf2IZz9pOUt2pgcddd5WqHh3uVjNk/PEKnQfo6PQLrjapYf9mQgHKm3v77RbcyNMIGfStspTGUIjHUZjJqhjLIuHvQ8GtM+oprPbwpooTIQauqxNU1dCR8AyPfFxawoCaTPZsvyzA+RWnxqjh/NfD9pwqgrC6oUPqtQl4hxvXYWkJt4hb/xK9AYqZYLj+Lug0gV+CoFsmNtAtrYg5B7kXJ885wJB0gHDStsO4eupEMQBkuh7mMjs5T2y4E9osiYuuyjVwkfqA5iO8nrFLjJJ8XClc9IkRhvkxYcNfhJXxMIZ1KyDKLrEpUpeXHkaY/mkRyA2p+Bo57ZJawj/PkXevFEtNqtiWuk7DVq76mN3JrYlYqaEjJ2m6NXbFHYyN7Z7TZdxvXxQzlqqVfFmsg/kNRWBXk2y28Ld+7Ge2cdDv5qoxAg/yPylU/nG05NUcMyFaehbYysLpkw6o9AV5QyAm7uwrfj5Abf/bXo8AaWOGdHGocIA9OuLrHdLC1Vh6LkOiJLz9ELSSfcmEl0HXFYCdjGS2AHYsh6f9hU3YAiKR0QCtYxqMUMZFAqkiP76ccII8JsT6wQridm1khDuk3EP3pgoE96wZQ8iYChxGJKcCEg4MUCtgdCfHuqArps7s7wF73wsu3q6Lor90LcCtQvAyRJ6vGVeobVyQM7zU5LVX/3ZvouWulbiadPELe4HibMEJGsF+3M0m+XFK1fpb5IY9QUwbo2voJZSCkBtuqyzF7BU5k3vNK2YELB1RdlC9EvNLsacxLFprZSrSmkvHNj6btc3iWNPCU1pTw5Y7YeDQ9zktauvL5AmjZIEb6MxO7ZQETxGs46nTWBJuwON6AoIVAdCIwdB64coGf4rS7o+gpUBJZUUFlz7aWLkm8FFPbo5N/AnldcCvVE4j8T5FLBbY3nFIZ8v6UCv4OnHshVtcxJ6nZtCXSPlZ3LNF27Ipj9L6xgm8XUh6y1P4OKwrWPeYWOkg6Tp5JihhBsKWTd8cZikX8viCaXtkgAAbzydGdI0aZdWVMEK9Duh4jm6epSEkgsU/uJUO93fadmawtxXtfL7LY3a6Q6dEql/T3bPc6z8YSX/6ygCy7OC6j8sPL4lrFBrTR8e+JWTaKhgQ7+fWqjg/qySNlS1WSFQ4bgRZSlWeNw1pb19pQ6Pu6hZKqDKcu3FRJAKi7vpetknP5jXLdTJnyzf5ISbf8qwnQAXLMpe+oUt4Z6tBt85dMi5jnkrDDKenWfH5kGPJ8Qp04U2rMr5ioVcbkBe2jS19c2ts40usnI3x/hTWx7ODbZOv/DPaI2hxgPsWSNRunr+v6YeX+QlI+cFL0u/Fv3AW8bFqwDUJJpJkLMNF/HziskAo6boznzwL8KqPQrR+ccPpq58sHPYAzacni+CuViEHD9NOUiZMAJ5BCD74lp6JKX9u1VYu54mnUETS5YMwCIBL7D5V0Y8t/sBNbdDvxSY7AERQ5HOwx658mWfhp58jogww5QC6NaznDFsKdiQNC6ltNiHYtRVcTsH2xPu1MieG71OSRFrCzEvgJwz8A1dalENs2wK/LLTsfNNCJCbZvt2lKprD0IjqLpa7ARXNkwvijo2Wal7dM+hUL4HDsXwz/vsADC4glSzAMd5raQBJXVkU8GHwmiQE6PtpMrTezj/iXbzroQXa4nqrAyEpLJP6pZOcAJpbW3SSJf6vY34sYlItYSK9DXwtvBWwdyV3YAUfXuwkTuz8AOhd5d5ah5n/939i4FqVsOk4wFNOh2GQgt7HE/x+Amf6pbGagODCkw0HTtxgbQ4b+2Y+vxyZjhc2sQuTWV/9VxmNRvUUHUNAf76U216BbD6XiVf9vcvEWh/SfndWYJRl4tRbppBVb22T5Zx5gbiSktQwUsDUvIBLtc/K9OiR1UEF7tLOeHr6mFTOQ6NcC3uaUZn06oGfRwoPmxF9vec30tqbtot2mOcM8am+8rlOLVygLShv4/PTSj326/2cMA2q3ceaAqYRQA/g3kterircGWCChAKEzQyhkxe/Fq76hFXnKlsRuOlmOmF4eCgNckVsAx+zaG4vm0yxmgCO2L43NQzKqIa3uSU8IK96a5jrTq0+X0g9yU0asPRmY/yPuPcFX9jrFlnKe6vUqcnYPxgYbDfZtAxcivr22fUauw691TBDsvYXTdK74Ck60NZs+nPWqVk5tSnC3yRS0SrwHXW7Cq9UsVwl7jUT5F9tftNlu3uktjnmOndksrkJ5jmWvySTzX4jreodlKNMd5r+qL1zqm9BYk060702NWrHaC/IUyMB7AeduydXmPPSKEn/DauWaKsVc0ndO9W/xew82twbNOAEhCJn3cpaWuzmsfumoarO7JuR6XGWKzS4JIukiGcKK5Ond/7FSiJIqLxsJpntEgXQEZqqkkLSd7d7SM+8TFgVoezTOvh8SiedKBmZex5sw6Q0wurKxI/yzKGV8QBpWzIfteKFZR2bNcOk6tWAVa/kk2hV8RrDsljvsd00IcLdenXwwLfhDobrwpT8EA5+Qg9c/0uJria30k0Pdd16s4hLTuku5yRa+/mLexsHrRtdGyimHSCSAZ1RI1pdvsBoos0v3idjB4KqrvvnkoAEP/X4W06WATseO5JqsabjKMgiXuY9s6wcZqKRDhmftJoMCPys1dBzg0AzWPdn/PwTlPPMl/M8PQXRyIZH0mFaIXu13RvdSpARLG1VBuu9u3iWGCXOzXS7mD39PTnI4i/C6QbkqfB9YDJB/ovy+I+bR8mfL0EfhTxgeyJtHQtOZ1jwraYaZBySuqPAW/wrD5bLaUeS2839IxIkiZFVLLGRcGkNfSFRw3KveoLHNFpPuOiE6uzIVjgmnoXg53g4mkUoERnLx3zPEIb4LzBxMHMXMbLuH1iRDWLsAxJFu2kgqnsloOQHNI/zlkhXfGW3hpcyfuqBLEJvnLwIR7gE6enBVvYOrYe47JOSUFulI+0/Qi9cDHj88Ntv8Wia2p9DWw/yWogOIv+2frTtkSP9iZ2Wb7cvnK3Fa1NpSJcrKqefey76LUaU1cD59gCoNB1Fk38eUb7OBEM6AqBxAYZZOt01U5KqBbaCZSkUEyiGMpvXBx2O1GBaalAQuofgLuQdvYoaomeQS5rozhL2f9fkBkbwEu1SXs/srMpOVmd+JN+7bv0c1jS2E3aMigunAxNLK3HBaGlOkssW9YHsOwyp7ZuEXyOASgi98b4ytl5qIxM4IJ8Zn4O+gxvylWKjw9uJYC7GRRJveqQwDk8xViMOLpLiCPCm/S38FhsQm91KTIcLTQuIM43Zawu7FbyFVSZyvSe5oCxHR1o9pKLn31/65nCwgY9GvT9GiMapd34lWmRhfZeSrRuKI8b+fB5+HX45FPtxfWxYork+HBMy/N3IkBati3gay3mVD5llL5xpZCpGUVlyiPOjkS5B0kdgZQT8ctPYH8J38KWeoKS6vGSxYnBG8wZ0bWdWWzIyAKMAx3oDamafIChrvO9cRVa9ieDijLodt/oNfobET7p6RCQP4cbBxOka2gGz1h9UheC3lkhtJR7GgNv2Sra8Fx99nv5weKRtcGt75TEA44nPAjjdKvdgIROZRB4cE0i5OsMNVPMXdM4hX+1D3qRZ3WRhDzZ4IhKGXKcQjKblBsHgd7bFBA7V5a2ll58QwS1g9w87HbKQ8Q0CYICibJHCknFp2Z0YhmEDji+Su3iuL8XkyKxsrT6CeQhICu8bqCpEXq0tbWorRS4gr6tmW+Xl3i3C+bNdEYYPniIFbtYSG7Qv87uOYBYY6kwA+6NUEF/5L2pMjT3JZ3aib5bslWZz9Jk9tvU+LaW3VGVR8mLCmLYi9BkVrFkj05KqArdqxk6+6dT5iSbILS/tLwdYLm4TJ6cmyDw0k9TjJ2bSup+2jZcWUPSQ+MWAFRk4WTV3lPDTTudhet2fo0DmPFdPoB9LZHExEgKuoPn+SWZNr4vL2HHu1gRjWa8f2bUyY2xkCkdfFeDkt7zz4139HL0U+4pxDgQqEQxh8a1oq1VZJhKowR6F9izX4hVd8HLtxk24CIRlK/Lte3ARA+SHQmUNEmNkQKBYRORghL73+lbNB4AvoPB8NNEPiorkMOy9BtWa6tNU+5yjkXBl4xJK4LtUU/tprJCt3VfxdO9ydufMLBiUdzFA5fzz2JV7tbXlwuhWf6a8X7Gp/b/2tCdTSiwMK9/ZKzOlzCMuSfv9FA/Wm93OIiMWod9+DTO34Vbzgygt3iqgp63CWg0uLlQ1M2dplWKdsIkZTqcE6beQcWgGe/ZRlcownTSNU9ci5tNjUPudf9CM/rhTWMOSrgSNW7onAzDFELKgcgDGfSvMB7QH/rNpaBOum4JksX5j8aTWZn6PKqD4gqQ2eCXZcWo7PRGPDZYTKtbI2VQKUXfZMziFjkUHplmZLU9mXFspFsTy9lAqh3hhVmJqmLsKE51loXIrXquiBCvadwi69uL6kdxwSfYbvEbfqI1+kZgq1niupwkIO+dyj9s3hlE6tB+Sy5FVq8Ywx/vOaTPM+VkCy6sMg0rwy+ID1ujQ9TpIWeTAB3+b4t0DAzqzytLrb9jK6lLAWhWhC/W1b5fZ9uEzTPm5qjaYA6wPWmOweNfGQQGT8EMoTazeR479YJKFN0mjwhtQ7CJZ3P9JKzFya98V+NPck0PsCg0I9QMHpjt4N5w8SE/xauDxUUvWNgm1hKepN1ntn8l4CvX3K24kNos33F0BVWIYb/rXzQYeyZv0FOhNGecpVfY1nPhXkrTX7XZFKjgJ8tSjgnG/MHWalEGMGSeJr4wmxe+xtXnu+EsJ908bKFTd7KeZWr981KTZ9Jxd/H4GfOwRZABS35vd3t+jUQSiZRRDYNjVPxpXyUThSEDTkwRT0lf55uyHAIROUkGmUUQrn1vCUEX5b2rYWDihmEssY6zEdbbyny3xYGWeoGsroOkH2tVav7ZqUsc/XbFj88cC4B0mNPgiHT1TgINgaBXjIwK4DWMc/zDniwRXBz4ZIkD20Y1aCZ6dqS8NzABpEg6yMJ0et09vuGV/6v/V4TNtuuut3qba/d99Gb14ttFj4XVZMuHIZHKPG0bnp4Jfte40uAdR+E/NOOUM/931h94t/I3uCSOYDWQhMmMoyYvzMT3bGzkiVJqmpDp4uwfB8R98rYSJL29upC/Jx83GJM7o/9v2GmAfyb0DHOOTPG1Du0Dk2nC/0DCan6AWDJS5yGBjR4KyxJqbWhem+TqRUqsoAgoEy0i7TWZ/ayl4ucH31PFRZNgvBL3lMb2fncw2vdPqfM3lv6+YemspKrQjU5zvL1tDuu2vrY7ivhRyYXIfn+S5+kNx7x+WZdFKA5t79d1jnexpOAhVy3Gu9DrdlM6W2KtPg+J5UEQWGd/Pq1n2ZgAaa7M0V11oeTkN1LGk3QW5aQwGEM1u8iW8ntzr0Km2E8RjKFHO/7984ITUByWcjkloB9C4QR+oytGvbveD3lJjJkaIGW5KDLkCubL9JvY5mCgqFziwEmHHQYDYHxnkAroIRO7QzLdzwQh6anBL2cCHVsyliHnPt/jLaFKtHQLI3l0q0Yo5xeqnThLoXrynmfvjm0A76Jc1+lO4rWrsT+T2WPnwmBln8tSA5NfBLWeXTsJVja/OxldomEOYFr12ga7D+6HspeBuwk7sTBSsBQrKpnmsAOVg2ysJlIf9FA92xTeus34J4L8yCsW/jYntsq1C+u3ClYKCMBvizJ8Hv7rL7gGK9mieWj+0U2L+sGCjg7pxxcWWhV9zYXa+YbQvHmtB/OPJ5x80OSw6DzsTOffcJQJKelYS/9/gJOMnyV58jmm1AwAuWeKEsuJ+1SjCetESGVCcLQYp+ys6lne0/8DHPsF3JUAllWMdVLnI7Xw9jQtpkXijcsTdILZ11tD5rdP3A6ZxPVYvcEPwlmeUufuy9CJB9blUUQ2op/fjKK3lAKL+r+4uQ7OZc7TG2el9dP8YIxwqpEHF6Dq0yn3heDc6mFpQRBf3OwZzRAUGmSLSr3BRsQzzzjChPpF2W9htbqPYupugU4VfS4t0D/FOW9yUhUzs8ua1NbhlfEpkQAbP3Y6NOvKlHMxqIpOhp5lsDV5VNn6A9vKxJwnvznoQAMkY+s+KXgYh0Hu5n7uc/SodCjHvZ9AaXBJeTDbeh3rJeNkec9gYOT7L+O+XVZuv3neTi2+52K967VAfz7RMxmawewyd3L93514DXATLlB9MVWG1J76WY0JVOACfNFVUOZn3BB3RfkzXTyk/+H56VUsLhXfA/CO9FnCfDZ0PXL17v9Vm9gTpJwazqVOkTotvcY3puzxMZmJ7InHDbnfKF1P6Hm8uqNJUSHO0t917rjhyiqDojow1HgJagvfG3Xh9XWeuyQPhHOwW3TNqj1vuc9TFuLgsQEXr2UBi/Hjs6WvJw5CatIohSoxBG1+jIaa3+Nu6RvHDtQ2Sv1Jl48MeU3VrpzhJ2xPOhgNfrOy+YWgm3nlbq/RzJEsh5UPsqJgMXWb8rR3ukFTgszLcp7/NWGelhEHaSBo2VW/w1WXKmPRw4iBZAw2+49kcB7g6TMhmqKjYzaayhgA5xa8H5TAJmbAECuKqZxDNM6F1+E4jg9tWXBV7a38/OQQglJ1xim7g/xwPlKEC2hWp5qalPMF2+LIdluc0RwixjhZV9TQRrCrh00j70QTlv7bdLynR7K42BuXvGo9/KSMs0D1FJCbIBDAN4dCL9uZ25bm1LQshSCXTB5/IzdObQTHJYCwE68sR9K6bsGAYLDCcH//JRukLVb1+nrw0i7JU+cTfCNibVN0Y/LYZMzAMlONnjCYx3r81STOx1OtTDG+6KyLY0fDVe7l4WZOvZesm6gY1vs8jkj/u6ETZFE7D4Gzj2PxEh3UOXUSGEDCLYxrzPmwa4swfxaJa3cGw5LJ+78A+Q9IcOwWedOl68itJUYG0cUxM3o0daSX1ntfEWUHWAGqbEk/EaAggpOxIDSo6t6fqYwKwP3gdmH8niXlxM5bEytLPV1kA2fGpnftgfNr5bRzUxLa8AmxQkm0qjOJjolZRfNb94Hl3YthQtuNJeUBvYqth5YZrnWS9gFE6k3pi4qWLgWo97eM/XapCr6uO53YSRKbCqec09WsLCQQfLkXFrT7WPE84iNVG4AOFyGe/Er8r5shtubSU+B56cGp4xYwya9I81l9N1u+BLefVumBssIBstiIXRioGJ5PCn3LXeTfvcrvP1UvAD2VLnsgL7V705rxnwKQ8QpingM9aHB14fuAqkf1WQE3xPwfHP4TyU0wWl8lv7YelL0De9t2q2iDHUChcAU3J/pjD2a6+iFO5V3o9FRecEwBscYtf6vypGIGIDNTRL0IB+ZAMgFRa/Gs0pF7eXJJnhuaAWn+6UH2aeFirYS8mQs91NFDxpBC79eTMetY38srHa0ghs1beEtIlKUk93pRP9JeAVVkhN/B71MrW0DmtVLP8Dt4siNQJ4cJo7BwMqDEIfFtTIQpmPwcaEvaSCeGwvDI/0q82BHsxrmRF9MQXMWPB/I3aJb+cZW8OEx23UnFoIuSDsKyWCoYOlGdWFFAgtbBhgMt7p28cP/HuFh2juLthtAybOOROFBs6e64vdy7U0xnnCayr/MHdbrx/T2T5b/71jjE9DseFmAa+P7s9V+QvoYTG/vf3o60iZCflAyg/IUqRmYsf6Yj3bbA+zFxwVqUsPPoWZixTHtw/Pn1ZR0F8k1iLXOMpwFS3r2wS99uH84Zfif8k+b/HLVffb8R/h7JdV+NhkO6/2qI5rkcF4XHs9SL72muMyfUsGx73/unLh64jZfDy2F88rPa0cIS4zkFik6UV4mI40GWcnj5QIMWKjBOfb7YoReriQe9mURobObkL2pSPB4ctJ6miFlCie5DOgq8joVQwtAvBwltRYwIQ+QQ67QLBV/MVGktG7kOLHvINcpVKBpqIuOQ+R5Fcbvos6JRaL6AssqnK3Y16qELef8XTFNX6RfZ3kYyx3XHolVrw8kXfAL5U6lcMeVpH/k/97zeIPNgG/g4YO4ETULfGVrkxyhkbQ5FJLJ/6xqfiirT78dSU6cyWelxZ4Vk9F/Fg6Wv3TpAjUzMe5/mrwXY/mjB/jZ9ocICyHAiK5Hq2EKqMh4GG3RtBEG2I5ElsOhY7VLjePc5nze/GsyhBaOjHvyNziC/wgCMx8ykVp8igQU2OFzzEDou2CSxGugenokI+U802x0XcS3i0nK9rF1RJox3Wp6Lp6CsLwv9wVUhbEk19ZRdSe4OdQjZgIpenqAZmOzqGYSJQkFIRZAK2X9Lv0SUd/lb8X2lDJMZAqp6utRbOcCdcS49RmqaVFgK6LR91zpebeAlr43x6PbQTl+MoB8BQSG8VRqSZ4AdT8ILkHEm56z31f+87hSp8BQdYX5zxM39kMTUTWYbyJUIIhrVymlH59pslSDBSkVCqufWciV9zQRDT9w5VLG2XOIi8jRDMgW9b0pHr8gBvT9Qysl1MjZgtMJZ0P0NvjAdAy7KLr0PaMkwaOLqjr1PwV3WiBcxjOLqnGnoXJLLIRUrOVRn7EmVpxmoxmOzWczfxVE3BkGpeov9S7eoVV1YJ6kh8JLKZKYdidbvoQtNIIYtE3OU+orjbl76bPHpOjwOjBHgM0z1QIao51t50mIVPxczcCGQYYd5lIDyZN1kUfRAB3w+C2qmRshpTuJk1yqV0VmT2rxF1mDeqenvAP2bxV6/2a3/ylJNrk4C7Lr616BtOok2Pd2RtJvvbCUJZ+g/B3yWNuKD7blxuO6srCRe7RCz9jYv1ARbrsWhQLMD4ReaiZ5ZXhmlgdcFYBA1QituxHzc9eZK72LZaT+uNKlV8Aa4xwQRNepLe2hHScYzvVg4w7pyxm6gSfFIUWSEQMo3ueqB6/rZSLIRHHSiojAc7cfBwFCpAJ0sHMqNUcClReHOlZAhJJ0Pb3vQrg1wjoZdVc+AF9hONouwbPlpQuJgXf8JdmiUueAeZ9avZbIzEFPQhuh2KRsROCE9h+DbhUBiWztJ+r7VhPjSdryryNcydsriOeNICmDrrE80PAyNv+iPF+3B60WczxHXvkm0jrhRGUk7NGlr20GrgZBqokiFi1ojLAk2TIISybB5tvv7jYH8uz0OmAuiHhdWqeiT9BfOQ829bG/9iv/NrPy+Tf8Qs4El3ieklu1qEjht1CVO0M/PM49t8wmwJ+UDyzUN6SgyI6D2xJFlnefVmZy9BGwdhnhZK14oyhuQFqc2Z7TyDj79rokbmsYb0TpQUGTAeR/Ax2Z81uGnlcy48SnU05sv3LkwmuJCkNkQwQaYE4LrrWhv9jP60XezVSN+pkQJnMpTnSR0jNuN08idP1yKHzCftCjtJVxcm4M04h20pP1HUV5ooB3WyeY4sXXi05VeaxPzdA9Yt3S6LdXrsylBex2e6lnkHrK22Oa4XQeE81de2NtjrS2sEOkzOaVMcRmMfjJ83Em3zKsgrsc2AOAI5/QACD6csvuDkW1EpMcJzmzsHdKs3N3PJQpXAdOxti2vJjhbQPXGWs0oASn503h9hlrfUJMhDiVgFsW9zwu+566yysucacD6MrMrihsDlpp66MP8dl+jxpsizhtfVov/vWX0eJ6euUYIUPOf+X1JK0x4KIEfmJyd9MphA5b9Heq5WkZQx80GMITwHfpst9l4rDY/zZmmxE2GlNz1CMhRfJQ0LMUqb5atYVtjF1rK9WCA8EbS3pZOlA7fkUDJoiS+pV/5G9ToiBLsPp1MG6Y++oER08lKnK1l7lGh95dN+FaLqWagRmfaR4FYTDT8FvZ/LCwJTmEiNIOCuIMhOINU4Whi5TxR/WoTDOWe29Yxt8AgdMlK7arhh8xorQFYwYt4j9yF7qPD6rkyab+PYupSVR0hUnMCQi5nySmoTNiQ51sRAoME6HAtAMZOWy1EfZU3NZZ+10YOgOiHwSj6atD1UNz+YX4JNb/7coyy1d4AKM03fKStd/5y5WhMnhcCGxqob2SiCogYGOAF1dISYgVHYCcDpLQ5/4RZxvT9HPTOEgZyGyaIf2SAJ3AiRReAI4PIE7RTUW4S7F72yrvFdo5W97IO++JrpSEkvHnx"/>
  <p:tag name="MEKKOXMLTAGS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DFiQHjCqdL1bAIku2Rw+/elpsbhxpGORWsyShyRL/tWmsIuTsDj15mcBBC6rxNi02vfR74RCA/dpvKGhZx65o8NBifwAIyG42OhL5lITUdwqdTLUvo9ApOg6ILbIotmZrLEEtzaixGAmJq2dDU/ShbIw5E+NzxCKw1Tl2BcETmP/k9l168EhccQy58wiI0V1TQSgXjCMuryhzu1gL/Zmtnuikqb23VmaqhejmwQ/8XaoIr3yVarc7IBs4hxTGXbzXIcRrbL6NbY9eXLFDTFQe+5mswvE3pIAPvwzakNVHqdwSK56LYfM5hXyosy1DOA3CQ2jPIJeR6CsBmzk+OZ3rkAkaL+kw6fDkq0tM9yr3csa+3DkpHVKchP1ROBFHLYXj4J2h9txOWDqAEK6Qf05YbH7D/qbmnzYFvypqDgVXecNqWZlKieKhPsKuabRNPtfaQWKhGZgXMoyxTQRDRVnZEToSU7XNOd+GqR4WGgb4CCRJjQMcPkF2yEh+zGllckIU1eKuVhr0pVAAVewTZrIwyaiIKZS/rdqnZF9QJmGv30pFRotpXDaLJZulW2545u2kZT1q9UHCgScULtidIxb2rC3tydX1zDB9MdmIgtbiGnEUIS9k4kZG3JoHMT/d1lmPgdzzmzyygTKEQ6IuM3xHhMFfNTfEjUDABLC0KmZ0VUb34RWG7JMJunrgMnNcTpj9F9tahpydWhyaHBC1pnLvDgcQs7nQMs70kCMzQ6RIbvKCdLwi+F+PHoXjUID+mtNOeTyVbIXaiBXnLPpggJgGXZjbKk3Vl5G4cc18SZYoRX12C/uC0xZ0xf5RTrdlGAVVeHSA2ajg/vZnJQayRPR2zKqa8g+OKcaz+ywaYfEsmLC7FZ/oeZ0IIoeE74pnvHzDj5I/nmXXeZzBb55wzIx5u+r91TzGBJ/9ispT2s8CCc7D2HjO98LrtpOrc84P1/D92bXE7BGeRSxojc6mJFaKQ19Oywrb/37iEbRREGqMd81PtgH9ct2FdOqOQ3CJoC9Ak0/g23iMLjEWemEmMco3bIkBcTuBGI274MqcqRfycPul5pFz8iImsAX/Mc19tlKhf/ZuZkj0Ti5k9/57yNI1q9A0ESuh1NdnP+ZTUYhFWHC2D3A3ra9NdAhmGmMKpCjU57tnJOq8Bbo3C4ngkUGPKZ/GBJhU339G3ipGVWVNaUNOFGET20qYJhkitZYsrAoBeM68HfczCVKaG19yPgsTObPO3tXMUUqq9LoFZkRiD2Q6vQnjHC2EGz+gemTQggpFNIMiCVW6hg1LbSZ70FQKKb9gfc8yL9X61DhW4iVEskeSpwYUf5u7Oxxtvfk18YV/5bnr9J9jPouKfPIZ/S+sJ35pzQpIQCf4FRSFj4gRAapxKbNaYXN5HS9xl2wMey5y3aC3yThoX5/HZ4RtR1EA3umM8oDNNncVm2ZCmCpQumUgwkj12axGNMTb6gmzYb3sUHe1ZjQQq6NR1IBkHNfLgp0BkTRmZPMxnUrB/B/a96fmpYGcrqtEJewni0pozSh78WPu95bA8DqjLDKqP79aYog/Ab7SLhjlOaynkuiW2uk7KDW7uybahPeCKQBDtmjbGslb/vZbkreEG+k8yXB5XirB0o5suuDiu8tBfjhVfYC/hDeVQf0vbb9DyDuAZctwtOHHJ3a8LLOxm66gYlYnocXE1+kGzxcjMkbYMZAbxTYd6jeMoq9zXQyVsU9XX948lQjD0pQJdyvl1w4zniaK01IZ9DZSrP3m8ZlsoZOmLjAU4Iy3WjvjSFxQ6OuWnyJ/lIXpxL9I8wm+HdtOFQWzas7j+TOT9pKvtFgZZ22IMUskdt3RzPcP8vxfg7st+yik/v2NGsAyD/j+FnFVrO7t9Kasa1kC4NYtCoMA9SsISRqgK/CQd4xWrGhargOp2nvAL8rD+Mw/tEj8xuNiEq53gM/r+UFGbpfxsZbUvA5UXoV0A9wxPD10Tr2ldI8fkN0p3x/M6zzoyFP73w5bnvmpPnfHW+02xh41dKbCix4MGi97tZNdUv8xPlbegWmdJz2MPsIyXGVeJNpam58CS/cRDviQ253dJUXNHX7ZnXdWd9ch37X/f3DND85AtS7UGrfhpqmy9See7F9ouzFw8tRr0MGfTxnkZK5+IMUnj1Crg03t086YlUXYsAhMZIdNn+gse48pg3rUVCeZNEIRFtz0LpJdDdkZ20cE8boqFTPFJtW3SV1oDV+xFg42SZpnQ1NJIWENvMG/DI6uHIK2xhfDipm5QbyXffkl/P8cLonN0IvweocJdNsDX/yGXV6oecXyMBqGtOHy9rv02XZjrVVsq763Tbzzk9XlLmGR3Jma0LolqC3VEwTZlM+GZwEshoWmP1+0IsHra2gEkY3f3sGFKmuorCt8VmkrNVkul9swOT1mHbMci6RySWEvx6GIJS40al12F3TemAVumwZn5nDTaCNJoE36yEIT6214LuIA4hOEqNiLRulI9kad0nqYH736J9g4dXJSR0uBfuWecgtMA78AQmW+0gG0PnThtcMIOhC4yTKIfVEho9xVebi9HST/OjSRiyU1YRZWbOl5Rf6Jb+4lADxlQuIPbmcopPZdVcneuBJ+BYSNxWwTu96JZ5RCIwl85NIqKiMEg2/UMNndsR4Gmkv0RZBBVNFa8uRNCbMj+rXFt+9ErAx1lpMiweyXeHwicbkpQpqRjr5gIFjpyMJLWoL5102EhLdhpn3p5WiaMoebSqnrS6RsQXHyfH2k0sSlLBQw4pfEZLcQuQl6A8p7UFObx9VfZ2gM03OAHLadx1Re4hrcu+7sx/zmBjwRwIHCW5lK3EAUNxUPZyX+8U+vvb4R62At48JcXcahuspOs5deEmSZBwPt+2PfUej5fvMPSB03PChdTpOhwjW+1PJpwLJMv4ABqQSBQ2g3CLS5SvMQqfeKhCiTDvGSTQJTnBlRfIFEtlpMuMuYoNHRttjC2CpNfFyN8Xupj7Cb24oJ1v3UaivvO0fazD+z4onm7axcfZfvuUPkj2C0l2Ytg+cOMffuO0ka+UtfgUJ0RpQ/mgZsPdBEkH/cCpIQW5/ZVh0WayvJym07jzBn29QxmVFi/D9SeAa99d6s3am1IKhwe5AxzvbM93I/ojh+axzRQgt3xL5eKxfRy+Hb6He1W0Kd27ORPD7qeLvjzhaiJAAhxL+Invb+PxiG/W25t+pzGNR85XhUNG3FdfdxhIwGwIOsrREg7i1Oh4NA//iOca2h1gImpM7++OCJtCAmeKA6NIysJ1/TQL/Isnp/i7qVzr9Fs53P97B6uibbdNWj+Yx/7hNJ4LnHlDI6RzehjLFzGk5qGnE47pt0aXwOWHtL408chavNsTE0b8YFr9gjw+j0DZTd+wFV4bY4HfJ+CRdGf5tddBbmO9LXMgsBhhSE0MIcPom5hAbi4BkBtXx+5tAQIVGbc9OVbRHOlYVBi/fTuqOHfWkFRoJE1vU4M02aKMuPblOcVqPwngJDs+TaYLwfDhPbni5CJMFM7eQ01WGeO7josbb8OkCUjiDT/8ICTVSSEbSkey8RyOz/UjQwHUTO/KL6/JkTi4o6dRyL4bwjva1bp7VsW1VuB/NXDnCUk4dC7V+pf4FpB6k9+ezc4i2gabH+H2dOt5/uXjVcvJE6EAnMjxyFqBuJMbrIa+iHmCIsOVGs4KcAVB+x2RNtlaT6DSkvIZZcbS0dOAeKLCwmvrSzjodfslX8I9RChkRZuzDS664ach/slDreWtRnsy2yEDTqI2+9n5WeY9XdKHFMDbM2cyd+h3AR2Nn6vIvXj1ejChT6ZOHnb9U8zTJFpKR8mq0N48bUlruPF7UMJ8e2xO2hR9FIHF9Dln+pNL3W2oe+7SIKNrcwywmQnHmqpmp8vSFPgvh+4ufu7d4e/id7huEuE9rA7SGDbatlj9lu7M5ih5E2XEQTXk9N5mery2kYjJRgo2odXLu1839+w2PvI8OTm/8jotUOXkv1BlgH0Wgt5EpmyafxU6Fx1xu9cJZnhNHdsf0R+FjOLj2pzWAQPwICQFeLtUOo0KDMJMkdCAS4rzjMLAq9lMLGbTi1XAzrDU1YxWr2VRQnVUiF37+amVO4ApQjKLLL1INcya5UKHn94e3XpeFc51BRa8gYRZqsFg9kDepeb0l+Jwfh/nSlcWcLU3d9durfB8O/ux2djsbORVDQtn8NFNO1Q4Gl2+Yx+ffUAi2whMOedTvS+Hfi+fvYBbc4wFWhHGMnPqzn9cX76cQY8rbuFrfcDJiDoD0dzitepHccUCukyaS/85oKk5puZ1p6EpzJyBh62EdeWlcbwSfr/BbtjiyW0CBqElUJe8eA7poCxBzVOncmBzoL1UsOFvVM1tc0KKCRsQ/xqcoSeVCDTMkPA7s9xrXthET8LfahjqqJpKWt0BLubjk67bBNGABC8HgEULI9c94JGRy3zNgCLHkrFTLKkAgyFEFJ1eDw2NDJbsymwV7V4zUkfideP5dHsZSEsGAuLzt60t2WAyfacelCypsTkTsUqqn46dEy8wSmW5QowiG1TRjCCcb4wxSTLppOZzbaQw81Um3I3p5Mdd2k5d1B/XtaRpvOeJ5E0tXew4MG6jYQ5o0FMrQnc6sEU2m6wcRNZ5xPYnMhlDdZf4K6GyZ4uxACiTmb5DYGYx9w5XOo6JNMYg5+0PnuGKECLjAPy4lf6yUN3TFedtl2FIZTZtCqy8DgGCd6e+G6if/I5xb20Kno8pEnsGcxmgXqdU1cNsrdyvboSrETNxcA1hf8+uWqchxR3tdS+zdg9qwxkaE9bhlxRNCk+yuUJ4w/E/RTl0p4H9pxKQ7ci+jl7Nuqf4SuakJHvfDWfsW30R/KfNAMx2nsMUsu9B3DAV7QEebbp6o6ojurFNk+MSC9U0kKrD5bcPExwjwTdYhQoe8Q8Ksyed3YRMRzabFnlyVGBdIdzFqF5X05d93B8iyGssgn/o/oP2cYyxhw3Wpnd27+neRrHeAv+xtYD4xclylrd5lBu4krokfZgEz425dtaKNj3B9gOE7VJawXnRuFdIBW+joKq1culBWBQwYLyaGi4oTvoH7WgnEaxvGNIaYNGWSLtzXqWe8Ehww6VUKZJGH12wU164lr7USGbiA5u/2rsBhMCkYJBbPUpQ+2v774xM23Ir4uT/RFhora9IXxFcsDgaxgaWgAkuFMgzeJT3qMyjPxh8m8d5vhTCtuHt5bTvfI9MsMs0005pJO4sJEQLVeh5FmolR+a7GdezfLGDfq6xlYLgd86j0msbMMemaPE9u9XJ/MwU8csA0lkeTSunsYQLwFMSFXMYFp87lZTchnyPJTxU+O+eL8UFcuE1WOh1GAiR0Ev14J+OddsuYVzKNNFgSNHDvOSE6Wd1doW/wsU6FzlCtQIdsINQ/0t2Im24bFvZpvHAtpo9mxtWAoEkwaxY2wmVeq+1X4R672D6E1DQ6IaX9Q6t3IFPx4B5Q/OTbkS6zwFU8mDvrlAf7diaH9tImneu3fJ8A0tpyusO/ww/JXosdRPkt/shpJ4ptYfvCEL1o9IxsTNk6wMb7/rotBH64Y12pTzWAoE9o8Fw9IeyWzbHsbBp5ATWG9sSRT+SHt8F6szEbhmuRoTiSgZ/NQ1X7PkWzhTXj6qEGEcKCs7EgqXk1vPohEneRtItJg3njh6pKZ1FFRxKkIA9cEiKWfU0v3SkaBl5/8DYZEBJAo4ab48oJJ8JD7QAC20hFr1uZ34n7Xmf6eG3yyJCv2znOWk0LcU8tMYRnWnxuMsQzQcilUO0XYLtBeunnFNWtb49a54NACFZ6NdrLSyb2VuVUQGgC7NucL4kmDTk9VcCQUMBwS/333iw/o7v+lWX/RWLnrjB7/9MwizmCitn2DTzpUUsjNjWe5ST+dFFYtJbrtYq8TM2hUhcKbPuY6f1ODabSqpvw4Tb3UF4lHUjUFnie66MbK7jgEXKF/ho9NZMAecI1eG23enU0nbNtdsZZUpKeRJf+8F5h41XoIg4brCBI95if756E2SSXxdBzI14TXkbWC0XLXib6kOtepO8zVhHQh04/nvGSuvhJIdzT81CJtAkP6yHExQkTBagHSU3f2q57Ao6K2s4ezcLL3xm+VA+0jSMEwarlfi+h4JcspXBqwwvcqkVusdhbtI9Co39OttTzM1J0zx5Pv2Uwfkhoje//LEV6/HBQ031kTgSsRma32PbTSNE6XAfwvkAacMAMQt3PhKw2mDeTVU9uZa5KBCdSYafY8IXdrwIvgQIvE7CFck744OL8vWXK9BAYCKkI5PqpM8LpyTfrhV6EL1HEKX1j0s4AOBmPMzZTX6wRx1c6RaloQ6AujRB85/40WWM6KQngHSTArKYMzAcjqEkxMrbQBIl5I/ifl2x9RL/IgU9CslmQ76Hrqkh4Nflw2DvqrwQxMvOboZ6p4LzAliTDXjwen62AxqPl7wBsT3AJUScNjKH/dhBnP6kDw6NbD2tvU91Kq90db1EIgJ2gnLb7sGH4sRjKsH59N0RCcp6endpizfw64yKxrk25/F07QN9g5MlAbWT3UTCCAxJH/q/ExjJ7WY030BaASot/ANmHcN3jwzV2hlARK9sL7afTcmaQwL82XbMfOCzIy6ljEV5Ja2mcrZkJvD30R5E+0kP2fGTtwmEWcum+733bA2IrbGbelUKKBON0lhXmMAkU6FNuN/8olo6M0Po5c2YnhjrEtlI0WawPV4M08n8k3CBzRxsRVQ7GNOW3xRIF8j6rIlrv0GHMRLAb6/luviqjs0gVlLWbItfiY64b0VQnh24LZoFa0QAKN35N9vS624+9JKA6KkvvhmqDkqH5VY2PrhFRAAZe64UYptzgG7UhY5PYSU63iyZ6c9Xyaz+EeCdXc+Q7/UthKmP/0wGyIMTjpAEcFDMgTp6AS4y/4DhdBHwUzxKL9GdzQxtAsvXeOStCtDpDm014b4E04vkK/nqGt08PAAQtG+Z6XL0hfnVyZSZWJOGbVhPLQAfTKHhO90iveW2dKcuPWJpAJFLzypjCe5LvhYMZKD8wmLtTU3jzuIPyHqP8yUzyK3K70Ah7rjPvL05VoW2v7fEbSZIVX9PrUf/9zhrR1SdNV3CAMqXdaDZ+I3Msq/Sotp+WrX5SN2e+mjCrAVmz2bTzjj4+O7cutRxwvVauKeFNb3/NQVchINnEgDS7XPPsYI4lChga1ns6bs24WQCDgV4wQemj8bH8OjhpKJEZ8ZpJGowxdhfelW+7q+9v/k/KekvGZ4E7EpyG1giCdrbt4XPTGU7kSdxent9XYAx9ABY7FQ7fDhgtyiPNxR5c66aq2fV/6+UvIR4odo92NswGBfNwnqf/IIJfr9YxDbqSw7lM3SWHbLNcZdEdCVKW1dgPPwJ8oam4v5vRR1rn45mZp8lEZXyHx+7jQ8NbT7QojUNNXXxYXvopD0iAehJIGfCv8uP5P/ezHIatopDN7USIcfuBwUjk7W6IDzfruCQcULCU+k6fRqJZIvHBK8FddOCDskjjMpLdiO/Ql9k85sCzEfv0i0KblGdlSJFGPu/25s1yYGGjh3TNrVsDxRbbEaQsF+c+BLLU7hoCaJ0+O6KSF8xRumJ2N7AEz3St+SNL6CJw1neuJW6x/TR6ZZjwqfepLwcaz9+NIvXBdMPpG3GVP6+B1pe8xjcUrl8Rloq7iFzyvmEAglgEJYg7lOAEkcfXr1BA4lZJWmVfxbw7aBcoTUT9JoenSfjDBn50r5tsbd40oVKOb4KzkMvi07RNgye3Kolh7TL2GH88e4KpVEaNoEg6C8VyzL2W3Cker0kmkdkN92laHMbTjjOzFcw6HkE2HmehWHgsib3suPnr9F8qYud1S/LrTpZf9ObmxOaQxJrAOnad+vQ0efDfcOpUDJ41bN6+ui0GcQ67hbXIe0IJ0GhfIG1it47IoqikEbpX1g9jCA1Crc2m/Uy64xSNZy9sxeMV/KNr0XkQaFfgw7e7Pvz4K+b7v571kbHWTalUUmOT2wfFoZm6fp8pR2vYj1DfNSE9UNHKW+b0StmECMwowmr5tTRPvEZFxo6SAXSmiKPl4vXTkuc5Z1fFOD9HgBnP/acRmEM6PbMz2/ZkaBLraYeW6hb4uR/eLtWoaGW6H8D3rVhMdt9H1jaZp+IQ6suEADTkcgceO74MzlQPsX5xmrEJi/szshjlK2skHoj2odwF2FY4A4H5ctD9cOTOewwHxUBGg1WzyCdpFA7IpeXSeraGadGAiv9V+SBlQ84bxjWgkjwVgmRbEi3Q9samRWAMdRn32VCqt6jgkn/EEKm7ZXwxg4MqqqQFjrw744t2R2D8XLZhKcQDrgmLEREDTCMgB1bBv7I+LpbVaqrqDtdLWxYsLa5rBf84Yyo+RMAeg48BFiVaILZmXn+qn1U22jd4NA07UOAmoMaWXm3jW1JjTlj3oMQPPNfin3hSEqpsDVhQUhLML3LfmlyPt4k/t/7O3ooSNgU/cKaAyeXjTkULIJAO6jJ6LDnJxwqJddvTOqqw8Y85FYoYlExK6oxprlfG0+me4Df2tFE8nZd52OF8ih6ASlMPVeIDuTygromLeeu5QGxDDANmkBrv5dRe32bcmQG+xg/p3G7DIqyMYUjtFE8ug3LGPetMLaYBfxVbBjnrnH5KojFor3EBwahJR8z94lKFfVy9T4kSRBfGI6Mxk6mvIrcM/ZBnfjlbzOu+eYdyxOkNmLEwP7dCTsq2QPKh7H934OucgXAOt9g9VWd0d0gulnG4wnHcByzqeA4wMDb8oOwkBdjfBKk1shlnMcLARY/4VjJ4W/Op7PWC1sxD6cZDFPGcU0w1PUIKfCA0cx/9zV+Mcl7FQg8oeb0V0OQtXj/pKgtTLbvCh6Dd+XjCp2B6c89WyPB7o96mWmanmeSULbQqvrgHd8qrS+SUoy00APARIlaGG7nqjV+XMKYRN4aTMqFvgoVCyKVWmAlLEawIWk4GiPl1+aI315cYVRwuIPogpfb588rHvn0W77yNXuea4KxVuSnUxpKPl+kySj+sSpCIHOK/FogSsQJhel23LaIzqDc0bDVrYYaHu1uqkbuGxoRtiwj+FP3MsUCxrQ8cUFqAzKgOPlInTncrh6xs7Fj/8Oh9k7oEiSJodAaEFCK4Nj7yLkL86QNx0bNr4p4xuODlbZDfqoK1ahER9ML20Q0H8jXV9yM/s8DkwCrtXOHQVoOWFcYx46hlvT6S6hYaM7vps1/TVNdDUVRRhkawjE1/Pf0TwL86ACwwUok/ojkAXdrfRpeQwzHiT/w2/hiNJDoJoek+TKPolP9npJvqvXb5Wa6HjbDV+2i51RMYcbXSMZRJqj3HJBVJHD6yHNV/LcZ6X2O2uOLPPdNJ6fi5U6GktPeMK5sFipPQDNnk95cnCxZaxWxCtg0yb8KZmlOab4fdVxV+kNs5PGu/1y0uA1jojrduzLF7zkOjr7pK7jmNg1tNQ2y/L1oORIhN76TH+mSsxEnzxejV3ffm4FIkOCZx0wesCzDyiZtnqpWgq+j4u+Gg+DytSgvAFmCOyRCLGisHqAH7bFQ2TYY76c9ZKwLZsu8/soRILYs4aaD+R6ib2eseINtNz+K2tf7tW5CTjQpAwr+JEfLan39TfY2W9vE0bGgvHdteJNO/kpipC7kUMFiY126cMCC76ribnLazquZ/DX23gbRcL/Fo0sPdkB5j42KLyQTYWd0u7JIr8wNT4XsuEeSFOlfLUJr8byI1dHjN7Crr4P2nP/Jb3ipSNfj8XJp/gRR3YOVq5VeUT6NGdme8kv6eD0VdR3Z3yHYdbi1DNEM+Irlyb9SwF6qxIhM6BERNLG2BBVAZNEf8nV3LBlEvr68IEgWx6NN7hUltR7WIl8R+4Y6Ij6KXQqwgCtop2QmS694HhwobYrPHk5XL9LOUEMWC5FuW68kdHFRYWL93GuRl6S+NYNhaBSND7d/ZHHsRNLXtWJBaL+6LhQti2ycpmPxHKRv3ssOEOX9q8c2CgtbVZ8dNDFzxeAvKY2qEoxyF0PIXacsqzzJ+s3By/WFFPY4HdWaP2UL2UEla1/6JY8Fu+ZVmmf2rPcwhREP0gezLs+7Bmlqt+Kwo6S8q0qhMTVYdys6A4NOBQD9c+sWWEDXsexpj22rC5dDMzdTsOGLzgdWS/mmI7nS7ikPT/h/cCJ3a4VZwrYSRrDWyMjSqRNjDhNXjFho1K8t1vahIag0ViW2c3Ynv90l57pl+oL7Pzx+ak9J2Fh8V0swKyB3p0aRqsG0nhmX+xvWaT7hC0vVgLknz9kWsA7IPfeU+JismJyun83Hb2FaKZmrPe9TnHb/aAegxpGWBHxgB9DtkAU1P00jcC2iGvkn/UXZKdJMZSu68RlIkv2j25b3apDWDT31R2bqo7VaLC0KfTpTNGvKj1QN7LJyzST34+BrepdXGJnf3XhbrXx91oXFuDPbcas4FSX6JLRCnOVSoTTWHXTAB5zvCmsEV/5Rw78iPl+iTE2FVzBwvYhaAql+hl6x3orKnkatUyc2Kwp45vtOgfTZkMy54a8MasAttR8fWCJM59h0B1od1hEmGWUBFN3jFnVOh9MUvkN/v2TVdh0H5q9ISud22tiJTmp/69Fw1COPcxtDbUqKYC+8CYWO+vP06BJz7DnJq36s6pzBCKt0lczSO4bclcUFCICUqFG01z/ZongZsoyiDpGtdqeY+vzMff8lrEk7t6P/3QCLkkjA3Od1rYJdZfm2/TqtYwGFZQ0ClCa/+g8V7V4YakxobDzUptoCe2pOGfk95qqPNYQpGV8Q6OnznvWhypnJ4er53g/M0UHOC9UOBBv4N+IqbyB7rb5PL4cda8TG+UXioxmDjLeJeaF4qZ2j4r7yDsb4DAim/fwgPpRk8VObfb7o9olzmgC3moL0a07LSlvW4OiElCQmWyM4cP1X6gVSX2N7ht0bMKwt8k+1R06DXI/5zPrtYVa5lpK4CebFcr7XogWt2mTWe7mjmBxBujUQdIB7+3BeJiej1eR4PKiead+NCiph45k5ZQhsjBtQo9qe6I3xDLyaS/92nhUZyKYUt5D96DBhj9c+ZVbFOiB6nQB/LGwkqV6fkp1Xg5CZSxnqImaYcGtr+p/Hvc5QuWHt+wOD5Dr1aMpBqkkgtIiEFssjysO+rxAJ5O7alooDjey+62uouryMzhXlN1wV/jIRQrSFHFXnL3wB+LAhUm4POmb023OfKf6Ifhpq+jE81/xUxx/t3XshtYCm/1SrJqedivq3OuYiDDqQ58H4TFH7Q4h8WKvS796aDFDqEo8xhuGDrUTD4m5tVi4Ao7+UnLu62MPm6FZwloucILAG2DUoWYx1eQn5aHodmkmTMv98KcGVVmqUgydPEupBZq9gQLjYqcyvOGnge9nOIPM81Nm3zuj8pLk2EjUTCu3K1n1CaHj7KngY36hx5hpweuzW11kwCuXN6U3fnbvSfqpTPfvC51axCbtXcky+J/uusgPGxACaTcQ88Fx7JY+xOHp8AqpqcyI7KLWwYasZM2STngKMkMF9rnJyysEilxpvBhzYG9zz+dA3tVqM0EfCM1H3e2u2mOfzdHl9OXfWuo3XIQ9+sw8UtdtcwP2yf6Pk+Cup5SUw7aV7FjDS5vprDHfPp5OvUBDDGspNmdSJw62pT6Pl3T5A8SzhOv1x4UdT3Fit1BW6pWHJjHH0O2msLU/fFUMj6Kilxykx+z8tEr2sKQL4BdiMadyqBCTK3RHemAEa6kNmfC4zAcf3TsXcrZs6eLbXFBTBWnA5Fj9edbLL2mkNIyUutgUP22/NxNZagWteB4nTp4xXV17Wbx7AwPGkxiJOXu8H3JPHm2dJ8EOGL4b700JUPutTi/jErrLTWzS7xNc3W8zgMeDGSessajSMu+bVlLf5JdTdxDE87Yzh1XVt8etM0TkLBvXX3r6zDSprXMoWQOyYWk+raxa70j0+C/5ZrpybXX4irQ3c7fUI/Eg+LPLA890ylp++dhNjPhf6lzRwttvxmwhx0KvnYGKGSiqlhYz6/0q0XdoIyUhP2rnuH6xH3VNWdPB6LxFc8gCvEUTm0lfEIWa5i9Nu8Hq4wXTHoFIr1PMlqaCFJl1/lpJdgZN+7QkD1pMyXGRcERJx+WsLTdDrld940dopep+whUmc2ZRnK2vVcc4GLoovRGH25hYsl983217Pq6mP4KAvpZWpj/AEVLwtsM6IHWfv5VeKKQXNFjspoaWNrIXUrhMff1a/DbaRRmG2C9ozSEV3+3+HWCUJpdXk3xEjYbKwo7lQ2ijFty/CFXX1lGtgcMD8R+29n5zpt3J6uAI23mXcvcBWGt0yFCTdYeZhmrnVLvSBD1gmKOJKen29UjIrdz8MN340KbBoFrZZSuU/EuuYvYxzZpkbLYHU7ypuXl1f0IrwKg6XPCuxfwIbbKt8HNcC8gOiiJ3iorT2/BxQsWPRHg8VrvMEeWHo+D4afM44dbaCjur/3TZz2h62VmjzCIiXgn2B4o2VPcAPSdbrGeOMkJNi6Qi2xOAmLDcM9CiIcRddApGv1OQd07B09r2Brq1Ss8UdNeFb52A7lt33Zt5Y/3n2KcjosIknxVRzdcHxvxA1+aZZB2SiZWWCni9/g7NYognczu38GJF2v+P+iMwILrfYwNebHVOrDaLyEqsiFk/xPjuq5SSZ2jvF4njOYOxosdyfTFHjPtKXgQ1kSnS59ARYLC/zZXlJrmWrpEslZ6Chial1EWDmgvOGJrrIxxgwH1rApUd6jWFXgEqYyp9FJh5Cyl/hG3RgRw1WJIP4ulbi+AFaW6nFVT/TQXoWUVBeZvPpnHvMAtKuCmhJt7kjTX4PschTgWDc7//94cuK5K/dtmeF8hxa6KCuPox016s+IXPGbGk7sV7O2YbarBKwbQhZVoCh52xs5mX7LHb7ch5FymaQZlwi8VVDuh4gBIQ+T9tnR0DhHDvoA7bsUtoICOaW5DtgsEPRSnF3NiW9dxMcvGK5Dyq9uZSz8pv1I0aqkVdcaIGuQavOzG74M1q2of0cHlS7ciqzS736EctSHVcU5er3q4Kwesung7OxYC86Oar8UUDyZdzNjzVky88gwSrladb6nhNLew6eEdp1WhVaUHYKEUsIdFLE5eL0vrL0Wd4brP7kUHwlJRCTQTbqY/YvPH3pWXiUI42r0MpfLRePfZt34dqMPM3a1V8dcpPPfgs3RjVJTBq3UV5G5XCXi6qNGlorHosIEnex3BBWxBP9stMEDZFRjG6oOvjBs8+/JsLTzCBM1+bHkcFg5c5HWiUonQ+qRNcwnci5FKlBCTefSJ7YSTe4K3Qc/GA4eax6lxIO1g8vm2gGqEicRkql7yUqHPtYJWpjb6UTP+cWrFCKKN10S5RSAHDTgQjxasFmeWpYFdGLoDcFUKRe/t8lWV1IoN/CoFBs99yAA2QR5ZL4Q2ehqrdtfo90c0qgDOcZNAuzznKU0PU5ktgjL2aY78MQkjMGq9C38ujeJHAoD+9ztYlSQvbOfrmrFaty/NHf1BDOkzL+a23JhcBFBYAFgh4SHmddBo2LC41NxSr1+sM+vc3uifoyUCuW++rNIM1QWIS1MVLsZUjANs9TozYgc5Od5n1LIVQnxDTSoonfv2/KzO4E5SDGkx3gKujFUcpas3joEVb4kVi2iBTTWBucTyzs9dJ58COYg7JsDCPX+uADfqWwXSiipV3L+oqGgLK9zUjwM4QqJMOzYoEXcxkeYA+v+OX7nOHeMHrL29726DRKgqCfSo75o0SWMq/K4jiZf4l1sqkdj21t/a7/5VLtVE5ZuWBnGHqrcIWacSqBDTdtG5nz4fw4rDIR70HdymVs5TnK60yBOsfGS2AccUHMBrXgdXtzZtchFM3Tfq94aVgXSqAP7vG1IBxUMCzsPvt+8lkZ2PCKVguhhn61+qvjG583hoGIgb9yqEtN1Y3N193VDgtsoLVGHNbYnC2byzB9Z0WHs9Jfh5uSgm+pFJ13OcxFm5+BePW0uDO7bKYDVXJinhn1e7w5vKfYr5Y2/GoacFR3lSpSfuFCXR8MtPKc9lWUbNZaoIW/WBgzJG0Ej2lrJdqweH8NGPhvAYnn9b1TF+VEpwi6tjGTwzORmal6m/UK+7YXe8sh9nAMuOsbxiXfl1IF0rsQG39d6T1DWDHzuMwKydsV7SdOQpr/9tngj9OxZ/kPUIJydlwpCCx8laRX6K3MffgWVhan+CgI3a57MmL3R3odTf5YzdDza2XxeyYkpSQcfDFywxV9np/iCS38+UiohbEtsKyszton+TCVylVfMZc6WypYGAC06/A1cLCO1CBJBKGpxtMrtsnTXohUjEZX0DvzrZVXz/Aka43saqhaoMVfr/ig1Q6KaKOlATj8vHzF+FYQdyHDq2wFu8ic14AGrrWiBruJQYx4eKXXfiXO/PF4tivQWWdBjOVUAFuGOabNrs+XHR8h0DpVsgOa2D1rwvtIP8QBWsfipFzR5yHsGBg30vqrPI6jtiOID7QsPGhFXTorsSKdbSIjSN8Y07Y+eKQP0MMdovc24ZEo14BoDU/PUgvpH/sd1SX227ouo9rdWZMv9EWTHEzhqGb40JS2LjanS6OVTNlZuGgAvxwlx12ei8BGsz2DCWpjW07cE2q6Rfu8CC9cHAfKdty0mnKFEsrqAjgMTvjfayD7TxfILVVeGooz/O/RcVlX6oSUMt2NqHuzMeBKVK/hFPAj0B/hOHbTu5Z1wj7lzatbcToNTwKgXtXL704S6cjMfrsubKTsa+aEVGoMfsLa8KNzIVVUxIslXYNW3HchhEzObqMzzXCr8KyIG0qANUIGslJh3BS2eXJpbbc866G+1cd2blGVKo5hJKd1yeQsrLMuwQn4RtdsWlWe/T0oNCTw0fs59AhZjj4m4+GxxJ6NwWuUISrT2vUf5vmfr2qyxt/L3brsbsgnF5BS01s2KRkdV5w82kFZZ/4hBr2ewPBbDjS5xq4FIaiCUmKKRvE3qtfk1lC7CTPsi4nh3R7x6NulaaXn5ddKwTmV9jFQCsPBLyh7YLdKcksKMaV14g6XGTGMbRz0h0knnoOrjJOmNyDZxyU8u18vN0N2D0x+/XOTaltpHnXFu3o0sZ+JwX4Eod5xoMGp1pQYqm0hwIi2fhPgTZ0PtxghTJCf+h/fr1Pz8j8xMUi1XRaY5FeOIIONg0WzhybnMRY4+JA6w/sZT/UXSK/2CxMfIps2EQ7q4Il+2uHPh93x1qnzzh6R5AuanR0VCQeSXnN5fQJA9EpONPsGbH6XipO4Zg8bdtfa43wf7v0n0QDQzItpNFpAiIK1eTNKW/0UMMavQMyADmV5NCaDL7wJrbT7LR26N0Ge0bZH9st/xZyPp6xgoDKnybiGIKOqFKDvriKwoL27YK5BEPCMsk+6qEapBbkggE8xfi6+8J5DkgRK+U+DVqBVZ+70RmqhWrdJbgH5eaao4B3n2yyu8Z3asmvugmp8KI/8qrvtPKNfL+r3GgLYThdVolGbNv2vriVgohVJsJhMHQQiaQ+YgVvQWNFvzrmg7wO3AtsZdD4vkAG4uF3l8dihr0kEX66NJpEDAFVL+NfY76aU+r1TjsQ/ccGw0LTIp0OkgjLxo6lm19dSr3jsQE/qh2vWtR1fAXNxn5fLwqf7HJsrLXzSfhj4V6HADqhGi3nJ0UyP63GUt9ppIZxmmg4UfhuRn4E8tKoPG42qTxPB7TU2pDI11KZ7/lG2Uyme9yVcV1oPDhE9fMf0dRQs0cc4xGmCjBSZBSEKD43eynAzPsY/o/pPmwUfFEQc+6K51sIgk4Eafha1yyM25PugG0iivUsDlH0UczrZj4UCxBNK8dlyKu2bVY4kxh8oxDZgWxydZ/X0iASBz7Rxvf2GIleCNAgcKDMxpqjtodl1ZVUAH08yLf4Mby9YM+lxKuoReKKjFJJ/eRPc+HaCpODPnQTmy5i5Jh4EbIJ4Y9ZAL+EiMu+GfEUJ6IEJe0oLwZt9CfO0srEcAXVUoUCtVVm0MZw2R05R6NZpWERYh2DD0DpmEE1CyvjdtZqm15JL5SLBXRg6LUN7ORusK8aoION8S+LEWRUVqjRjyoRg5yL4zc0zxDMO9UJJdHPDAEuLeM9q5tljWXFhcpTJd1d2nL8fXaYrN8ohm/9c3e9dydYTQSm+hlhjAnwrnMbgHIPsI//43lyjOrugBDYRkKY3DZS774WtnAdUvWuf/XxFfKLAuHdha5jQmehMkbeUXQyQol8+AIK3Lu5iKNxqkMwHsSotgAE3tPZ/+54RVdBiMl4fYM2QcqYYOWIlV9XLt+fdJblqJ5t42ds/L7WuYdnFOWaDZ/MACAr2DeGVqXdRfUdPxWKF3Y+kL2tHQrQMFbNkT92J+RFP3uD1t4ggIHvs9n4TR6YoKSlnau5ojoxltLM2otwGXPtDVqmj3YKZRjHNPqTtHe/Mg/6Dp7PtxY1sXdrDcSEkPwjgb4kRuiR6/KCpLk4aFo+76xax8I1FnOU1/QUODoILgXOm4Vn3goTblmhwbMiB30DcahZTI+kRZ9TMw21uWG+cLR4hzaqFhw4+MQ5uvq32ruWOx6oCr/88qgtwWfT8LDyLt+oSqYDnF6DyN2NiYVHJNly9eQcRLeTSBM6nnRWlHdU2X8ioC2A8QI7/hA4ZF+VgzQlgcMKNDVxPKUTnvP4iPKFtr0T6IGrNLwDK7O5l9+10z7Xjs7lz/Lt95Ce2HB1uVHchoGOZPkZel975wgbIy2t4/32ZQRz2uTXVDXXlzrnn+UHuGxFnaStwsVJz1lwA9fUQD9mbKrAEs5DsHJsdWk2K4tkBjVDn1d08qdtIgm3WPxzwVakGpwpVGU4G65R7u5cD3U1fqKcaaP2ytCsF/dnRTeSZVM8UMHe7YrXO3JKCwOA/n5EG35yU4aXbExJgWTtFLNaqIZqz2bbHG0vx2bvap1+iCnAIyQRFvWJ2eGwcuSys43iC1r820NC7jCtPfcQR4gn6bF22vOy9loRNvZTGsK1gu+jLZ4n1jyMBqpGP5+u/z/n2ZlTu7uUFAncsHOQ1zwuIRMR6DFCHLp6CpCJMUDneXUmgLPaGIaY6kuITvgESoQIZxJ5eyWHWk3qhD/npWfyWgQ5m4+5ab/dBSOBXgbrrGPlYMOYjeE4RSeXwJNsMjA93ks7renn5f2PmoXOGKos7Ko96FnsgRztIUzsjASb7fc3OL/C7chlUnK7ry6Pw7XdX6RZg4SdZzt9u8n2CvSiWJvx4rdpGktPu7N4erO7InnFBwOJjzFrcM9xzoW4z0IGLQIlQ3iDlRM6j9SrnOhAyBgLQJZbjZQYNwU174JlZ+31X02/ZHq0TNq2KIaLZZz3cYHWtsJfFpjTC//8GcpSFO6+m3khCIYGYKs6BLHuwrFYc9SeDE345vAq/Q/RTDlvK4ZPnlKNl0Lm6D9sp1o3YsuE7n4ljOdQrME/qirlQUT0CNH8FlWjT0r/+EgdIFxwmEUyKGXSftCPhVXzbGD3znkX6dbRu7FKs58oCh4x2iVxKAyB7WMLUXFbX80pro3VVbGngUAWS+94BrU58pRImu1lwKVIp172KDgv/0GIjCutPxlrzzDdsrUawaKuzz7cCh05645oZWsg8296EGIUDOy3cbIuzHqKSzKT55TnkAhAXJN+96SI9gR8rAIdrEEHXTzWrLo8Hs24VZ3BjrAs3hafwjBhBRu0PbUkas6SnwCdE/k8cNpyeJh7GGNJtY3nJn50r1PqiCyxRvaF65zuxFb/PSkoJzRXV32XZQG050Phu7XgAeLi58pVMr4wmjUCBAiLvza+jMxZrTYcYl1dOePooBMYGDrowTwE5ozbZQjT5h9e+Rvoak3YB8SR4TEyDXdFGvZUpciGdFfQo2mXm61nLzBOc1DoKyhO/vOsFmCHHEuDMLLySZuifkcDS9cAr0bfWlUmNdmaqZGr9J2sIfRHZPQX7Orzu4kPv3nhS8hf4cvKNO27z+d5n2GYG7mi3yUcOE2TI+fd1lVfmjppopnq8YZu1SYDiscsTkIWl3UsZtGsAVWEUcU6GfDgXM09bmUZHch8t0b4wl5BiR6JrUKpugI1j4fkReriE7J+4MU+AmWoKGfnDehcPqpcsMU3DYPnyx9X+jR06OJ9HyG1PyWffstxrKdCFgu6Ii+7imgOZcno/1ebQKaj27FqqTsueczFG9KPUtVucHmsJRHWLEqyLf8DN6TCh1NXLPtoBV/8bzBREIlMkehUvy4MhrDaR9fygBjq1ygEYUP0cmTqKil7CNMzctNYW719yriMvnZyxaOznfLdzRfaX+bH5dZrn1THjVbfHbngpGziJtr6yCZ9aNrKhxMzh8zgFyyT5zoG1VWzAMDwoVzICELesdIyo8xJFNCTq03wnLXFUcQ2gvNEIQCwfH83EkAlXm6TnIQUBEfOPBWv6CO6n6HUl/gaxjp7GtieMMeLuwO/v6b5jPSNNYkrL1RPAB2P3eUSoSjdvy07Bp08KSzeSS5U+yTV7G4xSQCHFPUF2vkYhp/h9TWj23IBZKeSGqtGJvYCeR8+e3pFdMSbPpQogS02bV3C3TMDPcMraIWAZ4/3o6cVWNEMfzDQyOC/E8jXK2tbHTKUZv8f4kppEfyPJ217Aeo+S2Tc1aRRsBmptxgj/KC1BIYELjLiaofX0HBPBpUm2jshhQOnuKOpsqMKK8V4Psbeeq1K8JTBu6TLJzyAFWCDUvPVD5NYZ0IWtnYCb3G/xsZkT8A12lf6IWkDXJfFjFTqMVrty9Gjec+y6mlIK26x0ve6uFSVlD+cQ2vMlMTSmDF6qO1Bgov6pCiNezKSR47FaqI5zeHeYqEhfa3uwYJd305EZrv5FrYbmDH2Q3hrWuGewP/2C3l9b3Uqd77rDUwFjyfXlVGQNKvTD7mUFCbMek7Z5gqf1H3erzFKg5qZceAppIbO6eIZeUXKfN7lLzmPY+DgcQVjgvVnsoOHngpn9EkONAMdUQn82CgBIV1msuw9YPY2UoHmoAWA1PmnsTuXniyd+9YWiP+41EaT73Ecp6HlF5Ghcq8t0kUC/7SOT1EEufZhiPET9a+EE47W9aAb4tzuXN2srruPcgAHLtvTdsyXuCDfmf7LvYFsfr38TbNVGJB6pEAaLRYRve3w8pWNhig5vGQNYWqifjPdeOfpwKKEMv/JX5CEEBbT6IFI7aTyZBfzAir3NC53U/Sn+4kDJuoQKdc5oFeJ5BBtx9PmZCu4gpSAmNhi3ffn1Mscz37mMc4yoVzanyZtr1/0Vd0+dp7yHAL3wMRVWL/bC8zo+MB/0t3ZPyrGGwevr4smd9HGi3Zs867XJsLYlYMWtmqqf3ZJl6xgDwYXyXPC1v4BiYXRTM++rdElaCdQUYZSAX5We+vyYOlaUZAu+VD/AR+6Llcpq90a1Hdf9zsVslh/ADMzy5a3cFO7rkcAU/1J2sRP0kt/Pww4RG96baczIDll1aPOxwe7DSp2RILvzHHeYPu7a+HroUt1x0aSMUYOZjKu/Ib/OKBA4cnwmVsJBWXCxuO71W+6Lww9Rd/i9q5ywgbcOls3YFoBTqcnF3mjlfpsZe/MyG/6chGgGHvUZ24iF7QLikUOQCNVrOd7T+7AX7iWa8t4D77UO1khC9Mj33txMBSI/kLq0UW+XOrNJaXy8XDSVdVbVY8CU0pK3qyKEQYlcXSO/1Rg/6D/OQ1u5dj46J33l1oSJLgZW8Kw9i4PM46I3qMzVUS8MjgLeCk3zn869oZvPz6A+fryiQXA1KZAzNbA/G9nWupXH4SSRJy0MOOW+3V+mXt/oF/eTY7KVboFaEMU3yO0HnqZSQBih7rh8fY2/6ti6S1QoEB83sYR08jFdHoaxLngUNT6G6M5XoXGAQRlgwK8t7V5nLgUIqQ66IXzK4+op1BcFnY1/ZLvCmuBv+RDlXENuCgGiJhc2cRFoQSbQjswhBLsARjZAZuhWWZ0Ax9OCnWb2T3GKXhI+4YdSlo5Ey4OKOZJ9yShWP+RJMG+IN6daxQdEYDJxWxXvqdRevOrtcb+hdOHXI1QUOU3E0uxKmMmkVwgbXbZbzzK/3EcXtbiH47uN/qeHHkM/T/u0m372Tt1gPCJfErUKzlcLgQBPbmmUnCsldxj+KCiCDkAwcdu9Pc0SjQXQNUQ+VC0xEaavXdRimv94P05A3PHajNHb/wlOw8Mb4pYsK3g6Ny9Hxf6yv7VNjWCEsRX4PRRMXNkk9o/Wan/F/Sa+aLhDJ3aBWq0Uf6ZVsGJeGZnN4x1JOjiuMri9co2Oh8f8ZMduCnofjwqOKlLUm/tc9tdM3A4GvSeXLKELaysyU7Ngr5YLLNlXLf4sxvHL5g0jhJ1XgwImD5shhKePXtwe6ECwKvIhMJwVL1OPnOyPceyPYnrYwqBKYZO7xkuxWefGt0WdHkXweAyj9OcswySHx7rjG/ZyifP61g795IjMlvSR/wYE5MoD0kPA7N5mQ+RaCVJHqcPpc+GSdFIEcKqvkyxLPv2ghlD+hhtR65FPjlBoMrfdAWypBsHRbzkyTY6B3M2N+5cfAVTBa35MFheE6WM5UVqpyfbkO21aPvgILnJWnRwrp2V3GxsYmuuzVXrWgchgT4ULIxP9LSjJSW/ERriD8EpCNoOb6sh/E/wRsV/BEb/Ho4sxZRgpdMn31EKRlIiHTVU3cFnmCBdCs5XFv1BATCdkO05U7EJ87D4Nj+6fQooqmNlj50OQ/0Oy7nQoWNOPzxobhpHYibrIonF/Ka2S/HnQdjeG+oxgxfMRTpqLsykM71+xJiUdII9w9du5S6on6tUFNvx+bZ9E83NGBHD5yUD3wjdeKNsziBZsNkh1pondVxI7vaEvSyyG69r4M3fZT0tJZKMcQLZDpQmkX+69boQgFjQp+N+JzqDAPxp/igMDGCAkCpilthYmZVv3pErf40iO8qbOj0vJ0nkzvcNb/Rk7PztISn5YZk9cqOP/p7AIvORjX6dH3m775KTb7/HUSAFy7YNwnUU4xQiZXfmvKwADveP5K2sxC4d7YTf6p+Y7ubuqOBkO4aH9CdXQ5SqecvU/h50WNRLr3EMSiXCJhr7W1VZNDP+bvw932b2zLY6WMhtJGKmCPtwiWrqZl4TSoeA+aTTnekLwzXstfxSl/xIJI3Ed9nBj4TkIdG4cP2yT8rcr6FY4USW6USu3lScRtoZ6ghCagUjVUh3Eay9PfoPCoKuW38lh8ty2CGF8mtgrIcFY9EHXlBu65MJ84gtzRv87+qMStes4+E7b0Cv2CdJPqy/81VjTivmdJvV7Rx3i5UQH0CUlZ9dPovptfwIz2cxF9WRlrPVJg3+CwymvPV0SWD6tvgjQbl2fSGx89alVpMNZdtGlbRu3pqFth4DAo6PfPXL+oPYbvCZZRSSNLtSqH7mxtpkFD9Fc9CyWLu253TmzU4UHFTgYPJWifCZwfZ/j3Rkfkt0EFjj4joHotTVMLqW9MSKY1V+FXoxcSnEv9WCT21L8lY0NeBd6BrWsbdsBnkDRIID8WSGQ4sfZI2X62jHHAM2V+gku8i3bwjxF8FCbS4jZ4D0S8zEXwJwUOE3NICeWWbTjtt27YJ72dn0wIo2LXvocYowphEcT69O3yO2go+9yz/9SJH0V2+LIdaf9hoQA3XEllzNQ1AYMFdNP502QFuosk0ZCb4vbW9iWHh2uX3qk9wvyrF3mAfOyhxORGcsCl5MBF91t/SNQN86bkIOhROencp3aF01ncwQd/hEX5LXig4ctUm5gzRz4I0mkc/KGWSDp7A+atyDGTAkFQWUOLu9Y6KtIeITkMqBmai0dR/ltYwm8C6iWjR+ma10aMkUByCaLX3Ln1301yyQp5tQ5pwbiB83aJPgX7aHpmQnQPm1Urw49SCWMWXoDOYopk6abgguQCYw0XQVTGm1Y4wOdP/gYBTs2yQzhthkqRgReC+RjGpH4ed+EC5S3EXrYZaKOtBBgo00AwEw3ENCo/Z6aMXDBS7ipSBE+C0K3fdeWhoxlghKYLKOJR6579aqcMy3ueag5BL5WFWF/19lSG/CtaZD7UuFCMmN+YUszd9Tg5Ul6slquApKZIS89a7OITdJFnkvZHNycAVMmrt3uVLbNQlPvbaYAnppF9UuVaLySroIhsRXVenNi6bHMKD7nZwsHMPlNzt1bt4PW3M4WByIBZkA6+G4Z85/POFmNqNCHBMpfCg2T+NWG7ToHWO2uV/hyW5sw9elPobpDW+eYLH57o1kJ7BZNxTnVpcKjPK9xVyO8XIJCykpHd6RHNwz7ezP8oPX61nlPr7rSwqtMNaaqs8/l+AHldL1jhFsksCYftxiIVOQREpwKmicLtfmGrgU3nQmlFAKZgUCrgJquApigQXJCU9FxYP0huwOtBux2cQEzw3RH3TK8r6JCRlT94kZCGvnSTMkwMJaJLoukLkaO73FtuuQjtAjmDL7dGKavSU2gGX6sdGQGj9Ki6ZouKf/gu+hxUJAwg7+7dzAxxx6L2ppbLyjo3GUCJLJvXYSAiXcqZLnTagRiMBqiDVUd6N63mAef9rs0Gzmqn3s7fSEYuaeUaN+Gp6+wGoET6ELch/oH+ozfOjkGoPXNdN0uGfeQohVdXExN8TKEDVmwSnhqZJqF1o21jfk3D18JItt1Lc/QjnY8FdOGJoudVWIIQKGTl5KieE/njlozwuDkSidknXOvc3KDLjhK9ivbr57N/OEfNjEiA7DBd6yAXM5eVUXg3/K32IyrzDssteHIE9v+fc+h3WV5IWknhuEp8rsoCeFrFxNXb03sMVP/GzipU5GBpZyAtWDSzGVqhVU9F3k3Q6I+zd30GM7WF+JC3sZZSeoYcFPuAJJQMSUcFQASlXmCwCwl/Z9U9aw/hDcL7UpXdrUb7jKGSJwR/6Jp7/VLNJoF1fVyvgohs1HiaQq+4mFjm7v5DwiQHvf9uJIE0UzsMHEZwNTA9rnoTonCf+dsfx4BLiJQzsWB/fiKDMMh2xTYEy3gIRPFqQLbVQyXgiZKEE0PHba2yYcduQdpAuqYwnpmzN9nZTF9aO0kHpDoNZeXz0VuvAZsP6xGsG7Q0GdhnXXVrR8XlB8avZNoZFr3DT3NSP4Td4W7ACEFnTKgNB2FxgzkvWQW5Fldu1qcrAjqj4NJLcvPt3o46N2ehgUbfxdmCylsFfxUEbOY+U/HV/mlcoYeIprsDwcOIpwnPUsrBtKDSQsIDGPN216t/RMf3lN7dcS3Ahgtj5YZVoQILBeUvRRU5CKRdcA5rjTxKQPwgbkZfn+mbVDytvWIDTxV7pVPrlb/tbXKAbxYDuMZJO8mttjp3JAFoumwtbKyUhPEdFy9ocKwYgI9OBPQ6CHHUTON08LJ7tnlwaJbnb2ECD9bAmkGczw0KTCbPZMVmQbRumDwoIs95L91L5c7hqQEq/bLjZiM5A79kSN1hw+IpWuEa1lUKf9z2/PKBWUzE4Q6wy1PxqPfoDqEtQT9BH/A/l55gJEimc92Pku6JW8Rh/QDXKpGD7KzNmSWt1HQRmj1qUSk5DOfVqlC3XVp8kkEyhC+fpRrq2/dJ9W0fnnqYv9H2MY9illnUCcxls+UGZJmen5eYWrXSzXKeWioPAx17VbY6h2hSjNWpKO4vODIl5HV7AM4OPCQd7gbkK7qw1gtAnh9HLUxUkBEUyV3IQRrUydL1Cpp91ZFhpohGNdhe/uHT7+Dv5adjrF2GYPXuHushFunXGrv7dEVUNBQG0SYf8HaaY3lJJIwXD6hfmyUSWMsxzkS6PHLoFybFYos9IyS5Wo/WS4u3BkED9tNOdzHql+cmOmaKYKr4WsbYlyGAO3CjBmEeP25rA8o4LyKMuM+uyEUlRisT0h18068UpCmVCtvhMyBctBlqByoTJN7jaXIx/l6BI9GkmNqwKC9dTPOd8/tHMMZ8a90jNcvi8UP9QVhyEKkKcP5Dh1h0Iel+Pf2uhFawhpwgBrNKzBzyv0ta3xuTxRaBm1jP96+MwIJLeQG+QPcg+cm6YMfMH/jX8HYQLcdWQzPLmAYur9TGBchwX/2OrBMPJLEQ+iiyhD6shvmAJFzNvf9w3/p6Xz2Fom399KXChNtdUVXKZmFdOh5JxcBrv1VKn+HWoYp7BDpx3wDKa9aTT7rFVYsK8HMyZtX6SMyyMnneooBoPsBJtWbM0jhp6jobpZfHb4q32oxykLLKvgDzrOGCZjdiFyyONECYHjf9mi7IDqld67iLITnKbY8Nudb6yE+YQ9IVICor5RDh7NF53JdvVLGe/XGhy88OCyJV2NG/ztYbaKzynVHflszx2Gdt8sQYiF9W44C7V+/vFWlT3s54r99jAlaJf33fPIXlHg75T3Zc0BkhS9QlLp3X0w43AeosHI+bEp/c+DDgP36fBRe89KOmpJGCrFPqRxzbO//78sGnYqWy+zZKT1LiVYfPSnpKBi0usWJQ+2wFV7RupJjU4R16POGHZdc5I5zeqIYeSKlpg7W4NMAReDu3uFxIug5lAIUeVlixGIS8B8/CGr5q+nDGBMWpYszYAVQZBdoMeNQMyDSQJIKAQOElGSbdyBp8U15BCibule9wPaicWBT6h2wvw8UNMYnGrE582Ltj5PvFfjMcn0WcRnbPCuUd+oFhI71A8v81PvUi3VTAXf3gNnWapOQakc/88lXRBqk69/O+5RMXj9eLW3Bwl1K/Y4LhyeFvsKLDdX9fiYwu2AtYG0FrBXOVRg7vPgoH6a1bEvk2x7ek6u9twIZKWu96BMEOx48C4HZNOupPPkevBUjRhs/Sj2OCDXK6ODRY14GSF8t3H1W449/7299i7ob/lIHXY4JoOB/jK9i44ebKa1b7ccjlF1JI2WrApLWrsp/vCp88OyHKo6oXn+e6yI4UcMdJo51nOKuxwdSw0Xfvkjbuuy/bMknIiCtbSPaEO0FhK3/pPw3TYs3mB56CKqHgpACS80C8tdgynXRh8ZJ3aO5v7v+W6YeEwpCYmUV5oLU3WKqtABIES6VvUGZfb0qPWRF+XIqND3q0zgsQ5DtK7ImnbM536PjbpiHqbImc7WKO28re4QRzd5by3AWXnIVYhRoYwFN+EpLHrXdtM8i08awZPMdrEfRxbp1VwivuNGzQtqTxwYAZAg9L3FnBnGyICKWoUlyeDRuDS0EVYze/83jbkP+Qi90IrmkWoOM6PZHAFpfYVfle4NuEpHqPJIKZl3nnrS1ga31gMCqXIgrICbLsAI18bkwdVHHrjm6MN24k2iEeJkukKv0cbgUQYSmvrXVTccqgvjHoMDFxYDXF7B2ettVXkAlnUSE7SJhj49+/Zx3hxGORTdaASyvF1g7RJxaKoYSlGjWQoq/zXUy6H9aUi2BWxEmUjoFuogwMggDWXmv2PllycWI3cyEmNS+Zncfc5TWpleCbZacshA4LucQlUm9yIhrz3oKNywY5ifUi3PeTr+2GQyv+5fZIVyTX3/8CFxSn2f34MEIH0D004UoVqu4QBPkt7MowgCHSkvbKq79Osy4nc8XNzZq/vu7tYqBods5a+sDyZhLR/tsyF/XBaXRGj6NwzriaMCofWS8ONBy8ZG1jBkjg5yofvsQvI8hf6JsxByVqJM/JFYnEYBpBdqehjeVVe8BkT+DDYQpA8tiMpXsLcie4lYpQ5TbNP/p1uKP2ULkgN/Qa3YekM7dkNHhm3LcJQNSIZIHCd0QRk/91aY7X3l86XfmK78Q9sJ6O+1cZwRDirdTWW8Tc0cdDGeg/jn241k+MXtcRHZF75fdvF2VpgUbAm22yDU7KMSGXgZJVCoQodfVh97HEoOiQQsm+9SA9FZfXMof9Pb6UEg+zlvP1TZdakASAunHYJaaRFf5OYHRRCNw9e7bFOIE1PVeWU8a48h/5BDyvSkbqXHTK9zRKNmz/D6C66HM8cBQjQ2/E1oebbQATJX7rYI8dIkzKGOB9g1isKMr2OYw+ZJ2mbWsD7Pb9FJWF1oEQRtWTPMY91ehiGUqAlweyzC7TIQtEk7LP+ga5n0o+OB/rcyj+d2brMrwOgvg+ecsVnhgvBRAtjRyIPe1NXNzCh0AiZi5VlX/l2t4nuErkwQ+L6BHS8E0A6UPcXQF8wMDxjYoNlc/T+QQ8UC+9KSuRy3mqENzVm5K/lQfYD0NtQAZVqPR/GpcGL0dJFvCadbPqqJF3q/BcZJDsiGKg4dvjQ9UMVgZ0hbbYqSDf7t/NNt7EouA0yD9/vboG2bbZfJaAYVTb1CnDjgnUu/dcN/UTKsnamdzQk2c5uhLCoZNRBovuKHCNX5x/rK7715wfym2e8HVll+URh2n1Fn5i2fxd1AQDLg8oHpmatPusP5BeGvNsP/gRcVkCivqh3+GYJ5RppOyUdIPQtgjjS5ekNsVKAO2Ba1uenOQiXHQcOhLPWsmnNNHq7Z0+uYNvee0cvZhR4RTUvDvWE9AfxBPGTRyMDrlIWQhWYJmRUKWX11KTfjjLXV3K3g1GTBh7X23x6OejInNXk9EqTSPcGk9TM1EW2y/Me4Ow2giozNVq6Mav6w0SVgf8yFBC1S0D5n0pG7e3ibSAfDp414RpL0G5ewDbm85y2xjy4S64k9siK7kUV7S77u8f8//+jCSClyzt0uy+jrDEHo1/EbuCzgwgK7/LYCAtvnkzmR35IkveB6k0A+R/HjVB5Ei59zzCKLPY4E6K3ira4p1b8WUy/MdHM2Slvjw9hjfhmRIc/yrfwB3uXA0xM27ohscKnOslnShTWgIciY+D7/tg4LMlAogt1bAkmNkBCO3volgib5LMQR9VHx8mZBmrxnA1JXzZ46jy3M76Lf6AbbNAvzGEBgj62Yn1Jl2y1rIGEVqE8w6E/HfrndjemUxfPvn0cophDEbc3v9p/Z6s8Tgwt0SzHUig/2cv5PY+c+/VPyFuU5hwgUOiOcjNgYgRlSFo4Zzf2PUHv8chIcrz+1ekpDvtgActWpPTY9ktwMw11TE4nU+xgrAnSfmcmKYkf393ETTBf3kyGw2Y9cn+LimYGwtcS+GlLVByd4LFFuDDIrgeIliZ5BSDoQPRSOO63OcbIKrkp5Q0oAaZg4fkfaGjUFHJNax/GAx58tp0IWRR6bVEqy7a+B7Ro++r42fZodpVtLkK8qTLYejctid+GixPL54Sjcg6ivnTKvHvJW4ujqXzXM1WMo8Kq/ht+F5hSVx2RwrARSRyJpD/DfTaX/u2ToLGY/RBGLtmvXvn2kop4T8R/0VMpuNqotAQUffSTYgwE2lHCIrxVxjMVVtzIEbN6cL05JPROxrlIEdt94Fm0bTRNpLLvO3Nv0AD4lARBSK+fXj5sEaL5qQlWXP4MPGex8Ie5xpWV3SkM8GvLLqfaDAgYjz9gF5jmhnMZgiCQ5pIPQhITpVbNlhlvD2h/FmzRxUB3yKl8PMo33dVSDdsvyZkiyVNo8KAbAA9yg616grgxh/CpuhyDgG/FK3uj+g7c9bTWhR5WLmRwcs4ANxIyJ3R1IMNE+4c/Uov7g3T5PAW1LpwiXsyqeCUHBEXEvSQaw6g273PlOEC6M0OjUlQbrS96P9BxEIsqoC3CP048DM9ujX2SBVatdisPiLPBovPV6UYKBqCMiyeimiwoUMXjov10yQA1JGFERDRwPONX5UFHFBNwMGM1AlEUuVk/xZUL6/nB8syasqURlCLTt1KiRXpsl4HtnlNP9gmrEee8neK+Weg5AoIqqX9gjQ+6atPvEkjJgvzdbGJenXi12LCkSxJFGNzNVB1E/kraucJXs83w363B72pdvjxWveKfnkSf8cBzXT/G4RVXK3Uy9qeZotvlGhXNHw6F0F2RCc0XKv/ePFx7+5Bkvj1ow8nDx1n8COb0flixI2RUe2SF78KYpOKXnZbpSYhZQ6NgYqo5CWDrNUGqCuXXjHX/xw0QIAmwp1bNsrGpW6Nw8jQ7cR7mRfwFzAZXkwmrNZJYDyA9IrqJPnC5vwrVSCNXHJVn7QYYmTCA/xd/CLH4UuIt13HKEJdWveDUevKo7Sm5LIc9SfcyXHZ2TieNGGvBuMdT6Rb5s3PUKM6dLgjc0x9BYkGPqLIpXuMN7tO2fx2d3PSgpYa49eH27jA9CB0bflNjL/YlkyPZuBGVsJFaz2Q/Ejx4YMFY6xZiqP18Rec6Gu1yM+eVfsb81XeG8WuVUgr/yGespDX4y6b6HZdIE3cLNVmUVCzl3R9euD3hpph+wpUM/g2keFRp15YCT4fBDF/t6rq70sOJOW2xOBI4uNzsTCjajgMaKI2V+wshsyVIMjEKYhxXThDYIuoSthkXGf75PESCmsAPfMpvuW1LnbrR9bVIQn9X3kYPXEWo9NwgfIzXTpNHd16OaFJWX3CG4LI9A5EPBzSbZStqG8mSNSJTV6vnzoodXPaXgQgb6y2HDgHvLZDsgCwQkege0Prp/qS+HwNQa6qNB1v1E+ae8VUgyiFA582UpAdzky/GG3xdAKxD8YGx1jKg/JIp8FJzf6q8TRasja8I+zxyqmDX18Kmit6itD+RsE/M6tM4LTrVx2FEdo1042XSu3DUb0Du3Qy0hrBM8RhXdSIw7QsHw97J9pyUDo++9AV1BZSvdSk/XUn8taExAiDos2v5s8Mb1W8k3LSffb1xgsObIvObdun+GoCx4SNCYQ/17mAYkTZJ0kVKZyUJdiQJ1XSQyi8OOFaiAVU7p6pMwH5J907zt+FKuqpo/WpYlr/ZJnu9NMVddc14GTX3SgxswonGOSSwNVBqA9lttqqhBgtI0lH7ghx6wc6vg3C4GMOuaxNLziX/GZ9QY1+dSpTQVqo1ot0gGaQamYhH98wPU3zeb525X/eENARE8seUj3tfKUrULrX+JneWEAPgoY5HAVeC217oJmXsyBT47ARfzQJY8kDMwqJQxMgiz68ZihZW83m70qexkdbAjZimrbp+dR34eUlY93TInVLhw9GxFtBlv0e0YjfMTUB1fhvWMR8PhO7uwVuSA+2Q72unyMhbSAjM+JRzKi7f/v5JjITeSWtmXYaL9urPhuOZxiyrn0JZjiwmWaQG+eeRDZmxCLLm4iweRqkkA1alC7b6asv+LkUSlJasSnYiGTjWp8b3BWUj0chynDeVQtbiA13I5zdpcB9QxEgkJ7wwRaeLgBe+2oG24PuCYfNfcHf/xfgVSpmW0VVd0jaRkKtWWW1KgKj1oCpdKi3dx9+9b3Ol2uZF0enY+J8Eu8l5IZmY2HlDQW8xj7SmoY4w4ImEEL1sWrxpZhHswQ7kwPCKonWtDSJnsobh3sXM4My58NomhIYw6sh529GM27lSp2Nisa6/o3ev2gDlF3wLMaSpIjZYfGMQfWreSiwB1HXOBxXjAigG4gDb+5HAU7YDWMfPoDsITrU6V4KCQgAvaCMT9bj973rwZyXT6HAXr2Xuuu/eCCLnGwM7O0btBO6UGs5EAlASXx7dUNZWbVzklpPfxG9SioozHYmV5f1vikILVo7wMzIhaSrzEeZzVpN/7zp7sm93f/IuU6Va4/352iR39oLmyhlEymURJx64zWgFi/FVjyoC3nd2nNAA4aPjZkpYokuUyBt2JkZmYIdG5VvJWLyk3ZGzH3fWcem+2yfVun9Ux/baU90WCyCf80QvJWK1Va14bLNuAIbngqqZavtbzt+ojxhiUHVHssVKj+T5ZMwg5zwN8bNX5drgaWSU2CDUmP1fs009hT5eX8l2JO1HwY149vQNId6jA9qmJV3c/IdtDjgjNTp3aKwrUSU6B0S8M3JGzp8nPgeJ/DijegftDpTiNMKGBJk1adl+4Q//pqiF2rhQAbRzfkplkh3XT+U5PVxVs06TIVNAnKron8ahHzzdMrWu+8wlMGzwMMqDUCARnuie4Qv7YIjp3s1eiFRy5BhxoU2BirK25/llBammJ90n6gEXYqZRbqF9NjRBZjyc/5/seX8/gWsYCsGO03ViP1q3JAY8vZIHainhZ8kSlo4YZZD5omL84owwoKI6krejbFaTsYxDdRHVrfmzxJv9/5gDvhzuFJG2emELCYzVo62cJqp95l+UXwC56vbW8OGVQO+4uYN1nKJILpG99ovurFeH2VRYXaGudA2y2tkBObfFmPXAifIOBX+y0zo0SzhLLJ9bRe4UuK1L/UNNwgGe4sGyJfCEerX5YRpiqMD9SbR6jg3X5dNOUYFzbafgHJv1gpSvpByTMPL+pfEsTDXAsQEu8s6dVWH9JPL1ooeIBSC07f+qQOqKt6Cc1Ecjf/PMyKXeEyPQLkxV8lPmHgxsgFWMKjlJ5LfYrXdJDdoRvlJUCW5gvbKG5bkuNNSzpuaXir28yQrd8hTp2fadP/boplee5BxDBqoyEChf51nCjDrW6K3Alw+JyxjiWEtGJ4rXZ2mdYxZ+7DhDzp3JVuw7plKLydU4dua9foQ+H0IudbqT8a2hehrYX7UYONA6amQJaLkpRrS8VHPHeUhntKcZ2MXTrn06Tbv+3Zo5R/YOa1PpMTXQlYeJv1WIx4z4FTlvjILkcVUt75wqRcHAq5c7+AfS15SWJ76POkWXgaUsJp1bSYvIx2G6QGImu2cPbPKZxrax8KkBhwvyxy6PsC0kALzoPqO8FETTjCsTIuT4CeQzo7AeIY0tS/OXNt2Oh/6FJa+v+6OknEXgrR2ooUMzou7e1gPJicdDk3g9LN2X6jKPl8TTeZpHw+EZAKE1r0RT+UJbk9QCdGjEwAa3jcOMBbZEV4lTxG+pYWCdH5IsZh+h8xDcu7fCCk6lwfOWmc19Ju71fniiD4U5D1bkmzvpa1RArswpLM3nxlw0egIbOYQTWUdd9cHXli/j0OTO5YQ60eTCRBR5z/jyGE8TKNs/7apIjM5AKXlRpRd2Hm3FBnqjn3BsOIjBSSHhFi+sqUXkeDV9mhWSSxQF6awMpLPGupTQ8u8tqvmC2tDRGAnXtjU4PbVBLh6eQmxjG5mpYMgfg9ZmdCPT4+GqmhUVgwsMeAVy1z6N6WkLi5KwtV3pHZt55T10TIovGfI0SbzOaa1BCBoeu8mM97A1Mg7yHSOiK87UHhXc4cv58vXiaV0u2s+izPHG/iyx9p+/1Tduhoxp8UYtY0QZ05Bw1URgMdUBbYzOoCR6rr3lY9qM5LxldY1qmQHwE+QklIetU7tl+rlYhHSy28fCyIYln859JrxePKIpgr7RZaPxKIbc1oASlkOLxhabyOr+QFWj+VHYUgg3CQYa8L8MOr9vY0sXeQiGxTplCKXhjP7u38Eqk7ZpXF+wHi2wSnjFnU8VG+yzBmp2M76KSd+m3GGb35Q9UyHz/ugSmGHzk+Ey7QiqGFlTXVdQdUm0GKP7BmyDZ7+uL41J6FS7Kd1MZFqsAmDfMG+tsdD702Yci8r1hyTEbZfWEokCd26J3dfh3ZSOf1fMufA2EeRVRCTVNcmQylqBEqTcmrSPbitDYB+zY9/lLQ5Cv9ugosvrBNu4PjGzpPMD3cIz5eSWoyN0tPKw4STc/foDVHAqGiw2QvE7Q+5iKiObDCL7tdlyG1qV9RC7PRaMBdjxoyYj3ojJINi5LhENVE+gdyktfa5nY7p+JFsJVleIfvIa15QneNJ2MMBzHT53WXkIhH31v+nmZhcLTNj8dmK+Q2LrL2+jynD15hBuIvJTkFDfpLsIvJZJyqwc0yPf15P451p49caCmEvyGiowR/+uDIcu63jxMlZCBLVmANSKDLM1u0JuS+lnvTLt22YsUWBdERhdTzZyyRtgZe0BgY8n08Nsm1C0239cg64AqV/44empah5MBtg1Qyfvpg54XEkFsOvdMra7ZMhY87rjSpS/u0Emasct2EtusxXkwA3mzgfrIloNa7b3pzuH1IRqTO9nguG2tq/7mc5+MEkFY3fO6MonHKO5Xm4pEp4Hnx2YsY9i8U9cKYYAcP8TdIf6W0BU6r4mlkazeXsNnDFBPLVXNSu4gfhubWPQWZIJgEWHP0cOlS7gBO8pTMXth3LbzLwMGdOT8H3M47xMihwD11ZCMGPvWzzR/vpfqtqg+5zLu9Sx6mw0pdxXJM1tTZIdwejK+2z/uJt7I8JgZx+YpSxkkwKx9B1fQsZL/zAuBQeEggGhw76/iamDXJSI//5RYqsMWzISKRxvA1X3ovQWWJBZlsMeNxhTKsHeg1gWqqQZtrQUw+Kgyg7FZKVoX9l7Eqwvy0CBNNckBpWrRc1Hc8AGpxxHVs1B3ftTFP5QwC+ZX5cgNxVEaUFYkjw6vDns5ZWgjKrBXNqkg9m1pWfZY7x+F2TI80mESs0+6FQgpKMAzT/0Zbe7BXbgMVrl/d2l3Um/aDUSngJri2lpHmKF5BP+LHlQ6T+BWOlq8zj4Ar9quiga5KOtACtTcEUS2STmUSZ9uvLbWZqp8Hn2IhN4/GUNOLNEHgf/f0K8zI3kukb3AMAlF6vZr0aTayTg6w11fLA09riGFmRwu4BD3jZhrH6VI1dA6GjMTuSX7rLSpq069JdQBTbPss4UySv2SFu1GHX/H+RsI0mLONSjXJasnex86W8sKheeoxFbheYdN/lt9PFT23bLTyYFS5MzWAGoRKgnfrp7pu+MwmLv+h87/iTxwfDdiCYa3kxZ6f076zNvSfniM7NYO6hnANUaR1fgJVNdGD6uowkJmADL6uDA1q1WLc7ko8LBDLc3KXDD1HSfEXn9I9SWXQH4AEv2c/B5FWfkaFtpgI5zJI45RKzQS/JenMvSTuUgZqE/l42C6gDa6S74oTEW3FbwOvO/eeNzNg8u27cfrC2lRlz29dpNvgIaLltemLFMUqofP8JNmxU+QDxbUaIUNRKU5gSvHFTMdBGI2NXmdRDypscQnSX1mbIzUJRZTth/kOoqrLklwHeq/IFMzkEdR9XTWEz9TRxF71/R4pXW4GVZ7Zf6HwUfyeig9nIkx0xcs10B2pm0wbCK2fBqE2H22ltUMd/CGlZMH0q3pkxbOkrIgmzIMvX5tVqQVkW6JcPMRaM51XZ7xBnJhHD+EtnSGujlBqepkYmhsrXd6tim5lBAUko6BsHWQQT+0omJnWWrnoHTeb4AF7kY7Yx6tbxfAgT2io949/dYmUDCDWP63JcKaJbq3JqifPbQx4IdSGLRy3/u2ia6dD9KdG2hXNZx/hwnxtiDOzfL1IJGK5KQfnWnFd42AzhI2NlSlX+x9Ee+ajN2JB8elGA3z0ayseQef5HUGby/v8JIva2a1zGoWio5THYuLpLOVc/cjzrD6WkOvcSE0Df4YtP7+CCIiXGq53LYzCbs43Uv3q/yDKixnNoc8lQmfnEhYfgmciwv9zCAhBnWrnthuOsBy9StjsOPDKSsB1NVPL9dsQzHN4nRl8AkaRh60827gULneFM4vqqWLAlrESvS/B0UVqADqIIa9MBXeWdPWaV+uyRxhczYIFIyGP94tdwqXJc2zgpmLXBPy6VSQ1n2zrLiNvkfpEw40hFpmGOcumvnXio4Wm01F/XiM8BGoQNfypWKB1hrX4OX2omEdp55EYTHg/U5QT5f5XgHmKoCEHHB1Ae5L2gCgrRImvliANDqsNUYRp2zwI+jzUK4PBQdbia3tUjmau+WTnAq07EouCWqIhSimL/LewSzV9z1OYtGZKUa9l+G6YtNFziLgCTCdpzHYGvpFy/g3Pmr4PAoUyS5j2wbr7JacJcwgWBDo91Synag2K3SOj1Z5peOL+TFwZbgx0dTawIkFy84kgfqAqh9PcM5UqZ7gavvfsgNeXzQyZFpaD3kn85wEmxxZIueB/nnrgjx5nZwbIPcAHt3Qn8JjFT7BtAYmzY4lbxPDF+VmbLwrhr/Z6z4xjZc5G5zBlt7UH4AQNtu0ufCg/IIGVjFkTn7aWWQZrjnBiaEP1Tcj66Rzm+2RCgRCE6X82AVk9fHRkxuVJ6rkCu/xegz4KCEc/9ZyIGaheuS0XdfGWip5wQfJ92uI9lcug0cec7Mpt/NuEycgbAv474rdXKV83jiSk02xse4Z4kLjiHNHr/I8sszVS/53mAfCfqFDENGbxj6IdvCflh1THU81Qu4Q9anbzKmnbQaBJngxzEamVxQzVLeGA4y2KF84CBP2ByRr123L/UkhGV0YGF9CtchMxEUZjVO2VKI6+9tLZ7O+QLMm6LSno9ARwHtm4FbONZdulSaEJoDw80OV7RB1c9uRYMVLH8opYuNrov1gk0EGNm8yAfl5sM47c2+IFAgFvMlKWpN/zdoskJtV1/0Zzfu5gSpN/kXIJQSO9NAOWQNHoij31dZr7sXaV+l4jwCdNVUfSkqu8uPVpC+/YCGgmiELSPN31FDLlMUfZhop3wNEWgLgCu6+VPQL30418JrJ7VU1Y+U5HnIlKzzzICz0qSuwNhV8CHX1YcflvKWwNSA2araM8VB6+sCUEnLSjEPtpHC4cRbi+gHUB7s6m8zq91NcCeJdWTuJwlD8yja+WW7z++FuBTy/7yMKtevRsPmKFi95Z+ZXxs1bIVlT5E4AG/7AS8w6ZBnxJpJO6xFKeL0t205faTejtfZ8GnrW0wrYy0wsCDQ8TFkkcI7liKOWc6x5+sP3BPpAk2zFjoRpQ39KQmqUr3V0q39GuvcKlsmEA+OtpYyjNIxE4CJ/EWUMpwMZ/ZPR7XdbG5wBtiSouFEyN8Zz/SXbKLyW1dFxxDZFi9rGN3g/s4BbDxs7DvjWoriKFXjodSNzi3GypfLXJFbHxjrOmBDkaYHcty+1hp5v0ul82T7g0AJaF9QEMvrL2aGBAcWbyDiB/jNSgvEkQmp7Os+yUB/YxVq2t6L7vmgYeHF/2eSdBKI1Uc3Ns1iPQTfT3AnFjR/MRqohEk3N7z0EIVHq9p+zIZM+y/ehoLo7K847Ci50lA23m9NfGKKLaQ+cw6lVEbxKuQCEA3zRIK9PUEy2bNeU4AH2qWh179mFu7LSDAJbJO0h6mHFPdWGg3Tqrc8ejCdejL250Aiq9EgsGNdrdw50+5C8/+bV/oOomJXlkjXgYdoI66haCCNXIy6i+z6O/9jMqTV71oI4LvMtabVq30ZWp71hGYsoaFzHihDCL+cjwAGl8ivzj68nW2lmrSncFJxK/vEaYR6q78vhnjfbtiOMM6mNR5XmWe0tH5q2I/ErRqByK34a9PCGZsnnQzQWDz5c5f3tmo+Kte/db1l8lJORu3hC2bhk+B8MbF/qhrH7uloos3vqyiMdqeMr8giraR9U4p7MFNP0/TbO0mh/U+dLfIdsnOS+anSZyhzf/sZugTUzQzFjPhRIV1y0EQdDeSoUnuKL7moItd22+aP8N4eQgw8v377swdrKubIwX8DVJiC/XLvIR3i7lrnvmpEg1mscQp/87liZa2EDvtXUvNPkgVyUhOUxiaLo4iZAqwflNMiC8B1l6EDS8ntTJrJAeOUdd8EXKl4Cv3Ah4dj+C43UUM1Q36fpM0iAgUm/KZQfHmvxJw4KVv3RudGZWQ1jSHGsx0qLL04O/JJgCZ7OyfCY2V02ael4XLDsj1AwdI1CpP7OakTU9KFKWiGjoEVqIOfHKtvxJPitkRVZilcVLdhVJzz2KDqpQ/GDIRYQBLjNtnwyc+iXRiJxe+vOwAVIFyAwRM4bjMI0tK6/7nm7UkR85OrXW7rmeBcAOO8uA2xzGzjgkJ9QUkXfy54lh9OWiOvhUOxig1RkCQgJ3EYcwX7igFJvptmHcSyEmf/a2QWZ2+S/4oiC10R14UA8qnNkRMRLr6gXmZ1rvtiaHPSkdIZmfdE58vtTNh5IU7rBf9lll0JSFDmPfQY/htFBxDcE+OtfgGnQ7ciunvetpxiHrWPCvyVgDn+s710F2YFa9DXL8HHoEfnOpIn+94Bjx6JdnBg1+kzezBkE+RpjOB7KiWoLQjgMqqjKvBDbZgNYPmW/WQ8Qb4QksB6yWNQ6W5sygD6vV+0ePJBkEBa0r6xHxVBoJ5f+WWpq4Bfc3b8rgyFzumoB7RJcv/N0Ln7fAHYr8V4KVz0rh4okOYueT6xMiLRjUWWAJ1snuX3p5O6UISo1VOAwI3LYjbdrbWO7/XQSSJr/ftp0aZmfdJYXQdVxglct1PzeXsBYvRYdl1rjv8W/+73N0oCiru1QTuOk2ukGKn9DF0eBER5kcWi7DPexd+ny/mrkl4sTLuralg1QCgNhR9CVex58+K53Sr7f/4SuBq8igMsclCGC9jZpVLY2CubqvhA/hwMnDWGVtJ10KNlF23R7Ui3Y7Sj5hmwYyTlRbpzFM5X03lJBQyG016tON89Wm1GczTzCvszaBaD4eRxnZrtGYu1aWnrcG6m34Ov5aotcvx1z9mEK5lZWorRI/EA9DZttMqQG8N+QYkRpxp62YGYTckNefQiOi1tdadNXRWXXZq7UnRnrtHeRiyhL1y+xaQYUlj+QsaVR6+qDL9fvaIxnAV5WgAqe/8f82cIg+iwhtGb0qv9fWdYRDYlGstHg6rwneYXcb8ZzyAhf3MsppB0sOCUat6dyHCH/4/1LQxfwODg3EZtO7OHxzicNIcGHLeA5+9eFLYggqTIEOoz9aDW6yb0lS6mFNXlcV8CtSHVRrrGq7boi9ms1qaxh5ZE5v8uuSPQ9fVJaA13iapQFAp7QsyojABgBbuOkCZlJNG3HtrCZubM0RwBtA4kvafm8bPWlF4mn6G4LL1PP1nuJSp7Afg/9TBhr6X4j8DUBK0PjWBwc2klhXLwmY0SzLggos/d7MQ+kSM+D1ggJDumLbcL/Ccb8F8KZc3ZJ/UyRrCE18BY05zVqqRm/eWqQCJ3fY0tCjWVkhG3uCDYSSbqMujlNtOEkaDjptnR61mVknvDxFetOzEyv+9Y6+opjGkeVK8H9KSm7hK3VU0Uvq+lo9/FryHAAUzfQhrSFzX2jcs0VcgQSQIDlJFoCYid1E6FjO+aY602TRj12xsg4iAcsUj7BhP37KPa4P0d+P+f4ixyANyr4KTjDtiBvOYbA9HFZW77RJeKuc3hSkMwgHkl2ISzhdCEO8pN7GvkfYPD/GNSr7p2tnEbTVudUsQC0Sp84w9bYct/cEutaW8ptoLRESLijmAmO6EhgzE+j285BS4CWX9KmZf2U1LcapzBOyH7NCe5AMh6ICMHNzrRcvHGTF7aSQ+mzgCREOy3b/XAcndyjryq//K/QaDF/GRA3TFSX1OxbNgQSs8rx8yLYljwb3GtLO0zAmBWJ9u4zorjpd+uD4RVoVz782E6/c54kdp+NDq9qwc394QmL+hVInmzxyr7a6jOWjXlTlwGAMzbexe3Zvzso2CnDOv4WLacVbNrOU2gAgZfSdiqjixgB7XG+DEd/Omo36+2tKJ+BlPrnXBgx+xS1cex4+cm47a89nrxrN9DMcuvv5hbyHBXYHJu54jFz4qv5FfVViF33aoPRz/dOBa48eEfGbxcdfUp/bcYSbqFsim5BENHuCkgxlRe9PhVgSAwptLcv+Nt1LX2r4+6Gj1v3ZjwtlvgBjvAzqz3ySMpbN0vKkG3xdia2ZU0PUQ6kuX4OuTY0eHG0LJt0vfy+HvFIAJg2qXn2eU7EgEE/mVR9FRvLmg1CJpjCZpVVjVRZ3lbhEfEv+TK2TmrqmhmGHBoUexN1Fvk7RK8+BOLOFA3V4qR3MZ09M5nHUVMDtERX9wMrtwK+cGaHeqzjFKeZU5lZoOXKyknPy50BsfTUiH1Bbp4C1HgXyMGV85iLcJGWddq+vfbbXhkAQK2XEaHhmzkOg1ecMlxT3/GjZogiTwDJaa7IPpeVm5AJEudUr1psM2cWn0HYFWv2LMllXuoOX6AFVVMQim1wIR3yw4CrR11zYaEOC51/XRNoDtDmC7Cy5XJUTdeDvNyxh5xck3/+fjiCpPffcm1r1Qd2nILcNrBv8kj5ZgyBo6xNesQ7DvcWxwe5sNtT/o4Y7zLT8RukxnljUKEOCyfhfFvmCM+a8oU5UbUJ2tKaS362XyrP9WqHc+HashwWH2iVL/cZgVtpuwGXNWKfltBRi8FgZElM4EwOQ5bL6XzsLU3iiCR+jGvmqcKpoEvD6SunmJRHacolPTP8BmBSF6K7/eKM5mzR3zfQKpNqoGC9u0M2kuMAC0fPMxqX/1egLEUr2RyAbRa1ynXSZKaM8VyWghcWqxHpc9UbqiFNmwmh3SHF/WcLajxrV5giGzNN+cQyoSN/WjSYXRZ3JMTjo3IrVAQizsbv/Q6tZURt76+zAmq6DExdOXmMPsHdjP4OU99FDytVfe/Fw4hsQivVrAod5ZiOg45dM/itpixZzeC8ZAXYXnk9+vGv7YHQUeYnMWD39RXuVX6xgHYQSB0G1fRJax3Eo3XjlmgDNQnCTf+o05ghl5N7mdboR5NaTuHsQla2xQ1yX+Grf2Hpg+771Hyqnh3WVpzXewSsAl4Ldzy6FxBqGR5JahcBZmFnFdQO1pfWJNugzHuu9Fs91p9gM8fA2j8SezsIDlu9UUpeaOg4PQmY1mMTa17RhJWmj36YgOB4EsdKt5APtp+B2D4cZYH7Os+AvuHh/25FjJlkHI9BuxmK7ZiQDsfO71BTHIg1lTE3SiXY+xHsHy6+0VHlxI+LVPw6OHUaDIPcpf3L8YR5ZUvAvtndGZrKt8WsqVQaZCzPT5Q65xzWw9gpeSbd/MMD/tIH/vfDFbP49XjBYih4R7JuuUEOq3+/e4GT8sXkBDU88L8TcEQit6lsCgj8pHa/8f6GTeYqd1UD4N2vbM3v1Y4WTq2EWRN4j+KbgpwmaCli1SjcDhwEcvWZ4VRfixuzk2rkIufpS+M88jRhiynLyuDsLkNmET71HBAu3pvATKr96vRTjXfE3K4oqG4LM214PtEf/ew6BF6676xfyubV/uIYyb7vhN/nxUK6gz1tVnx46vux1XCyL1VcUX9DIJYUC+t13di2g56ao1qPvacXzCeJInWWHXxCwnmRVnfGLEahdue02B6vq0xffdAIXePD3N6orVdkRjj7EttyJkf7JUA9pxQtOiJAymzjOQHG/r4xB9vNvSHseHGB4a58dBOJXnomUZ/HxVejhzrcWX7ySzCTTNgfY9/b8tTooFRSqLTjiDuRIM+iS3VqE7GOoJoSdSvgL9nHZ6JOnpTPUE68m8dn152rO/P7cgcUyrOQVM3qTcZea1nyHtonP+Nt67nf25zk5LnbdTtWVY1yET4Mxo8Y1CMr2qAlZxu41sp3q2Ko0IojB7Uugc0by9sbARhgJ2JzS6RI3yCsNhyZynUpKkGbvT+sZDSrjZaUDPqz9gcPYzupM9Vt4B5M1wGML64lwhrS1hZOO54dkPKd7KWjuwp6ENFQyzM39lEhOadnTN9qtGbjienyjtSDQ8vfIYklHVT2hyX8zZs3LPNVD8e7hNGsVKp3lRM/GbGp2EghjW40W2bCoBe5A9M4jbKEMTiVUd3DoxIQryqfJeMo8WNK3G+nxMa+JnbfXAR7TrPG2Dv5DLNmsMa9XNhHz9mUNQirElu0vEMR7MZcka0PoF3dEPKj6EMyze06BGC4zNAt0Izl3RV+AS3TV8pPTur928fQOPrE5L0rxd7L+lJhYZNj6YotiHyAFPHJdyOaoXfK2hgzK5ODI5tYoWEQFqwcYOBM2pT6rLp7sFfxtWVCvTvukp7t1ksvNvFbbKAxM0er+jEwPmx+cwLE90qiceel1Jak/URPce1d+AL3MGTSSFAcOl0yqYbYCER0NNJJTfCDF7mAm/USILYxcYeq4wSeHqDLQ4CS1PlxCgPhobjSAtH2Lj/Kq47sO7PlHAJO76FOCtDxEFMMTHD+XrfBSqqho+9M/4SDcUfjCH8g4e7sy9Kh8wA3gCs5VrFh7E3j6T/W6VMmnbxuLIq3iFFo6/mSqosJph+bYh7UElRFWWiHfy7y1WR1DGQmvzXmzvn292AiUIlTrU4JCJJq6gKfwfFy8/TjWKVjFIzBC83/F/BFdVyD0H7bcmSYgRGqomLmukSAJG2EWea6HageQyRnvIUarsO49imERninT3PH9KbBwV8JtB6pxGyza7ZFI6miWbCk/GBHAoIdHBTS/vssOkFZ9cih9dDZFha5FSWVwrEvoChuks/LEHsKb2WF5EklRUOJZLZXsgU5OLqfLJKzlULXynpXoyrDvmIxGEgrlGbuAYZz74xdgoUm1By/RYucbAeRsBd5yewnEoRKRv1JWt/Q62xLdliYMHaJ7YC3kcQhqba2WpxN5eSm0FrwKb8ZOewlavRf06ZxLezITb4P6wq4XHBhTLkHbbkzA31AZSOeYRf3RTEZ0E33U71Mna4g0me2w5zRdp5tZhR8pqPfx0JvItCsdX07k2wei7iVFIG5ys/aR+qaREO19QCt8pQ42Xk8HWMJIR8LDK9iq+Ei2miOQvUek4ae12GRxTgAh0+plyxuYCaK0i1ZRA89nCTfsnkD319nns6oEum0ZJCO+31IVox2au+6r3K0PtzdVnGJgLBKg9R5GuQYnLU9DeO3lsFY8V985I5MNtz8jv1wTLPAQAT6fWyj7/fus1gyC/rsLB7EOK+JODYrcChEQ09vyL5fbAezhukph+GkMLdGYsQlJHHjq0ZFmJMVqfXoUx3sjlN09+5Gvx+eOGFCbYrzdDV8kuXeieunThSqIRUcGqptk0PD299INBXX2x1UiKC1QxpwYSbqZt4VSS3Kqft7BobOvYRY3LLYsDXTCDD+LSq9lKiFutLyEokIPjuytzNai/WPGbQhkkmPcsswTHC3wjkZtACtr+wSlvgnfUcICo3z32XzS7a9ycFfcU00Z1X/f1zKn5ixDcolVUlPcixYdpuyco7HzCfviP140k5La1RRZhJr2cblemI/EDg27GFqfDnp9wXgSW1FW0vr2h6ktZ7ATO8eYzgrfD19a3YsahfkwGqe2UguiGig5LYvCfE+4b2vizo8QwoDC/4uVeOI7ZDEMFhpVJ831E4+tEwYCG/Mv9c52iCvg2QPGmtC9AeNf/pHj2c7Y6SgZ1gnV+DT5M7YMX+SaN9Z8fbELRL8NLFY/HYvSkEgRTtX79jV3gfAUFxSui7i5ft2Ag0xTXII8prPFFOjDQ1+dbSFQ/D75WdBlQ9qOU5uPGQ0SEtAZPsBKH9nFUl03bPtr8WMz8/NKjyN3vjhjCr9wEw+EJEYpbaeWOer+ewsT4NwirJa+DXvllnvgBg1fkyYp/n+2ayAEEZcKKsYgw1asa51Jxrp643y/K5BUOcJFpkhRM/OcdtuMV1nvoxOk5ad4BJFNSBS5lB/rB9jw592wyr9vRiQEHMoNQfEoj69vGD3FjV9Zz/Qmrs3GUZiiaFCfTne4hmBoOo/OoWMK/KiODibTA5wmmq/0m6gTXwGksNCT4ReR5PO/A2afjmRMAsqD94w6fQ90KCaqpSQMQwZc15v1nqCuUL9uYRcFuQhPX5rMCj4N6b2QTogntRXvdJs+A8Ngpicr99izd+oe4TcMOSuNZQBUnz327RP6JRo8tQ6xiEksKqbpfQeBw/N0+yp0HMk6r+qK6MdWjqZwgA+FXmN2ov8zawKIEci9OnPSyIOCdlhZGaI8d85x3OHAxQoBZtrRLW41gC7A5EjyErPeX1azhC3NDvo7/zxvsuCPRU+lcQ5o5gyRTnOCNsZQ9Sml05Slvuk+6DAW7/8LnWnBcubQE8McPYQDlqkRYoHoM1A49eVyY9i4ABRekmnwT1Z1eIv9ic5+XJmm7ZH8RNKxu0/lpMBwuvP/pQiRBl+to0e1Xtn2zfsCyhQIb6ARG7lj6uyoCsHcCzBUPZJ1nlSmLAh1PnPBtLaPKSUVtd/UVE0qk0Gm0C5RKndyyl30519/eCReFxSWS5M3aMo+PkuNWANhAm9h4gZrYMjuJcegFuNZNDP9fVq0xcl4YyfL5A323qArBUMj6Tjw/IVF5WL/TEi7gDr+Y07Yf6kfb4a02yCc87OnOKkNoW7gF8fO3B405pVrLn1dO1OWtq0GISvgeKvzy/bFaQeQ/nveTB0ivnRTVYp8UwjHhE8N2O5Zd48LQTUbqdjOsnVMx9XntymtCDNLvAYdIA5B60DoI7BOv3tg3lY5dIi8cAuC0FvJNoKZi2x5rP3Uvl7UcfcQPMmoRsIj/PNOdOF+UKlVk40VeQhRewGmJt66Qw7b+ts5Bwe43zzzSNPYI7AlpZJlmcBEupwTbULZ72q1ixkT4tszVVe5K/M0uXWk/Du5W1j+eD1+mXM4YM7tiT7MSTPEWE5UCStgewd5AyJw7hSZ4K54/z/cnBuWycOVMZxDQfKZQdCV6a4RVMRSJOQiZChmUgEyToy3Gf8U+dVL++gFQWyYNDRiZMMKC8nGu+9iJwilPuS1xfQt7AHZAwjGdN4hCvEbBxL6S/Tsr3Y/3TT3V7AXgJY+1vMVpe7eseO7jM6n/sqZYVXCHDHFUme7g3AB6Qjh80+gJAgJl3s07XhIcX2XahES7IOaOPfLu90bFYAuDMKgCWNk81/AWSErPq+UOCyvArGWjIEkX7M4nYk1JtLCkzGUEbTQ8f93u4xr5/yXOrnWqaQDxVu6GhiZbMGr4j6zUXU77wTsZW50uX32VY2HT1IUf3wPQ0AwDVuAiHFdJ2kZy1j3YdZzTA4OwajRzAZMUwEyJ6JpyVRpAdjcOUavG9s+14sS52sNaS0ExKOueo3jf+YJxHjeY2hWMr/0MxZV0tk6XtRJ7Aqw+X/f8uBOw52d8TAYLrWifBbnqKUC6kEFdC0N9yu/1yooqDbmylgGJ473ft1xUSauzA8Q/NubaCNJFFpbbwvfdkR5dtd21v7phT8K/JsAVsJbu/gB1UjaFyMSS9dAy6Tf2cyriddIwncwN+xYzBtYAQsEhKH8SrsBT165qQnBBk69JZervrva1O22jjJ+1SmX9gnilsU1nOAToPECu6ieSzLQC1tPjCCxdr1y5FbmH3Gq1nscaKLpMlL8OrMpin31VDFZvH+KhJOxGBjj8CxvHl8fS/p54uyZk37p2/6u7kRn1+piSd2Py1sVlEIW59r0fCr3/Vagc4PKAdGejnS1o2+ttYk0zNbOOfaea7cA3eWXfCsX8Hic/aA3rIF8jKIlKnBsckofd1TioXvl3YKeCsyASmJKgUZ1eknvJV8F0rbxcG913v6wfMyoHXw/9c4HzemukFg2omgJKFwrGvhPj1tVAVN6OWGzQ4Jcz/NWs7qJi5059YcemP/A7+Tl32pD/eZHQSel+tJHn3TzPwlJ5eaOy6cvx7Zpu78YZUkT1PT1mhhR3lZI1uXDRnpNE+dC8gFGSSRz6ShWFS7WbAk6j/S/sZq4lWXolObqN4hckYmrMmX9Vzerkf6t3N0qAro8zbQu53ajJPLdhGsQZ0tw8aVjPFfW6eeusTM9uo6jIDar3f7eAzxMwWmET3j3Avc9lMz3XLT0qaHpbWDwBPyxB8vn+EfF+qfUweGJ6aw4R4xRudNO7IPEy7KLwVQLomNChquCJw/SK1thMJbiUs+HG8FvQnVabpXcJF6AKzGiMFdJhz/hRo20nHq1vXLit5K1b9Te/SWmH1hkrfupLM5YM9HixVMdK5E7a9INwZkqJpLVNgx7yeuxk2UnI8hCSg51fK7RbBoJJmRdp1NwRN3UhsRuNd3Ak/0LnbW7kG7iUQFwzEvoUGHjGfb1MF8yMq5h4DDvsriIYe+qhBoKzqjXC/Qn1+YkxjHoB8ojM2fwt5U/n2ZjjgoDFdbdYl6b9uuXdjnLsensqf7XWyoVKTp9cctydE4I4KDJq2PEPJe2SWOSej5M27WNvE+jZ6zxBV/F13omYkkGHJGyoBDq6uDgDbCxWIuTnnWQ52pohhfjkz1aE9LLGkYoXJf7rWNDopl+K6WW22jLRuFGQYYvDIy+UboQHZ7xWJDSNxxWsw22bRknPd6sfGS3u99escCq04DKIA2VPylItoHWCf5tShYYu+nXo/jgvRKS6zsVP/3kEjUfvvWQXPaGfFQJ4xBVSPvLym/n0l2uqL/lBgxauiFddReT/irFNfM5j3plMNEf2FpJOahazJ+yt84htrpjVltoDKYFjNMQsZeBfex4MYLzfibc5A2qA30zf1Zs+zSPocu46CIdtgf1nWtLH3i3180jQqbdSE7EL6UIHpOLX4AMg/z6dgIiPjGnGCAe50QBemot3qA/Ybi6DkH1DVaCXn3dQl4xqrkIOEPob27CdtshAzvJd0PvhCJFrsDsh5LSPQuSVhLdwQ3vSx/nQk5/xF0xFEFRb7/ii5x9QSqY2ig9NIOM2T6xYn6LnC6CthFXhEjPYSKrFAwLbNGEXpz5hQmUFcaZem9tcNN4u7l9PBMkVH5v3mg7Vh1IoUvY2scPI+HK7Hxl6AQTlYkkcqdCxiZ8MK0GQGR9jTWQwmkCiRqe1ikQ3mPScw2RiCvzIARhAGkYr72DBpWLu/qrzzUbd4DU+kuFGWz/E4mUU2UM7Sd9N8D2aBedfaNHYSSZb4AWzynwlL5YraDdHxT8II5m2/SfxHVZVfpwWViwymKgI4M7dtB9FyH5A3Ns7DvkN9YTYo5rukhxYHpqMCWO1e8CKBrDUE7bgbOWfzPzf2WMivtdRBBEqKRlcJN7zs0mysAcRzFvLME7iQVZvSLyTURJKHAW5YAKWzwkcgacBIaISBGPBsMnt3gGo6e/1eYY+3TwPHx2GhsKESoGbrLhcP041XqgkV9LUlZj2xtJTnw2YxOCKtnGbPHUnvQezncPcZX+GsH3h+dmEdA0Btv5dQIwKySOUdpULXC4B08TeNLXKr5NgKNvRNtDRZsnHbYN5RnwPEkM20DIzVuCVPgVveJrEGwK8128St7Ofr95qBn14UEIllxUCDb2QsK853Cgix/8Ydf+T5IsG3U/+v751FAaktJPnXqXDodbpFr9wnwzrcShsPYcl+M9Ust2DI/QGJvbJdCF/zxz11nVqg2ehJ0ihbNbQgHH08N66SEeNlbH2WfR9XQwrjpKflOm1GcvnPHoXPDFTBCy0lw4h8WFj2xHpAJA8lokgg+j17KTvW2HNHrr5oD5jntyZhzsy82gKcMRz58aGrli1wPWNznNjuvZ3Fh76ZF0lEBGFotli7bdYQNWmK0FF0jOv/Flod5zAAcyt3lxBgfGAqxOBZhfe5uC7ty77HUlluZHp8UUBnlVPe37SaOp55z/8KjReVVk2wEp1Ezp20eF2kodE8BeBJo2IaKEZeV45C+9ym5T4fr2ghy/4a159ZzmwOAPGIDw9DuWxUhp5yyS6KZ4v3rcyyewejMKCqbe9eKPWIRHlm2MqfQr6D4sgvdLRei6j3iXZ1RBcGPs77zoez38hxke3McqbB5Zg1YxgxYsIa0nGrdTqEgisRzhLYBwiYY47Ce1/ZEPy4ORb8RwJFqE89a2bxIR55GdQ1MiXSOdVHdaxbIXCy/nLFteb7naZSRBVs1gXQbN6gjFrYOF/03d1gQl3WxSmGwOvw7hWqr7Glyp18S/26mC3s5pyz1tOz20dxxy10TYTwffD8EA/8NQWPV9eC8xEOmN1nc+b6vjEzko+ca3isjMTFwwZsiDZcd+fniDbovOAdUyIN9tcxXeKCPyH5tRCir3VT2vYrC9xKuy86Ti1MJnhettyktXFmwNI1A1IeSJpYCeMOsgEBWYhg1buQshuzc4lD96wruuKu73oNeOp2YJUtDhB17An+xzCE8vtUKJC4Eb9XdK28FYmXHBASogSSZW+ZjIuTRPxUXHji4VdCA9y6qL9YpFs6u4YpcT036dDv/nU+B8iqudjEUBD3XD4ynPfKuN2ggIMfsIHO4IQuGSd9bvS5Kws6+uAO5llUeq0agw8cmkZzREGXmMv64rrKX+iW2CtKlcq+QgTPM0zZyENZOZqDLccQTqJXkEs30IDI1NhStAEDiWdQIC9D5ZEGz6g95nzV9FfKH1WBPUgRe4SOjmH5KHWYyN+yucBTDhfqOkeXVq9e2A2ZIMrgmtFu7bIZ7vUci+zuMZcu3gmqMZ2JFw/bSmy8E8GJtC5WnMUDobH2+M/MPMckPN6BO6u32kuczcK27LqE41odS9J5QnNmiYwFX4nzU8Qj4DqVfcpms/fkHjlZ41uOUhtuTUzeBbnH0gbK9vdH8Ny4YxjsF633+DaymVCa3FJLNP23KB34kfvtB7gq3EbEUQm9oY9Q5ckXeDbieMSLhK+qBautlqW/cxuizGhiarMV+zYvma6EhvtvSwrIGuNMZs39rnAK+xeeizDw4kkJ/GWq75WXvG7/eSPC2tkMX/ykciajcJMZNW1uqgvPyjJ/oM4FWnZ+1Nwzk7Pjnh/41MeIEhcYecAuWoH3s+3Icu+6vhHFYGzHhbA5J3NhU6+F0h+kOu/WpIOvciOrbwHzkwoeUGWk//lVakKtRNln0MohJxfMuM6ZMvAkz6r02DKAUZA1UYIz5YXAVwQvws6cU9eHySWDYFym4Uwr81KAMEUjLyzEk7sVHS1A95akKb2A6lovC6ubl48GiMJB4cYEFoYBTdebhIsmii+IxAHD43IsJZTwn0OetTOCJLc0cUu8KS1tHtYNmgDfOokg4sy2ZKp6zgt6lu/5GImOJFzY68S8hbT1Gp1RmuWn+33Qx9jerB1vuReOqQkCfc0yrCoTXNdJX6SqNmIcJQnPQ5/KD4EE3/T96yMP1TYjWEmdobQ1cm5RB1wiJh0RYej1SVtlT6oXKXTdFLyzyl3QDYqAvhHFFPdUGzww+jEAskdqTy8tIczVrcMqTt6QmNt/6gXGL8Jw4Y8IhkoUGsme0NfAbfLzv63xY9yV6Z6Xbq51za1cbZJ8E9LuPGz1HkOMprtL4x0l3/SDcUPff7vvManvU4BRdrljxRjUzyLU0uiUEG1JFbJ+oRREMS7jMHXJQDN5CYGfjKnO2CeSAI0en5EI44LNFHTjH/GHSPphtifPRmiSVUOe89iXpqDu8UGP9ZcMZRUd5EQTGrV7cejr0Yq576pamsrRUHjijsfGCJsZc0boOXT4XakWZXVOuVCyly9xleWlljlE005VEWbmE2Vs8Mn0wreUZyBSBPLcO4IBsXB8p62wmBcWdMLaKxtfvyIT8eIQFHwaML4p06vNfjfroY4HkF3QplyN4bLN+rN6HnCwCN3/Mfg6GcZsU3r4QvniIIrn5y4xkcCJSZsK7fCdTngCRkbxI0Z10lAWb1cmIIIcFloTVq05b4EIi2kJKkBdiMxRPyd20tg/XXA3SQ9LPuM52u6fbgzcAvnIodcSRB/Sah0TeFhIi9czV5DsoPYXSon7ym39rPCKLbFuBS/3gjt3nPwOUpLIfNS5y/yEGI/F43RYB3u8DhzvI4xtKYBm6k5ZdoO5wA7bCy8RljCOHQ4rR1Eb1doGWiMQyWs5odp4Q12FEWXvZyNbKk2OSyu1xr0DtxQ5AS3xRVQuvN7YPQYZOoJEY38yRJKb6AsnTGYoWTBzhfNFZOznEMqCpO351JAvW+NYdjI94FfRYxJtmfY6+cipTR0eQQTe5OikSO1iU4/iL+MyCokhL0v28FSr+KLGrfovHm2GjAYsPKOTXNU/oz7mKIra51tA0jAjhvwSpn4kxde+dMMAc5uA7yf8H8qcWl634erMnus+U6WGNmFAZYC0UX2gT9E9zn20Gp9qmormefK9Ef1C2wsH8Z5m/a0MEVqRdHxAquBr+5gbSb2qNjXhMrHDoWZSQQitHKlPs7LuPXYmyJ2DlQmaW+OXhsFWwEbqWx1Kb/qK6tiBbi/i42L4NSCPUHux3VDbIaSbEhj4LldcSBl2FuXyntKJwcskOz6TaVh2vEb5XRJf93wvxV2bucEeGiTH131FTsEZD/J70atQu9cc2l52iRU682H8O7vP3A4i/54HIU4qoUrqEJfteZ6X5zIalZTeCK3y5GxLOPHQePAx4Dp4TVghzJJ2YM1p3sNVotQNu0rDi9c0wUgA2LfDvYHyyAJs8MLcUQVE0dZnNaEvu/AZAfFJiisifhECMxpufGtzUeBrCZo0iuWJe5jDBTEMk/OThfzGJayZnvPAjA8XqrW5UR+wmgDqZY7/8v5I6dlMmFM6kFC36g9JLuODUVePcLJcu9NiRxuUDulQwBclO3gzJxG2sYQqcdsQ1G3a7mMuwK/QZr0iF4hUmzPnx6HUM5+Mh01pel9Pyjv/8TOZHoC1FVS4NO0R2xSq5ZRhccavnXF052Y23gGjH9ysYkPMCJkXf6z5zjSaj49w3iUh/y57WGc9cWG0tvX+LCCFaBDZQ0heV8yiRHa8EvZYHhIj8eWjeN5xv/2DiwqSJ0shXz21Em7cuG1eCmX02I40CKAuvZk7bw0/1Okq1nTBRlPdRELMUkeXrcFxDlyhnTvbk4VuafmliQ/nz5KngJgZYDPpDzNjAvXk/RnrP1m+3xdOUfAipQkYjw3LhR5ZlaT2Hn67TmjtRssK47QC060IB+XTs/fdUiVZuQfaU0Ee2+3BDjH2ZUKjL54bZDrRj5/TUV2PssqwUxR4bQ36JFu/Z4nbJAVNTgAyyZ9MCMQwySjLoKvTnrpyxeC0rGBByUUt7+vqoyBAX/ZMQhHRzFWBlPcIfexq4kUwgp7nvPUf3QmlaDA5Bu+mjiO7U9grwf9veUGkJ88js/p5sfhTjJo3AU4b2v+TGsbaILkULbPgBexXEw0fo25U4EW5LZ2BXM6crDYCtW00c9HHCHBsO+nbTqNfrDaFVEkHvFO1s+g7OEilxs2Cj9rWhXyNHMKuTNqeCZiWVwV0SbxqvR6yG8oNyFCwpp06ZMCHbKofnHQ77lX+ifbbqrna/FiI0UFz84dUAZ/4ziptHC+Y2mNWZE5O96+04XboI12qiZhK/J83cJ1JKaBRjRnQ7/PMN5nqqeyTRJHb9v4ElfHocsg5+/BbUpIyIjZ3BGjMlgOpeQAY8fGcamnHu5pCrB9HwWEeafWaDEvbCDrLz9jx9KXTOfwu6bRg2SisTqHsNKryJUSHuMEHrknzBItNs0YmlMNFmlMSG8M+WxY6Bl59JB+QI4qF5DtXCKXiS3bp2MYK9MmsYFMLKiyPS8zfw6GCtJLFl/6P00c7mNxGoY/bHuwhrq93YMFOocDLlmUOnBJXQ5OopD898WFdqRILcFU9GgPYtjWPXMnebDpMgPxxlAQ00fiE41lp5/+lnDrTCRbAqYqCGiWclclj7tT6aeHgw8jV/hABRPXbOxXC9jkLue9OI+tlWC+tF4I6XbMS9BgVb1JjbhMkljaRcWuEAB7mwSgWMwKNEK2qrW+gplUAdo/fm/kSPo5K7BiAeIby3sgJIq8c0OznTWQbfpCPyB+1KFr1koXPH3KBedBzYv3Kp4oHxQif5RKR4I7WOG9UMu6H0NZ8wtIxon+N//Q/wM9DDPc4MoI/BC3sfOOJyGnUKrFbeNmZ7YLzDJbNqbNZnRUugdY8Z5RsNCFDlIS8uNCt7NAPDz4WaRtXi+b5cO+TOfTb4GYdWbC7ZT0l4liDpOw1ZAle/3we0bNmMPf2raJRWV/8d1LxiPeNjMURg3ADGGzK6Jxj/jbp1opU+L1zXcsZGqMhzpUW/R9YUJsxjFcrfP0cf3zLT6XpBoVaLfTUUFrv4ideOBmqAQdEHqm43jpnPj8PIiusz6DRzheKs248bnqN5RR7e0s6V0k20sSkGDCzE4lIPvd3oHLku6qRK0d0I6CZqM+/cZMbkfIOb3xVWs3QSD2tXf2J9/7tKiHKE5jNX2oJc/55VzLS9OLZ/M7NsqpRcGdQs5SX2o44DgWLbu275phoZDkqd0D+Dr5t2b/q8wzUKV8BTgHM4mqU8QG6pnz9FEkgWujMK96slScfa8nvXtk0TGxJIy/+PZVi9rDsGE5J9IAdpiUKKHlRxj3z4qXCQumHZSOfrrRNKnerO0edKSVhd9+s/KQJmsCYjpZoieVMDZX7s0TqwvKITY2o/qz128akLED0Fb137vSoeWbvkDNqnzohW6ZPiPuvyOEem0c4FTu6Tpx0dnR2imPzaLGnol73/m7CRI6vsM3Mh9BAJzzuHvIMwHit8zN4oGDxwKyRV5OgGdsrkO5dm0hRUjjE0LhYQIlvW/pl5sSl/y++UD+sLYoUA5NEnjoJ2NQ7XhakPKzvQp9Z/LRbu0MSa2mYIFfW2vv7n6NMir0IKlEZIQCuRn413HLbp0JM3ignjOyOcn9U5QwFLwC9+SkmeisQHcYoTOCActmFsX/WHIkylvtmlVJLHRxvmax2hmccLpMB6psAI8iPUIwNMGvRlYk9QcQEm8PPH8O3ATTNJtVxGpvLCykaiL67fR6Zyw0CwuOJG+4IZAEd4Q63IAEJyYI9diQ1C8vaHdwWSW/ySC04h40TRgwwN4RFABUQ/CofE7ZMIyxchkhCNdhvPNqV0ZYqYgO1ijOCU2SXLwAszj8QuH4pW2LoHv2mTl5jokL55TK6Gs+pN049b5UwPe7VdiCY2fEWQr0VJlc4+0TnD4bcxhLhJQZ7WHKScJLsLGz0FsKH2vHQTATeHZRE6YU5b9VJ6SXD0NcEfFe3ax8HvfRfPWI8Cf4C/y1PLHwTX7scq1Egt2rT48WAZYn0C4Zk+wBnhh0CTlKpPAQIR9jEcasom9uY0Ff1u5q16Z/72OWw1628x3R+1jc2WyJNixP36uyqk9Si1wrlnn7E6ByWlxXAVio+Inid4uKvHklaBLu3ObQhRVyd5xXBN5bjdYO2MBGgww22sDs4Hx3q9O4na04emiaHXv6/jqKEhHOhxDlM0ZKNnkAb2nB2rb4H23ZRWmykyPP5PeN68PevZEQiIYXla6FFgHsxaYJhKh2aRDsI5mq+tvfjEA8PciL0uaMb4IHEmu/6ze5mbPs2D6fehSpVRQY1qlneId/Vt/EGqpQzNnMI8MfBa9CZkG8s1t3K3IwYimEHE9cioVDqI79lL3PSP8i7gjSFsCrDMhUYXi24xrkjyjZZbarj9IuAZeSkmsmHQlHqOKBE/8sleFcvWHEpL4TQTxjms9acr8y3/lkFSDc6jGX5UuKbGi0JXpvknNywdYK+OqacN1FRHJssBeLh5z6poso4XiO4hMxv0Wu50c+SPJOafR1gJJYmLyMH5lilsBNLRWBVHqu6kqJbDoYcr/3AhiOrjp7s8/3XKZTURcYMJQgEBD6kKW0V1xTjF7TTxXRNe+bMfM3CIMx33fSlWT2Ic9nUG36QPT5XWEWP8TWeDfErecuAQt7JcaUqyw5GuO0L0ksYAnjAFCNdaD3Y6K/AIZqsZiiOg1pDZdlSjO38MabvLYcWuyw2qFummYmx+3BScxeS5rs8zaBfYJkZ9MJ0lEJcO0vLLiRjWg/4wCDvnZQwe6tyHRoaiRX63LYOclTGhnAHT0T8MpzgSG6OyWdaQZR89RBPkZ8N60FVtltezVELklpEG4yPuGRa3sZL46gQd6IN6a/pCVVULIWj7I8N+yl8YovgqVOztQkM8wnHbrsIeidmoamtcAQKx0aDADeKRO8/eaSApKUC8Ib6MOikqoYkwIsknqeHAHEDS15000gfMs83vQWDOdhkOvY6Ft0vr9EFQ9c/tpedtXxu9Dmac7oo+Rpx9zeJOnKDT5iBOC1bN6sxPOu09BImreLfz6TuTkXf6Q+XWZbv2No86B3vmUbCJ9tCeMHbXLtg+JtlTMUUh3gIc87yvxf+qFauJ42Tu8cEX6Gz8RYnTjFyePLv7zZe20pSqRiJux8MwzZXxUEOf2py/c16T0deQdKZwT4iBr1RM14p9oPmxnuRd0cMzNMkW+OaANyS9MLt7kEF8j0a/IGPMfvV1M6VpTzw4YupTNEW4ZAAFzcrR2Kd3iI0SlDm6qnUU99mUY+xzSLtllihDRki0xw77wEqhlnZeg+6oKWznboLoGpc+gn16/KGsJmldMFYNuJ7FlM9IPAmGQU9vGu7K5OMceO13IoqHnNTABLFaHvHmAc84HqshCx7ocZdpSeSiMo9EtvGl13e6OGs+drcRo5p55C+MtC5fSDTgvTHRPz6iOYJorjjYP3gZsnJt9oP+VVgLrVRH9NffOYZN5JU3m4QmfvHt7L90jT7wB2oUdv+VYhoSqqE7/1FJJXEEfQ4kxyWs7Ht6Nj+crHhuVa5lc8COFIN0EiG+xtmq7jtZaMGMyWGBiq18q/0MH6FTdo8D2sKCDwhq/1UkJQuznYl5zARhtZEr98aCRcug0/fcsiPajBqus1zcpC5YEQ59whnmDWGuAmcxocPblRbh7KHS2ejBWJJPLxfbiSTAM7ARdK2WJf76M15McO2rvBpxWfqmKekCTYbmPZ2n+ycInSM6CqmQBVkeia1aZYihAd0F4/mm+q4zp3q+OL9Og9UDYu/ce3vgsowCuiRNBCmygWUSw+aP4C4fB/bGKoe3/BDXPp66andGZ3L4CeqXWvbtsfxKCxZ/HVogRV868xQPzlsH/r9Rf3Qme2j9SiXxoO5RjHRxLJjp0/uS0mUb1GHWSns2+n0rXlqtriLNoijiuSuDFKQ1GIXkcqqggxKy1puuX1HPdP2EF5Vv7V+svrPvVHeRCIIz6WkI+/agcbCqsU963218kG+SnJmWfS3rciGCkX8zLaHVuklHUje/vufj88SNwBnUAblpgkh2JGkP3l9jhCr3HjVaNrh3WiGX4/9QH2LShd51I0RCne77lUwYhTROAHWSjX5mT5AHfqbcoiHj1qrvc19PBa+yyhgDgDxo4JUBnf8oVxc8LJ1ukOf9a+xxPb1xzp7CQCyCIcaKv31qPaYRlTdTo7/pCpTV8sUEbRy3LGyv0ZqrcORcT30tl41avoCcHSCKwsF04doc0VV0lQXjtQ3m/jXLdPLagNiJq2kqWwftpUgh/rHdrldKZSmirf4jLrR+RT2ov7Z7HhiawXzTfQlrk6dJSW0/fzjw3Da2mzR9VX0ihVbe38jFoy3p6ZicCZEEZmavOa5Xj6g/X0nktmouLJZmkP4Ydz/Jf0+4VTUVzMxYArHaF92Y8rjhwLtVLlzSCSHV0TwbFpuhnZlS/VEeqONgyeSNkYUjcr2a7akn/uvL1sbkbDC9TExTYHjf8GEDVtQQWgDYyCeHlKByBSl2MXpg97BHTGDlixDo1A/27hzWs8kQaX+5+pwzd8gN50fw1flgIDXRpGcUz2YwE1MofP1ITuhzfeLe6UFIaObdzuBKF1Gnpn0Lwp8wx/f4PIBXa5iGlxxFkQFQ385sw63Kazw6ZTybldr9XRu6QrrMYGefgD5DTtEIoUlNTiUq3TmCLnbDExNqFB7RlIx+61SeUBjkPgSsBASKJCNNPS+OThESU+8MJmDwBsXwRUuBxa//S/Rv7CfvlpW/2Txjc7BvLeHDyaYG5fqK9hlsaj9AVIqgf2jhwZk8iaYyfVchTzNVkGl2qBjUCgEWF5s0B1907Fg4L899v4RzSUxtGEI3tFC59U6/VxqUR7yxkkEFvuG0DXZ5CG/t0KTNSt6A4H63yMh7PWM4nmYfqzdOb6u1iPZnVmSPnfEvXlq+vvZ14K8kJtDes2Tv/C7CjiBGJBQPocGhM5Wu2frTaFn1TPdBm85X8KyhiXtUgT2KJSfdL8Fe2GGyf8Np8hQF9vN9dTA8j+Yk1sF66za2PM3k9g8tu5HMl4v1zSiNotKc4+T/d7DxnP4Nxe1rry1v/JCoFrDSeesKtMIifJJ0MeVv5WdHLd25MMg1PMBxTjy8ADU1GWjeQahZzl39731VKpl1OHHpHY3RiLbTLtLg7DbH2DGCMoNeKQ+gSRS5JHiYfcv+1LWXOv+LF27LNXfPFbNhKcmhHw23aK1oZPZ/BUIq3P0D5vLWf/2OksofG8J+ip7D4Kl4sWxVYaWfb3qlTotqFGAdUnvPKe+FIL6gdZMS1Ypge2D3I9YrjHesAVO1WwM+DDWstWRjBJuDcptqk7xD0LDMTnZz14MtPEqhKcn9edtISRiDoRzuVXLqd2pk1aerSP06WadUiH2GhChdnEgbadoMosyLSL5iQTQB2JesiAOIN+0SLWkM0O6jAyws0eRB/T3glCkzqktZlUcHUM/h4PdycPEbZTHpGyfZlWak2sjxffGJ1SqZWHsCLkBFUlzPlMrxaWhzEltFN+Fcfy10vapdZtmPCQze6lIaihziniw9kxFg5zSld/flPJiCmmgPcMFXyW8g++DHJMhS0bNZZs0DSuQsq0ZmU9quwxwe/C1bqEZz8wNY6ti6n1pPVMDiAlkTOgDBwy3ULncqAGRAjk9qCYyPZXzeXm2r2ZWQfggNa1qIbrGFQAFxzxULlrkYkYCxVjOW/kJS2MCmaRkikLzN4d6MXsjUakbkgNZ4MQUy3KPSu+XsilEzOYt6GTUzxy5byATHiS376DIGSVXesNntEjD649wZifc9kG5rfL0xLm0SOdvERhv4As5InkiRD8qryFt2YiINMVWPaPHr/s0OgBpF3tEDHPQ3Bv6ffxpCgHnSka8o8PNHwSOPaqTkfDVEScvyAzYFw87zbfsoeEOuRfsovpmu0bTizUL+PrwDfCY/hPuGeW8oaptxGAFkEY54Ynfh6bKnjZD7vp8aNNHlEFr8vhZNS4Ou9j6XyUOTXS54eSUgY79QsvZSLWMTn7zlz0Ikjkx/mQsqrxslv2ZbyTVY0MXBd8SQkV76UfDN/KU9fpFu6bxc6ScwejIIgsb2q+bpg4wCpyJI12gv9fnQm3hLLnQFTMhTXRbXTjyFLipDMnuKreVC3fJ130iackLbM8en8jF7vRf4CZ/Z+oON2t2/6IcvX1ijKh57nzLXnJ4M3CowkFvpjN64dOUu2x6GBTLWMXzRWMOBJ62/L5zWGffZvDnPI5kE6a51fW9aHTyqS2KWE5j++b+/GKbounBFtwT3l29rZ/QSs2MJMD7+FMEn4GNsnkp2u509oy9O6rMDvqQgfyBPHFguJMdiritcwppFcVqgmk4E/rv3j5ovIwsBgfBGPV1bw0g+lj/hyuDpRwrQ+t8myaBF/BVUj0nI1HzXT5dzAoMP7Fkb88ZS6HgQnR7Os6MLIaGjq4TPL5SVmMZB19kByxFp6n5fExNiL2GW28sJk/8vQbAuEtrzbgkB+442PftzjZTSB9NOLeDFY3+78nYamCfA1OTNYWwm/XZWTUGzldJVqAZ4GQCVipMfZEVJnjV9a9nLS+i68MyT3lc/tkCjrNC6yU74+s4C2vayZeWZaVAzIyNfT5yBtaDyIdrYNv45UKbJMdIy54vpSs/6Tq6RtTyY8A2ks+CK8r8dBjLL4wbLpRCmmj9RdKk1V+Vn/Oj+FHBMztTz1gqH0tUzPREvkw8gX9BQhx2dAxSQkis/XKCWbSSHEtWp29Dz/BgDEWFi1yK407olF1Ga6YpdK4v967fCy2eWYfINi3ZRPl6ZCFaEFxKgbxjwNgNK5jT9ezqDtXM38yE9+v+I28M0jpUHKHJa0kB+CXWMkKXWLGlOgx8S26RZvoOU1IQsJHhHf9GKEtj7cfrOi1PO/G8MZ1WzhRFvh/OddR4ltSiMLAHbTR/ZOVetv/aGW5fL8t+PuoTVlC/SC2DcpP14FQK8jW07HQlsFIvfl1b7+yu1Sm9mFumMrqxK9rpAAhHF0A5oEsgcJjowHN1vKEeYht6dDfyP4nxXK60ZbgxyaBKEPOVQosW8bV2VNxs7k1+JMQT3exxKJVStUm3yNR6H/lUmqXnXTDi7PeIbSmPDLQerm0GynwbGuORrOr7YTLWzIbsQU4mHdPT/O6iMum10qS6znY0/UyYXlL8THybizwYAgB6sf8HINPFDhSulBqZJ6ZCbjUSclbltOrJOPMeRpFeUDMyZpvUPXj/PXAI7IJaEN7H2aggnc2XTDHYC/VocA7L+ORn90wiQJ2WPnDb9dsmS9rv+JvWrmhwhs6Q6YCoj8Z8GZ6p+glhwAPANkuohN5WLH/9gKfF4bLpplT/u1LE9t4cOopgNakNnr45LULOKwrybOsdz5oMpRw1xqTmdt3OVllaxdbD0+6tEa7QNMmds2IyNp4+dssOOMCOspsjxzPxCq4xieifCIpRGVuxpfcA80xlKZTRANQi0JPy1MXhGFzCdzQyx1Aq4SLuD1x7xWsVrWZaJ4/NDZI/Y2CmOVJifYUZaAzlCrNjZrhZlJy7UOs7zkby3lA3NJyOXtGuWc5U8J97X3WmauEClsTZw53gvzZfmRVNdtlAgGNDAcTPfEjEnGxKZ8cAYPMtb7JmAjugmot3JfJgWiwTY3snsWvd3XACHZngoJj+kzaCRHMgmVhVVwzLZKI1KhJBP01GTRmGkLhQTkQOtwu+g4PkwbluEQTic8jLNYTscE4YRfs7C9eQbw3C+G7BOzSS17SSBzFuHkXE2P31LGnJgkzC6XfktrH3/vDQuS+3eoyfRtVaWjgqxZ0vOR/KMe2K61sN1FPwgJIUCG7STnCrO7BUhBdjXet50F+sz7Hs0wHaKa5hcNCMpNTZRTuKPZovc1OC5D7112NkmhBysmicJgkm2B/FTFWfcEHQ/iN44bqL7gjI5IW4On8uKVpP3a/evAn/4Vv0e6yOyE8CSLHrAghqkqzNzaRty0gECf0KpS32c893HNBxcFHmtc="/>
  <p:tag name="MEKKOXMLTAGS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DFiQHjCqdL1bAIku2Rw+/elpsbhxpGORWsyShyRL/tWmsIuTsDj15mcBBC6rxNi02vfR74RCA/dpvKGhZx65oxS61WxlXyiEy9Agpt90lTaG5PCvpy4nMp8hq/RfD9EMWBn55MnRuSjgSbT7xjSfhoL32vrJIy8vtJ86EBcptqGsuTPBW+5la2CN36FYXwOITiQyW66KyQ/P8pPsE1A3C6MJShJLDpe7ooecxKvlVHntKvpU/rd+DZ9F0QJOiBQ9CDAfg5PYgyULfIVXd7U1+i8CNZ26bxKnWny3/NfFzpHRXCFqmvEi7FEwPB58zCwmbspTwi3JAOPiitv7RT15GIS+7JTFEyiNiyRDlenr9LBuE/ZmMrVE3JyDDOrhOS9NS4KFYz7LDQkQD67JENvCZrK1AcAgo11s7jA7CMWFD3p1gPLbLq6aA3Q0ZUw4B80xk3ld+BIIeavqmavVXE5TYRDbZDVqi40jADwylstDifp/6K1IV6S2XWJbtXt6NrpLoSIE411Cq1G15cBz2u0/dmHE0MRxl5ioCJkdZEUeipfG1vq/ScVJhHkKATuYsUz0Va7AdCQjgGWmH2A7MtZNQOz59saLC6pD9YFaiObq/Fxxhh3vpax4h9WvA07W0CFf8p67Qh8jA5hmqJpMZFQ9UZvsFXKoht7gVIxonh6hc+Zk+hDqZpBoRpvP5Si37UzU7ShRQEZ71aW5KsCz/IYFmqbbUBF1PK7D0zmnIjJ3fOVMs7LHXjyDyFG07qfxu9RM1me5X+gMMnEdUtZ0f6y+AAYGRoGdzkiUoZI71SZUNVQ4N+MiAqe5eGawYnM+enK9m2yWrHC864Vcxj+KBmx97LL4CVQkfhQD0Qfmid71hUNVuxZmKgqXUAzwXWFZSPqrAVvMuUZ9WIf3yo3ymEYcHZOtILU1phCMp68WHiizaPoLyHGetTd22InrANhvrDGijHlulfPOUH3Zqp9NyQNjEQ6BKoimVJWvIsf5uTXYRBwfiBOkvbZoyYN8shaXBzNOJdEsMxgCs9PG98qFvpOYAj8Yu8m817TdHzWSl+yturmta5jI7B/tpWPf4pNO/Y5FZCsE3nSudH4SypHTVaqdfNMPZEhk1rvmKqEpIw6P3u8macfqgYwpl1BFrJYYnvMYkm0EJxzEGk7W1UBfh3mxeP3Q0qsr3gRsx1Flf5rRsWQrDutwtuoDCCDgNvu5pceSR0pZMIUp/8KRf4BvB4dle77BuDxMFpi7bj/XaEsl8+9uaphpix53CXrFhW6axLeviuligxpY5sCU0N4IHG37rzhabvsKwrBCxLi5t4VJyoVZC7GEr6HFTZfrGbSxR8JaEgxGmP+3yyam0bzRRmEAgCRivmQu6KViFDEYndEKWkCRw4vWpxDAHE1nIGuZx/JWFEpEQalueFZKmlcP78U6azCF5QaxOQ7R1Xda9gYjrM0JXT9M/kOF6OYP9lTAZFnW9MP/M3xQgVeO8VEj1FCIpyU8kL4nR+O7dP5QpOJie7xVMcY41j2sPgthD8V1a2ZGtCgQmD81sbxBCtxJkoJzglxG+KCETgpO4L3O+sV2eXm+GJOudqzrhl3f3pu5hytFyGgX0njVCTmwYY1QSpKK3d8+OwMCWraFtRNGelistmDOT13UU+uIit7GRAMa5uO5+CZ8M+diqFgCrMZnTeCaoSvi8MzuQBbc+VgsTJU2DVnuwwzcHrVtviI1cJsSZBBeU8Srb5Fe3X/m3ZraHqgZXukEnpZinxvvaxh+t88x7jrvpnviwZTq6XKZzvEWPIaWATkrq+wY7lTDtpRQMJg1b5v/kaordJUGwsL+W/xcXY+GhM0PmW6FeVBZ+QkJyx6KC5Iqer9Di7+l8b+f0+2vvKYYGiLK9lWb/q+nkdIPUVturAYaO3D9Lhh4QtrAZ1Q35IgUETisO4vNZIVhX+tOfe/12jLPb46WWiUrTf/bUUT3rNk7eJNm7relB5vaz+zob1DkWsXmLrVhasedM8wbCALVsjPMoeKsArMp7SZHj/M5BIYRDnW/dDID10OdV17B6U46oiOQHOkShMq3NYVP3PAn2sejBuAWaioKtbtDQD3IxBO5uKUcq21kIvt4GxgfTSotvdkGp1auGiTvg/iuWKJ0zw1N36mfg4l8M6uJfoajtpATNhFdk5TuiZtSfKLTujMIAvh/8spy4ide51VCyA6CY6XGPYV4uw1PZgVSIwFCSolBKMtvgpd3yMz+9FHCKz9ly3GAiFElPxJYWGfjXaIn2dGL2gvIUzk6PFav1ToWW6kHeTUn7xOtm5kzZ/FPS/UZJPCsn7Ph6BgF4cISKdAxpRbMdQxRYvnHofswp0AHLiJJXACxHyHUktuJWMbOyeDJQgmvbH9DD/hmMNGpHrUcQfApEwsXfs2B7jyF6nxCR9+SnHaICK5NrIqTExriM98JLhoPadLdxkZLf35cEkGxi6t3EJYBLCAW+t7pv9rjdwudZ///YeJTWzwDvkwUyYGC0y6RN/TOdkXw7m64WWXEULqPAr1osjcd49HCjtHkzDpgXDhGFBveKrZMYUlr8teLbtPbteUIkxnxQre7MjQeMXGjHneOR51Vr3w8JocRmUXk9sbRgBC1ns95EKXeuzXL2dcoYzJM4AmHrivhzIoxJg+b/03lJt7zsXHGwFG+81QGHc9jRRISbiEyCa7UZa2e4mIB7uZKyJyKRa7V/F4EKj9otrv2SPLlKAmMExBpRC/jzZKNQ4+ECIld15mvEa2L/h1NqeRp0M4wkfhBvKQq4+vfkW2qOIYRqiKRD9wTH8Z3iqzWgi9jVUNBt8qWExnPtFqcWqrXbmvHt8ihikuOIZ4sRISgDYQ05GYheX2rEmnhcUYbUfNXc/m73mKd6WPK+VoKgvB4rK45U51+Ejwf0d4w+utt+Ikvtr4MPLjGqNv0pZkQNMVAXZOuO4vf9u9fPs/E9uZ89HWP63as9msYL8X/cZ2VMIzehpgT5Mxog830iKmTH/tY1xnIaLqq3up6pRWnydDaBlw8ek5/9OEvGJySewfFBrplutnZl1lK45X90YySthgae2U8SAU8SyUspRkhqGra7k3eVjkaqiQXtLRv/3/QO1N3r98Gn1eLXJwhdusCj1TOtRKrHJhRJbevnxiyzyD4W4hQ3sdsDl6mO8OEXFGKqZltvSKcySnVhS2UrdSYaEc65gBd8Da0tzV0+EhCxdiR+wHEb9oA2q9dT77j90AEP2FOACTIbZinkc7uC7Jh7AAmxq5nWUZQm6PIuVub0ugws5BQkfwjytlRs9IlPok8rUsN/utUgAHy25/liqli2HWrmlnNHYRHrX7ObdsjWSWI2/hnZpwQBJsnGJzU9GGyH0wIyWzFbW/gcEkBn65VVx6HO0oaapE9fKYutGbk+noSflbTZG9DPcj3KkvkUDM6pfzMDI9rV+DS9rhWQPcavdjJGgk1J0RS1KOIvsMdlmkxtCAK64tybY/ItewxNLmBpTfmXxbvbbkpJNo7wWQtPqxTWDKkNrOFN+HG1TC8fGb7y8E+UK74CdPCu7U99r9HGUcpKJvUg58gog577DhHB36GlvCbjBwcAAXTew3GEFPEUEJflEfJKFS98lGKQOjBRmDgP7J6yfiG3Jht2MDhl1dQN+ENcrTr4RzJDKBSiV7p9KScbEjHbjjM/OJgzoqHsiAr4UxK1mR6Jky5HTI5WnWKL/95I17Npl1NTWvByMtBH11+tdWSZL/loCu8P3ie+AXuAn7dwNyvIFdXrkhbsADij+WhqmL0/Sv2zTwU83pAYXrXH9vWkchzffTSEQQ8wX2P2C0iHj6nQXIcp4IGYCzokxoGlMSjB8Oudh2kM+oh1BdG2nHL9bWK3FsoBxfiKNJCa8rAUFVwHsLDvJl2q0DmZcEOer5lIYKFtrp10B5UhoLmeVNm+ijn8YTZGF0vBgYvujkSZMn5TGWmoCX4/GUYhTXvXPM7BFbl52Axp1uLlKG3uch3WzAEwvoytYK3dzBbxBwEQku2Z4kTMBEHoawPXJkw0BS4hyHH5jZLD4LEoq2Qp3PUX5Jt7KkB8ZXZnJ6yOal2tAyzUVAWR/WOtfFpFVa4yvgxDzOmpckjwxStvJDSsJUtMmMHHVMkx3T2HTtiS1GYGvW+nHIAH0/gbVBwMxf5bf+mGF1JKJwAMawmgV2impCum5w/xZUIpRmX68rZHiCNG+ZxU1hN0LZGEu+IacxKt3RbfVTQrXkM6lXfcmmprtd5fN+hQgjl0bCIhsgzwksUDhLuLWJ8fulbj4CRnL7M0M4etZUizl6AYyfh540JFOTpLrY1A3Q+LS0i1xUbD9xJnpeJHGNNhThIa4VVwJBMEOqa0kuDaDqNyYfpS4aDSIUSJbdSv7BezRe1pWnxVfezziFtFbbqtrw5TqrbFVr/RZN7ZXl0nRU42ZHKyhKp3zqEAwCvoYpFrKZ9fs7vRNpbX+pBVBLYG8mZIs+v10NAkkuNhd3KC2JzSpHjxyP7Bbh6TdgFKr5LZ1vi0TqNnroRG4SDH06HLSC5LYv+N+DBW25SwFWpiq/r70DbH8Jko4ozSRE+irCrmtkvw8rat4DxVXnrOp33PUF6UqNdw+PWUf/9P8wmgNV9B3tSDGQ1GfyDF/j+mytttwjJKHVaCnOPFEhRvGQfa7Cy2i5BmPB62eKg5JlZjSQ05+f31VeqTatoq3Gx9Obk/Q14/bkQgSRXXssSv4Weui0a7fLwsAZD1npcj27Q1+gFchlm9GcyKaczQ3SNycKMBlvMnlzjaQzuvZgLxOFxm28rYilzbTGFNvi++p0BT7z0mIGrBQCrHbd/QNb6V/OEjeykuOTinACUaOxEm4QNS5xOgKjYIgrhklaEJ3KjGLBTDpTYDyJXw+S6vHhr7wSqT1XF0Q0LeBjUOHqIF6N3LvJEr7dKymSmQFREi+X1x/gRCf7r+2z5Bs8s2imRXLoSouFT6TWdL0gcz+Tq0nEbLVMdxGQ9qsGaE3UKTAhwlXTWLgcn/ouLqVLvpbL15PvmXjY74QGMFwCdtmaG1sMem/fPrG8wOCRvl6rWSfKf8QjOIOSCu5YuK2oImHhiVe88h9REOGjqGFnhUgOBU3ryG3d+FQyploNn+UgdCjpJkypWfuiOBjUGRNicXhPpGQnxsWMfsU+lW0rFJjo0bWfE+Ai1km9xyG76Oul4JZV41+ZHUepd8mkr2DgV0bbQAuGud0ckAfq6NRrKbtmuW7Y7cJqOgaiQPSRT1kIn6vQV9x6HqcCdNL1n4rD9LPC0DCtcSkEvxSuxBYwA62RjXCDaOLiulCpfnxCwOCzkfg9Ynmb6jAXJRzkBvv2MVDdOAqLIZMie/fRIKRlaY2QhgiPSIykggI5XmMcwLVSXHZeAtvcnKRx16QzjjG2iEupFZ54xNhbomlwHvCPKQxwz1WGxnqvgYAjhyiuKYUcIr4bpFSppEt207m11gJ8sJRWXbs/alkQ51OLM8UMVPMrJDy1yMUwTQQScEdE1w0e484wb6lD+/xXJKPHWS215/hz6qlEPjK6c6VIHgNqYI3ARPV2zoordqdKUG+b5lAcYACrEAdAZp8gSZuQfINd64YNOQSqR9uyiT+jdjKWX1jZMMPiEWaD/8p97zcmmNqWhsoAd2qqTd8ZwPVi0lNyVw3EvmBZx3Q2ucEQgBqtd8iqEcHfns3eR76IaS+RVAdnW3dvJD3VL1ZSQ7BHPBQJ0+DKp054iE/NwCn1wHbPp2l9nbe7EN7fiAaS6sVQanHChuyOO7GMbopA5Rc2wT4owcqhQGuQhwMntF1n5EloUuuTZwoT9C7Wj7ndUeCsqJIBFEPK9OfiQYSzj6o6+96wWOb5H45P5XNWDVpyDDtQd9IGxGCLyZ1+JkNG1oK78R1k92qJGDyWAh9EtO5zC7QaFkc6+iTG2cQdV7QJQ+AIMwA6OkqHSA6VMzILUi3JFfbc8xcgbh9X8aeL/Lv49XkMcYGOiVOnrCCym/GMU4FiWg8ZrGWwuv+IUWHs3W8mA6ZBl/vt+hY+5CXtfYP8Id9MMG8PGw3T4mjtQ67kR3ZiwXgxE3FXjT/tMET8aZNflIBAl8etBZV62VEmZ7GvoSqjLwzmJonZi553io7YNQCtN7klQclaqBkNLZZrWH1NF5ikh8XGOEDiZbjKVHzpN1wboSNPiCujLqdFdEtcWFYf8rIsNBgKRJ3djfRFGUANAjwjP+80U5qZEDD+4ZsjpemDzKRyIlgNL4cfR0m1Z04khGBnvfF4sessYUW2aPlpoXcNruWz7lP3JN+DtEPmOBAjTYQsmNNZD3im3AI5vfSgvyiCkCEkpxMXsk9jNuUH5F1rxMKD0Iop97bc8oWdlccxxcwstLSc04veHi8esit4RdFGFneh/0XXEJb1Ohkw3iyV8bH9G8kuxFjlcGcSVBWiWJxS+bw7F/ieyhSHLmmg+Ta31H6lua4/ZBXs8+KZCHeeOIkGC4eiR4HVKjM61AXvu62iXOw979u48vls/vNDh3Y4gRz/gSneQ7s6gqDAL4adra6hpkf8PcC6v0VVOKjjz0CrGxf9okmIbhxcu2p763W+M+MACbgA3k7LRnKz7Q0xY/WO7dJpxr4Wpy0oBioHAFTISDRqx9Vs6TYVE75VTwpVu8itnTVLexfp3doQyA1QFuZtrwnCscxOO78nrMpVqUwDvfX3dFrJCQ+0klzFgYXUa8xrd6ZSif7yoGrVbAu8afB6HNOpaPwFCUUuIwSteC+ScLSXZwzqsY4MhVkzZzT8fzMvymKg7LE/+jgJMCPQmIoNZR+yz3sSAVfEaekrzLUHbpoo3kMkXi6w7vX54bB83zrrrVwncS41+Lh/PParldKL0soyQb9VHPv/L4tsJSARkzqyJhKBNSnGXa3i5J5XuGKvyg45cB+TbcUwhuddtEaK45DgV4Ej1YlOiNdNLymYSbfqS0WHTzEBKZA+rb8zeMdbTcmw9XCku5kQuqK0n/l0+LKgKdqyqEw/0Jst/maEMxdoKIsz6XA/9yZz8mUkWCQ6a0meaUKqyd//8sYx3fIxJGOA7M14plVPr3MP4g5hCDCh4ffI4TkxAmk8kl1cqHvtezn7jmKmhgz9uPWEvAW1botk7flBBqC7xuCoUjrzv3tilySmwKkYXUDQXxrbzeJvo8QIiQvfBJ3VMTXAqYQTauAhvIuK8bln7SMcYbkdcx/qqyZafQ/LhRl4/VKSLJsvegTqXYvzLXj9uMAFr4lCLEJmT7Ga0o9DnS0Otk7sysuuXkenoPlcX6Rxv2pwxBC47z+Ql+14vPRiyF4c/iG2/7i8ypdjz98IYUtkBkGh8myYUUYaLvOpqGi+puVnour8pF02x/lAp8BJmGn/kn/Dag0vzcUnaTQHF8xwLFavc3sZxnFedp8xEdTpuA/CoaYT34Vf9qp9xWl/CxGWkFT8EL+yE76FSyEt/Kg6JhMbF3sioFLE8HDFIpmosI5aJWqEeJKxIKTep80dypZOjefAIPd1j7yK/ZRULtHWBHAIFn4jf699FHBi4B7maESzvVR2hY7pBmjV9vbMTzSiBE3rrKPjcmJ9L7PBrLdBjfUBHTovYJKTBHfMVBwmXkAqIJSkbB/6GK534RbSUsvMMBQlHc6N5sNfogEmA6kzQ/k0h0pJazXefqXJ+BX9l5MxbYarMWC77bgfe/Q83Sc48dieZcwrBGijtzoU7XhX7hY7O+IFp0wgQAfpsVK5XZhZWZ6ItOXXkm2cPJj0wEOqC47I1hV5tzZXMx/iWHHqeTuWWS5HBbYl7cji9DRxZJUIcGp0FJSPiJh3rSLcBtlliLLhPTrZlG+iVl4QA+i7ufLl2m9b7FuH2w3D5sLIculL4T91WAgEzIs5OY2veq6Q8ofXnDkoMXuKyJkq8edo+/LC5KUmCuVmm21mnlK/5JmFrFw6CgD4zL8cVKKsDCIIz3lG2lMuGIB+Ggw8+2L9ZkWAl7qoYw9VXVcmVm9lYkeX7kqTdW7ywNeHEKe1DWwgAbHhvUiYzXL5u+V4yUUn7xm2aH895i/mPkHt2COWkd5EqQJGmj3uQwcQ0pBOub7eSIO1vW7onF5IkqxcLeOWEtZjHTHpslbSPIoWo2wGWSEt2L63QzoH+75vCHGrVrkLQvsqyVlj9OgXfc+syaFs7pT5IaNetEhsrg1+yjSzUgpXkLFIv1bC4/e9NQUDfEvQQsVFcsWpGT94Oc+FA5mB+zFysJoZiGYx48aTu7LHDSwzdLPAg9E5e3S2DXD6k7Yxexp3p8mM3R+3oSXUPoaMYsQmaa1b0UTFvP52ApYZ8VjEPlH9UQ+Cj2vHmlDMU4hBzmfUDlM+4Mey6Hd7XjLbINnq85QzXiLhS38C0RKGu2KAt0TSs3ukWQBZKdfBDfUjAhUBNVN/CTCp6de01/QxiBvZOAdvrasUB5fZcYgPSOf+5N/VUZfh1E9mgWbs5MXVcWyQ1mqNgP9bQnGu5lZI4UTg9iPmOTS/mk9X2LMb9Cp7b51uj+J0KM+5zrJVcHjAhP75k0TO45OSn2no475Kgp6PHIqmFmDynyITtvEkK8LkbWpuO9yPkMpXFwvD5F9g+qJ//n8exEFmYiG8zvv9A/y3jxUw3ChT5w6qIGcdwM1Af0YZu0W+vvEiGRXWBZEDBAEUgYBI61LR+DAJbK+lYAotLnUld9D6wN8BKH960DY3pbqpNsLr8sX+5rHNXpH3RJYuEOpl16zDIHZeOvvvPcEN092KQkwpOkv+rvP6olL1QFNQ9qOhAqvv/DVNABv58NwAEXQ+cx1qmMsfFg5AQbYxXUWtD4IvRcE3ewusvdOp6wecAI+PmYrCAulRIHR+egGuy1rC5vGlVgybs6Tkg7hJQEFtxJo7KZaDEhExkMePL7yZxjPTnxh5VNgzW05ZP6CYuJEDBYgrJujlszKdQH7OYj4PgeAkWSPxbng252tpIqIQG76NMlIcl4AphvSXizORV0tTStSWyfrKKI6mGon9YNLrJ9gkmOPJdYGTlAZyc64p4lY0cFWydFKtsyh5FTFvxwWc2R8OWobiGv58W3J+kWf6Be1vdFfnMUMRSZndVvlRuakFx1CSI87pthTKiPT0fJzLt9cvdVJ0wyiIbx0kDMlUTwShItZwFKobeRgMD7Q3Jl3803n/sWGDdxmIhcwtSyEaAj1MqgNNFRf5z6MUWAf042a5bVgKUAqXJLCBJxCWbD9j1v2R/4h1lbK7Iqsd2r0n6bOZyjTWtY8K3s1ONktumcTkirB+GAQ5CY3JkgD1PkCsqu00ki8KjpZlCpv08OtgbwLYpR1SYTE5QCHYH+Q06hTx0lZNgoSb7E2UJlzEz+BcuwwmpXGanX8FzmUtrNIHVoBjxct+ZKeBmWxKnClm5ei1VJmH8auUSR+ZQapxQG9wp3IJBajim2eFfN9mgL8N47OUV7m3nzkhbjqOxE/IfwVD1vtOqLQkvMOFYj2p4ZqkufyBiC2kguWTGu40aWbEcbXE5nRYup9iIqIplpY6AdkEH0gm2lupd0/NSUS6pCZU2whgXORSLh+RUFmXmCh06knuP9yM7gBBiJLCj2BtNo1czRh21ovTIcfRsV3JKfScAMU0WbCvw3r6Il2qB6vE5yLHIm3vjeTUZKSILsDtCvP3uJQ2+39XamUoBEP7YWiCVEIhjjBEZH22Ln3y098h6mjGWNldluB2IQVJ+PjunIFtXFxSRmDoPyvLJSna1++Ky0UBldesKOBECsQ4e6hwHVX54Jm5hKjPgz/dsnkEwXe/TJB5G5hashsiK7V8x5CEQekQpkMWrj/TW1SfGX0IXSwqssDKW8CSkvEa8iBdUvXhkz17AHTl3iDnqqn5+NCDQ9EhR4bKyDK6qOjGb5GbNOTlkhFK6xP7NqA9QxABDik1JGtdCz/P+2iKGW3vm4Bgj96kJk9yrrUZ3s6ECs9KG8pxqGEaun/65vGpslAiQ5ONakcejdY286s6shoc4jr6XS43RgXccZO35UtYQExMgeI+pHvCrnk2DZfIt0mj6Ee7nnC6DKCFM1jONTOYnd5pOAy2kqNMoM49O+S0fldAI16Opew7MhkH0NaiIQj0nLJQhuYEzksyYvFp/IgC3GT+fYC6AZERvvSj20/1iVWEThKsTjKemFFg1CibzvuvMH6/1qYRr3xYOaoodVejTzkGgjCU08W0Y3or6BD+DwZH6Xa1j8KXO8NdiEYhAD7NYjhHTkEoPZU219QYzb8snPdNJxQGkgTMEgPxG9VH85YMD7+cWfZ1sgnjO5bOA0aq+6Z0Sv8IeAZbFOSU8L4CjthWzh+7RpXdf56r0APOwGkplQot+GMgO4GDANlIoI0e/qQJRVKynvs1UQiSygnXd4h/LbwtecCK2iLxXl0fP+ShoXlCYZfSwwK1b6OGrem+sQKD4h6PLO6nknBJ/8UDHXN62t2yIvCBmMh66yuT/rwXdE1V2q3PI0f2/VyjZcco8XeJcbnbcLsCKd/L7xmxNLTmo3hAkkq/DFceNhvsO30e66f43n16fzRlyUCAcVBnwVsEWdHa3wEFxyYk4YvtOGLQYbSxlJT+Pqrf31okev9eWEgSvK6SQDD7LGtPThT/QKOBH7fWP+yhPTkqBwzysPU61Frmlc98Br44QWd/UBFhL9iY7Z+Uwyo66715wJfu77q1W25ipwG1WyJc5oU/FcSh9NXrfaOR5iQFOFLas8he9NgTLcHFDwpdTeKURkvHOgh35gFNCB4EzZf3j9tpXCjd5SkY5e1H50lSNI5EdqNzurk0DgVFIAIp0dx2NmXBSrCvVPNZHJ4m2Y7mAs/lhfEyc9dQkwqoSxxA269Ezx6X1gG4J462dg+Jo5mcK1CuWO4FOjjzRuKwP1AJ9S5fRTX1QJhjy+4BQaMwY9q0nwCmQU/abygg/unxOFqrfWZZU3ul5cQtaTfUkmIMgt9xwp4ws9LcTPPauQWTmu3c5yKhGuLgz+x0SEzFfFM9jC2SAhrloc90tdW7gH5fIZgL9ViF294fsQmynjy8kHyU69nSdbI42mw9/b1WTfhq/gBKu5bosRhQh32R/8lsbKI9VUca+rPgISkPwNN1tz28QC7ypY8V8wcleA45+kRr2w1/Qp9HnZLpi0EhHkVW9ZHRWeYbTA2OwcD9XT08pTn5n/WHoU3nMU0Y++K9Oi8FZle13DKxgyMf32HXh/OxLvT3Tyi9UkEw0NVVCCDNyMmITQnaZW+JDxeVAQJGbOYx9F4HQTZ0Bnw/YcWYf/md9sjPFfH3O+AA2zfY44AT03Y4ndqy5BlRZKFsuBDS5LGdMgfxixEyVLd1iut+NcbLWGq5QCjGTOKCgYxb3OBOo85sfTCTvTNQMxorV1Y7D910/TiB5PQTzxNEtC7SVV8RuZb4qQITYVz/Wh8ANdowbsiTjSQMtdvdukTrxCjPOKO5W6t/u691Tr2GBjA91tLtkN9Y0MGtmsI2kJkF/5gE7wbX0BwJVOQvLthTDGy2zVeysvJ8sqCr67qhWzYZk+HjVzxMOxJLUBM/sBq+x6pR2WdA40T9xHL03rRxlC15BbJp3+ct44abwjVlbBsbsgVCit7HXYUrIRRYS6JBC4LpuckxCqY9Baxne0D6ci+Dot8yvn+5fvhi0wyVL4F/FUTmd1kH8pVrRm/keOXg/LZWlHvNxDUXeXztvWLOI7D7N4jQ3WV6OlsZbrrYetcDRy23aRk8/YYxhCK55DlP0y94YAtWIZtW/dTTYXJb+AOFsmRjLTzbzLOm6sk/3ASmPW/bKFuGzXtsXQsAaClMqQN1reGYJev6c3bbaqzZAO0GgFXcJbCs0sSeqSSYGTP0GGtiuToeWAscaJ3/YZ+xGUj6lBLq9ig9pJMaNKD2KWBPBNIRVKIq0vPu/bwohFV00Wa4aKmF0a+2FtkOB1DyNMx5Hiyj3tml6iZjz6wFKVuOUrjAf1L8Fpv/lik4HRKkJIOQ8lSpw7qUI1mX8Xi6D9d4ziejaqoSXbfYxImQIOrvrDFQh3cNyVHNyUWFhx7/6ETzu5Bfm4Lfp/SJN1T57lf+Q36Mo8c9+FBCao6iXNo8E2HXJiCxCV6VX0zVbTD1j8k3aVs8D2UF8DjPGqgvXqrx9lkC9lIQO1zmSAp9JDzWSD+TCbiTX68pa1fx/Zu+SuCL4u3va+WclcX5qzTTDyxWKm3vA+FzMbCA+N8E7HFQnZkIaZNWFS38NfoyRkJgCRog/emWtAVaRTiFehqb7DlSsGWbwNC5zxaikNAaH9sQJLQQjiBGQHN+mKBRXKGVakUdRonnaiN5z7OpV+e9V9UzvMMYDf8nhqMWQGYelS/RwsUAIfJT/rsXEt8EDV5AbL68xvpWOT/rB5l3GgcvJnVOT6nZMpGXOGBbAZ0/QVTdGJp3ByRzL2LcR9ROWFo3/1S7oJSer6SMyy4VLqVK1HexGy0NOMlD44kiy95oMpywhwvfDSxjmuMy6A5YSydBZZXsrnpB88kFD2lphSgj8sMWi0lU+JlVUVa184oKjoWT1iXIPCys7qOpkS2copJjYNOf9g7lHAhIhyFB1KNR0cPO2RjMiK9m3OnN3VEQnUF+zjsrH6h0iAzcjO8GaSD13IVImDStK07LIi6A9wmIcXMAZEOzkO+4G0ZUBjTreKBfXVNeBNDQNag2gWajsgo2QEpuUfdbXrQSYspwCmnFhUEt4OoDeVKJ1Yf8paADscwEyNe8WR8DM6DUaIMHHE6TPAx1ePju39j/IZLfVgCo9EqhEcnEpyAuoF42wBqCVOVly2q3z28mFncS/X7oc43vvpnUw65P/Z6pDW/j2STePnqMasfWZwaQhmJvBWLPZCsW2ZqHsA6MsKTal84ZL4wc5SqTiG5f5zMFVQKCmZMPF4BW0h+gcitAp6i+OKmajtx7MhQ0CGZ/YZ88OLM5/gdyBuaaVkAaX+5jhMPh90ayPGAdgmGzRhDs3fAy+d7cErS5glGKzVOuo3vbgUWUNrkzFeQ3iBQ016jk6WwY6XSM50XYMsBwdsZKcfWCiI1V/1ArE1aXkdZtSr5SNfsW+fQclSQT5lPA0uE0hC5uFGzSuiWt4cIwn5mpIHAMWnt16b6iZ1Tb2pXGoI2ARN1c2lgfpXZkv6yUhU7+y6aYwSdF1Noy13w83xpRmdzI2wLpefsMRc9C6f7BVCvOOgWzHQcjcy3bqIzuhE7Dr3eBDUxRBUk9wz1lCxL+A+1PJw8nFJxxF2Ve3GmPJmtR2ccOu2bg3zEzpBZuLlNCSJ4MojhI+NdsUeVkiAPVeY2cLiEODvWXP8LPtAtUIDPisiAo/vgBHPxXVqTpcpvOCZpwITgum2sLkgGHh1UB3q63zQHF2GIIrDsjfMbqbUVlW5edydkXQvvTAfNe0w4fRglyq4c21UGExC3tKsZMx6GV1YKhqsuyeRQdrrWKjKlY2+97TZor2YtPppGTNMFp/48VnsJ0XmK+iK9olUNpNvRv7vsFsWRjNQPAIsSiY92e1YpvxYPk7GAZjgtNLhEDunJzBwfNmenZvglg5S+OSbOxbE9YDFw8stioDCOic3NU84kPKwxNGQ2VQ6b+MWuJ7f9HP5uknPVv5Sd+I3Y+DuMcY71MtH7MwUATrzLhrueKUd4sx9Ng3tCwtKVXGg8sZa5QtyETwv64A4wKNf8js8DwhvnF37N3AddRHC5l5exnKu58HoBHLhz1iVakgYfnazlyQF3+PubMoINKpc3vSbe/UHk02xZ91k72H7rlGP/9cOU/T+na1JQ2nrtCE3JRmjjwIi24GP80J+9yXxXJYn3raIdzsI59rwBf7P/83RpOBiMzPK6+qLyXQqMXrPqmly06epdH5GRhWQy9YTeVjCGiEHpRyxTzRTIn/xMjJAyboYjLxbKBGji8ixALbCoOFZWw6IqKW8YEW2SnoJ/Rh9cpetQ2bBQ/Tp9sUX2erWqyPLMXm3GYEYMncU7L+gnvUW8T+q/XCBrnEnfK9eYGESEAG9VHqJKai/eUrbP4UWR8oA2SOdXj/wmeK1Qmj1AR7dvE35k3NcXb3fVYmC8DHDV0MZXEU3r/87TqSyBphdx4SRBA97E8JVvD6US5SdQkP1OPJPJRsXzMrOujIkDi5YlS15967oOEF1OGENk5IZNkIhvSfNPJnJ5oC8kFTIJPJtrXFB46URvbahiNKVQDPB5Erx0q6451HDOSLJm5wyLfs0sz1tlLoNazkIkGNfATU7HepV1zqFKuQFju/YZBE8Acc7T/wuIc5ESFZq9oI+VjME0/FTV/+JZImov7e20HvDGsrVG1vMGKegpUlX6mvvE1CLKkey7HS5NOgbIu9mgbJQhDwPcdRqFJQxfJfxArMvb9Va2U2EOFxquy4x01PpGdr4FSwqkMTS2afsJz7vnOetr5tt4m4labSIRVC1zRjZm8PX4a9EbH9+ZUT9pFY6TJitGXxfcsond9ooKdAGrzmaIFjdENgn1kMa39NjpZi2Ks1ssDYufrn42CtUK209EDhy0TfrBtfsiw8s6ceTaXSpJKspF8M/4uH6OiFu20Tv0MJuTTzq8zkUHbCWZCf72Lkm+q1R9JzFbXa3mSqNa2xReuU9Y8HYqcDecybaVDjlc7JUuGid0xawU7Y7YgKjtPXAX/WSJB9devzEtAOIZTSriQQg/3BI6b8lFZwUxQZhZYY0S+wclrv9ntop5Af0aGZxfSSNFaREH/IvJZ9GGysGDDjf2DdA27epKFA4BZGECqEG/Jecc2uwvQr3UJtz8145PaN4845I0YPMa/PKP6FQg7Brs2G6rKZx/dIJ06hoV9OlERgkmRynMtqutzJAHI0iN6Yrs/O1XoIosOl2Nc9y64qKXjC7IRiu+fOk0R73ywe05CZg5VyskdkzIAe3NxRTMn1zysYmN+sh7Wi2aB9Ylh905dWFmDtiVeMmsz2N9+WStxYHhzUkXfGGqE19Scj66w8FS/8OXi00nnBTwLtw4e18VLhdsdGufRsxn8gg8GUcsIJBLfWMQxSV/rTUziJiihUGa0jxg7WPSkIMkCsZs26jvQNoxnr+AoGWzmM4lum+2QlpHRj4C1nX9djdk8cON6pTeklrBpCnpnCjVHyvv9TShee4JurE/0hwWg/OBHn9fyVAZUFxwEiE13qVEcm+GMYjii8KZnjW6t0ETpAbk9wUeW4TChcrOydobvBNHqShYKab9ox9E8fX8B7Aw0zM50PyCtFs4iC2XzuWaghAYeFEKioieWXapBGt+cUkv3fNbpGMo3/Oq7fw1EfspSDHVyxUJJuWPqBnL41OQB8WBKIuwtNv6Ng13Jr7LzpcCPfobWNB/Vx4FAffzjzAp2fh0+TFe3oi2vZB0TAmok3vc6ys1MnvB+WBXgNUFcViaUa6tKQ1NOYV4a+MPuxITtPh11Nw8XItqJmwrxHs0w6caPqDI6L9pxm5dJ5LMPN0uutXKCfFJsrBqQL7bISWR/7ho3yRJzsrE/W89yQTsP1bQifuWEb9Co4z39AC25k1et9gUQuUYa3T6TG0ah9koUHmm9l7fuTULeXEmWC1vXU73iq3OVa7lH9SDLcDML5aAizjMaE7GyW6cmWI2JKePk1iyk34SYhzsYd03+zGfTpnqgyNY2uweMX7Kt0JKu8i1KRTsc4YY7cxjcN4KxqEodXk/k6QgWnSwBLe/D6rtvswvlQzeVgm3xag+p9ENcvE2XWiCDjYkVbifMGiUKqwkj4syVidXmm3hGvXIDuWOYrpVIcEhqZZjAxq7y3lmA1lA5TKougyKv4z2ZKD0PoptXNahsnLzuQN7knld9LCY4Wwpg+2cD9w+s6cX1P8zMvlOni51BrS4ThcV7Ayt3Ih0UcaBwghFznV+psny8GSru2atuoJxLI20zQMtNHwQ5VaX4DFbK+8KdGSSnzQWEQ4B9yCV5KZRF0YLKb+HdJ3rEDwPDHuYgdd83xGRnBe86+bQb/nLZYXG18Y2oF4qgzWrK0g9I7w8IeNatFPpXEypNPjY/oBwvVIUhl45XIUhhNSn9pfk3AviqXBPPilrNnLwAamVD3ctKtLyAcxC9xS7WkXw7Zaw+j4FAYHtnRaJKd/U2mPeSs0ohJ2AdqKSHjhs1atHTIxs4bQkAIHFW+AFRCBk594yzX7EkTf5lTbK9egWjWmxhVtVe0DWq1Pv/xIDFt11HZY7eHpwnQ2MwVSaSKZ+A39PljJtNQ49vTFqlnzjfngpH4qQSP9k4+BPXDMAhkjUHsuw99EFk0LiTQplPRJncjzsYQWWZtmjj4AyOsStztgDU7UFx7PbPzSRM8zirrSbF2hgG4uzKmY5vd8tB1SqrK4RTQ+lGJNhPiGLXyFlK5lgkNp0efseXNmZx7TqPPNC58cEl/lOERAoa3WlXDxkTMbFUHEvCfZuF2QnTPdSGmTpFwQDjXaHKQgaOUWU6Be3/2ioduLXNZMBHEIWkZZMz2PoxLD7ag7JswCch6dDssm/tHcSekvH9l6s4w5E6vbxgq6QjYvQHTbL1+RhLAKg8cEJFh9HAWFMjBkWuxp4TAgh8upLv5tWyIhLyuAFZvUMnFnQmDRQVV6YkqD9lPIZMYuze3+ggNHekwMt6Ix7qRmErOPvEu+zZCIa7LFooFJjTGYN41XqLDpZ9xtvdqIZdrgDtn8NGas0tGSWJQxlFsOmxWehdBtv3he5dC//IIDFpo2BiI2JcW4CNAVUG47dgNyI2BvKOpmISSxbtS26Av6Tdb9uq4qBwr3YOv4TZgv7Evqa/VXCI2Ib06MkVsLB+4oxSGRPzD75tSvLIjSQt8HhdshoPSJ+agqC/WDoJhp90sdCj75zizy1XPDhiHXQGbxeUYahg2TV+SbDz3JqigZVrpCkafBr8f4ofUH+FvYtyWsBW09FaE98LM8fzahyq9zYaENyhag6PqTs/KsiVAylM6tP+mcApyLqanJ4YPrPjoAP9dcgmv6CA3UzDTvUjiTP9w4669uFsQ5WeidnjvpX4qFseSm3YGncnam8UAf7HhFznK7ftXpQJXz03YIDHollkAZMkFD1fJgfxf+Gi4VFyX823xfgBlIa+WwOFWz+nJ/apN0OJ5z+jSnwwC66szZk2fXl64fIA9SIB46BzK7QgjR3jB01oDHtcdxPb0OPpnOLHBPoxksyheWEFqRHS9MSTIY2cSzW4f7i2fpIV+ts8+1LLkJvomqkI70+vuwp5lxTG4Zg2HsykC2djg/2ExXPgUZVZphwsPEN1C5ie+ACQIxc5suf+MCvtSRTP4Re/GvH0UogzkEhEXRzVbbdif44uHFM7LGRQsfujQ9hK4mvJkkElLhb5nN+d6D7fkk+307oZ95Ztl3bPv2rhAgeOp72YMKXB0XgxAnNFf/fg/zO85s+fevMlH/TLgv760xO+VAu4Pall0qeuzL+bFkHVqVPZI/crgmVgvZuGsVKsZkZrO6jZMBlmUNNIfN5RP4SQ32XVLO4XmdzCdhp//l4OlQAWTL5pJxRrgzzXpq3zzcxMZqWnJhZSr7boLZNXh4TUOJf+1tgDsx8TaYWgINpip2fV13AsRDxXXJTNSbCHuHpD17cPO3bTnfnTEAb8g3mrqr2V76jp3550CCIxaNh8Sh9zbQwq86CsaXdXL0dmFyS2tX132/gZBQ6YcuqbDR5VE+OukdxrOYFl2wxIIJYjFzS2GN69QEpSce6MLil3S9omdTsnk8rUmhFXBupCuFIsQxmutHVrmi0knzdC558DeyxKvjRuS6/EsSkKBjr514NUPp044Om90p2pKY2FDkZyQuxnmb8ft2zxr+7MxVp/8x0Ph/SXw6qphQO7cfdSTeP5BovDNymSNmUeSZhneRUPLqMsr1O9z4wc/ERrxJGCHmKHnwyEcFUiPUh3bJH5AlMWbl/FLWSTmNfFTc/aynxyzDw7Gm4McSXMOD5og19Pe0AUi93hjyo3MCyvBE2qlTV4+OYLb9gk4MUzeIkZORDvnTeeHpJ2rCdIdcGlcESDjbkCbW2c7batWzNTdEQ1WN+cEan1s+OTZ/g6fVaMmwKZPnE6aC1SehGK+0BA4MlrE+F29ktnAG28wZxKkLCLSMs4L1MRpWwt+A+nmrZZJBWNCncp7G/v0a12sB8dNG/TxZshYkSVDTGEIZlkwYsGBO3WJpNGm70bQ/CP2gaZVwaZYbLEKN5wb6J4UiOSA1RG9kIAGGzankVrzijmeFU75FAH9P+jLeM+V3QHuQ7VP2gJBnQOXVkPqRCQxn6rszPbnhOoT39qiXcOiwFaeAqlSwTaed5BTpyMdTSfG/V5Nh4KQ0LTSAVURgvvZhlCsddOxEYXSYPrV0+DjaEFatGBYfl/521Kn5Ed+mUcXT3TAR5JK5f0mJ4fcoZs7Xv80j66OLg67AOdQVVDLwEFXAdhh9+KG07pcvit2K9MprAIbip/5NhYWJncGBOtsBb0xQCImwRHaMRouhOuPFCWQHefiiupgfhfDisEZ36j2iKsZW4J246zujNTMI5vk/UEM6+rN2SCZ7KHoEKUhEO2nB/cec6WJ2WaUUIGVuNlJDGsgDZ541xj2LbiumunuIIw7duDUQX7JxNfaBY0EHp+gVzAUGYaSdHWndf5XwPuAe8nJWuxOUcMYoPPgwjHet1wxNu9TIROtXeQt0uBf2hkrzpamBOpDn73gZC6qvdvKPLfbKHe+MCms2Sx/2EK5xmtgOUqbrqf56Fe/hP4qq/MyoqfHUKsEuqGJCCh2IKGuBBPWToiH3/vEz8KyZgZHGdV9MtJM10XJ552E6RPw6+L45EKNHtFG6DxyJ2ZJlNueX94BH/l0wizddQoClPS6ARsSampWHq2sq+7Z5gEF9tc2EMAa/t1owVVVxq7OZlrJ3wpAkX2JBsoXYVSLKN+Y0+DsTLY1uPV9Akz53+9ad62WUX6b7jYhVcHC9OTJtQa4woPk+KYsj/YPY5oOHkWouUsn4GjIY6I/MtypBLryagOykGw/kr+Rrxo40qb7iAO5ZK8Cgm3/MRIF+w8Gk4+XSwUXA9C6qrq8rUry1WujUXt98Qvqwc7MtAreyyIm1SSqF3TrQLeMWSLbGl9DqRFa0v2B1LJv0Tv24SJnrMeIT4EpkwKZnGgQArhDS7YinKpqTSenW5twpjat8jQ91gnE9d4xBqDlvEHYuoYL4ehNZkjm9pNZmr+7tWbrRef4lPuWWhbRAvDm8j9cS4QmEYCKv+/HNZfUbGhJ6RW+jJ3PX5d/dNj0iF/2slUOWD06g6ywx1zDfXS+9SFkihK4t9Z6oF3jH1Gv9AFRqVSvcA2PU0oB7zy+enrFuucK1jykpOFFQWyWYuStMII7kr01O0//jqMufNIhw8HNaVnmlND5PNKSCYHaCY/Cdo/01yRK6IXH/TjJC+BSCxq2iM4NNplkB3uoxkukO+UR2ve97ajCJpfAi4gVzvMWYRf1LoSYGt+Sgz6/T8sUbULYE5k8S419M4DFt2XQu3psTke0j6hAJMRDPNopjOwMG0cT0ZNb+tDgIw9zJZFXGfcnvTHZSJaI4ilz7Ob3Tb5fUB2ZPRRaH9az94RIn96egFsimMv6YN1K/eTGutGXYrQdn6IL1C/X6R83KlwpBRv+lGSL0P8kgnLis0dEbtkOe4rOuiy2tFatIW+c2zhRnAZuSAN5J+c9pyOsJez/2cf0D57KJtw1qGRQ2UqELb/5RY+sP/vMoudD9wh8IlY0xKaSWgnZFvklDLqz/nlYg9GyGLpn+Bjy7nFbNMinz+J9yOGNZma1CdASZssFJeAa9stS18bgDJfyOKk4mHsFxVMo57D6XUKknCt2AUtmmaRfztdlPUHC6iDKh8/xfLAxgfgZNxpvHoOL6aholaxGW5a4AIfIzb+M0Iv41BzKb2T5l+euvHA4dYQaqMG6Vmb8ksXOVvXOEL7XajGNzJTv9CKkl5UWHWypfdn25WADrzu29nje4rjlnnHeSyXWH4+bKhW+xdS9x+Hg9RiU6hu8ocwrGTn8jV38cf2PFgYhpyQLovO6q+PWKZk8YSQkJTe9u/hfAo+DJkqjJn7EkyzZu5m7rKE5nC1lmw8JReSFZvMllPP7jYW+3E5jvqKoqkXrxXfsxyjxITxEuBMuB9kEFEkIOpVp8LdYVIzbhnGDIFmbXjENut4GCFe+u0C9BodkkQIZ7kOeL3Vd73jIcq3lb97fLilPpMhQQtsCcuGBBtcxYbG9XrpPinKJOUYGBuBH9eUck+1zSdse1GO4bwa1SzH3MKomWiorYNlPyRPyGJ5PPwUoYK+dwgNRl0QkVy79ZDxQ7CBwUAlNKq1q/XZfigME6/UYcIkikV9dmv27A0wIV8q/wRq0WS8djROQIcp4Ar+3TVn+gz4KZxZIWKRm0zlgvCZSRS+tCh6J1vBYl8iRhy+CvFV2DiaZIP6fCGfbY7AyV5nqZQV/m0A/kh5uiEZO6+w0qhbHf4jiOWhLdYF51PWznJzwvTaqIS/63xIeinbAgGixmSdm5FF283LYT97kU/BNev5VCoud91+yMjElhieus1gPbSEG0arV6Ddih9eIoTmXjdJ+MQqUgj093j36fblOOJnghSnv0KyubZ9Qz8AYlSmqS4D4IN01ASdDUBIkUucLUsEWf6yKinWkR7ikF5kGdI9OmQ56r6H46bL1MIZdcU3s9faBgxxCARJTTnPv7clop4e/gJTTJsH6E8LBt31MSRxYwsl23wjlhEMJY/M8P9oDQo4bKN66O8wOM1nmf9uC7LmfkBcZ4cBsBOK2Q800n2K9lRvY4cYByUXJ6B96V8PqC/J7Qouf66qnNVO5cCRdDAxB9IjYmMZ28uQVe+1QgEgHMGvkXFLqNZmXpRasGfEZ1AtFQwdJwrb5lsXK+3wITT2qkS4envZZjCjzvVeC/aooIRGCtElJwUVa5HCxU0ihgoQHbRAkHeSgV8I2z2FgxM14VIK1QVMzWQTHFLLaPGk6pP/n5E3oxXCKWcJw4pKJcaJq3OmzfU3IT4yHUYkEpclhzWKUAkMwqyu6E3DLrgDXCeQej2M/7FmbrCL0KPT71ThVakopTMUCpq0c99iPy6fAqa4A6USxcw53OKpdqE7x1//JvshRCn7Q6Hm9gYAYYAn78JgTBDe9GuL4uObzaVPwJ2/0bpAS4FilX7w1VSa91kTyUqSlyZi3GSkPk+NYwo0kpBZqhdL2RIPtUIOgDkzj6M4cC18+BABzCWPGvEN1BgOGyOcbfIIB8xOPUJMf5t1nwjQYFeyIbG//vdNzbsPBDcxVb+TF3xMY1KRe196UJ39pho54Efvse017ei4IwVs/Qdd8zoYDaRhK04KgG6r4GcluiuqkKWfwXUo9LBx9pXhW5REfgfjuhlnGFn9Mw4txxeP0flZiN/12KPCta776cJdr9VGEExmUtLr2OE6p6Bk9ELiKYQFYg3+zpAIIAXiWzMumLoRtl42B3nnG1nuTAXw0s7ByCVL0FSw50DQm0QsJCU0oEaJwFt82lthU0aICmn/ROzoyceXuKs85ZqbyXgtM3ZzSDOzIh62jYsM9AUcG6fwaalz98m5FKDBDyGvnqXP5qpT16PP07u3f650dX4vJQGsbr9AFI76Yy5UwWn0lk355hySI6WN69H7Q6etoPA4R+zhaJIsP9F1L+gkPxuM+zi+6Mx8F0Rb7y5qI69SiYWwXwbptWfQjZF8qtY2zYfq59CnG/NFsJyt9/Ad2AGoZBvmIvqmR7SAd0YX+gCJlfsUfH3ceSMlpwEuFmOCcfqccA/r+3P1RR0akV9awZ1kId2NNTjuNg3hx2Q2qK7bolfVBTt+pffOaUUGSSx5nq3yiBmpM47aAFdVo6iS8j95mznE6EvfTCSsvpOIt9XwDKhUYVxViSAgP8SvAaDYjPeE0l0qm5Y8r3bQp3Q6fQgM1IhFR7J5wVgCCHru4aoA8fZp3uaLBAbOCjHZzcoXX6XS8Ug4yEV/2b7hWMqFoVDQBAR1RgeO1px2dmTse4GcwFqoQ0gF896t2MYFhJ9Oqu5jlZlMJdMoHttS+038DeCEeSceqbxcMYQEE0Z4KmaoB2FsqZAngvdG7paxZT1+LlKkaJISk+uVTtcjWCNiblTuTLskueQ2Hu44Hg/hHK2ucuCWDRCDlvY8K/f8+c2BZ1tQzFDBHMUzrOK2TVsu9zQEkm8fxOfX/8BF2GwP89DRrpVn4jhsaah6JXtP6E7xFbsJtDjBBnpo2mt39C8FCfvPiHXS5oeM3qiyuF1xHKxfP2gVE3OlA65iyrQB/r4mWh3oB8kliEKeOD3F6Wj9Gk8Dfeoj3Utg/AqWhZjxypmVpd9mUhXoRZkC0yJmpPYPQjKDOO1QhmfX6EVVJKP28CYwEeYzN2QshNgYMI8kY9eybxazK2WRHw4XtFCWDW+3ViNvd0QRJRmpGaR3xWfc8uY4XnYJP2YA6Oc2Lj9WhM1VcUIleXeeR/vUBav2KLZNSqjs6afugVJIvX3Bk253zPUtPavtgcv1nslM26WOOAqQkrbrp+Md5H2FeUPd0/zGawFQTGI/cfx2dVxojN6IWIhSLL1qD2cz5bLDrZ9Fr5H1uPqUCOq54qbytdRP5MD30sMTOzJz1cZ/xOttmQCjzI6UuOFUFYcuGOm6kpBvViswbtEVYK0OQKL50c52s+J5kkUhGnr+d1qYFI5YxBTyLvchTrs7Fu+EYO1KKBLVwPtff+SN8zUPvIzC28RLz0DrTUG2g8x1C0BSqHTOCX+RbgYUYtntwlIJUxauSPIdfGzl1+iMC7xjzTMvsspofeYWTOd1zwY+ek4YRNDF4FTi/Xzf9QKH9v2mvAqx2ybOKzQs5bdMAeObxCN2ho4hkxdm4ec+cXA6GgXQ/Ty7wPDBXMFevft5j5kMGJzEOr699lccwGccwid2yLVucXovEZ8ChLE/lkcQ3xS1qq5lKi3uI6K7lhePTy//dn0+fIqnvoanMds4Ej7z4LJjdLGisVSfpOPsrpB4m7JGoCyIedRHPDlbhGEL/kzALuZLRjWeQUS2d2DoWQGyK+b/33nZaNxh/toGMEh5IFy/3bOldR9NiBFWReCJ5hNsWQmzXlXGv8bB8zn6tTnFnBojpjhIAg0ZuO1j2oJrNpLBN+WGKUARHWx6d+34TQZHJWelapgun34QLBRdXcrGWm9b1VzK0mKvpvvhE9OUGRcFyUTx6ihe58YEi+PYRGO7uALqURtupX8aV41QnHVMc6EUkZ/yevFM25L+zLgMbBud+CBEhHUgZNBqVZZpQcZgtT6thOcNhnJcJpDILXMqo+BqX1oQ9+wmy1SmHMag8IUVlKkdTe4cxL4b9YEM+ugV5snOU7et7loCTdfgnM8CC89uOrVaycebRLDd7/BQx2e61JuQ0s9CDWm9jRXXozxbFfHv3CeIAYSscs6ZnEcWmRcWWDgYaAkYzsVZLjmG5JSl/tND6ukcOXD5AZ2FjkKKUst/m7CMFOielrpy2Iw4PB0B2RuDT6mlq5WInjOV4KAznnlXvTbunSb1R8Cd+nb6lVr7p1NN4/VE6P1sUbvUtBMurRxSia9o5ZOc/r2Qc2+Khua+JQdDzg0uZeDOiunHruRRMcmKMyIVFdxVLnOjZSv46Td0VIOKSPwKj6mwpz6kYgE557wj9MErbSJgEsy+DeTxdLOZKYBN6HnRkhgMi/RSIOkrWL6cVVbdEh6yFgXun+KPETrb/WsSfE9Cn+aJcsC4cRyEwTwhFAJN8xGbqIZOLsQkBhIftNM/EeIawyzFd+HX8TQ/WWQwE1tcyj/L/KsAk3JbIp2EqqnB7o2OXgX6ZbUGNpdBq4gUhqzuqZuX5cfqR3WO1+tprZFNmMofYcso59+4sBu6kyaScCjwYLhScXcAa5G3YAg4VmWvfO9eCTc5y6ayRowDrhbrGYc7v0LnTgXPt9u0r4epvrgCu1immjbPznTPU0TjLS6AHSDS2+RRpKt9enSZqOlu2DWYZcM3+RX9XlKSz9tHb4ihrktuWA+As6uwMyjT6KrFbzpyeR1gN4iXtZhOzVzzm0Qr9AYAH94L5dwhFZZdZH2X49RQfA57Hto896+Ez2ckx5nNshpKKSi+F7S909OgOsbZIxQTrS6j+yeJX1NjJACIq6va9/u1dYKzPg7NgYSdM9WmGworYt/Qq5Xi5OPsbjYz/EPjwBfKo2d+Hy0vjq2G+kLmLIzM/XJqRj1344Yhw40g1LU3Rnb5OeaRDjHkJvWd5H8EVQqGr06Q4hNZi/FJmhryS4yiLFN6Sbsblkkz1H0Ezslap07sSip5UkxYoIPly02xasPlTveaWFSLKmWsNc+hKNgFwRffarit3WIE5SjhAz/1sqxH+SxwvvQ6kL7EfAp0Fc8dWm5WsoRr+dvsqDTnz2usEvPwiQhco8/1LjujpB/QkJ0B9dEVMHKgz4O2SNImMeBr+cKH20NSzuSGRwLCacLt/cxVWCzoNdifRjZUwgl+ayC9CB10sxuput+btxzYCFju59cbQGKdiaZSxv/qhjlf9+3BagWQ2mkHA5P4tkpDY7KaLVxUXsqOOPTyxwpzhbvy4wIHIe5g2wgwrPj5a8xJ9idHEbVMtefoZ9+R4L0QYDXtn/SexSFesVFVhMJ+0yE4Ni9Cx+6/0gnDPxLsok0U3B8VZcvw0R6b41kqWVRaR3AbzEypmVBVy9bJBRooHbQr9c/qOkWe7GIOkWJ71THTABbjGlm98DIMXvCAHh3BzObDFkMHfShQ4VMUWRf93RiBLG8slaAnqKgIlDLCZ6Mtp4Y72UnpsZvgDViJUb90F8cxlGHKTbslXoABxnala3ubRlnUQddyjiEhGO0q4AghTnSF3TTi59y7Ij3rTb7aVDsd24vt+82N8P0q/0o0t3PaL2ZM2aDvzqLlUfJvvS3FVAX1e4i9UbzzbQ+KWUhLqyfK6x1KMPY5UavDyB0t15ktkySEfOeKV2//EIStWAbb9TJ6fNl7mkaHIMcjzT9KbMCb3w/xTOf4HXE97jiZRUgMt9+sRM//SVBHpJemfR+BI+5XopuIlAsA7LVHaeRKDDHj8OslgLQd9LfoMTwJ24ejeOr0EaFIMzQpcAih+77jsLIXiZAa26geouGgxXC2vBaFx5aWfdITRoxIYg7IcVGPTYxx6ifXLvdd3VHD8iMlMhMt3KufgJHDOlfLKp1Gu/b0Z/7Uqs0r2A/kb5u+rbZBH4ut9lF1EI3AxrCt9Czd/JN749DZhvfDh60SJOo131NlWuMbljK5DHM8cf+9Q3CfrUFUKGZ8foGIsHvRp+iCDAe6cqXJ3tU16DghiQ09B1DwnhKAuA+dCPzXbNSEb4THwgNxPCNABdWEo8J5qlyIszOvN+FlwcWCqsFB8YKT5CQnQaZnZSIQrUldW30OcEGjkYZzpmq8xNTe1o5RhCfNwS/PAzDE4ZmpCItZ9V5l83+QEec29c6/1Ht3RVl8oJiPXLvx1h3Xm9oRhr0a56uUdxqoUgc/+hbsFEkMreO2Yt1ZjngRDDr6i1+dHXA0HZ2u2Y5RUI7KO7dmuKKxJb9WD5WU38+7sfN5dPKhO1tcHnHGqbgVLwBVMxUNfZrgfyzOctQYueAM81tM/rB0m2A5kkkV+OwZx251yS/xMMWL4lw6S6Gj62OWglrP+uuZC0KD4sYIwli0ndpVWf+W/3pi3h9eTOy8mIKDbqic2n7Vw9iMlWasWtQH/6SX8SA5lUXU0ZA1zZVZrrlZpaiQP7GrqqXpovn2Tk6hp10pflZDQN9T02wJafGUCr2MR/8DTwPACqDL6d43pmTqlWTEMH7rEtYCfuaKFl875yaN7vLKaExZeIJiCQ2l1hNFMvPW0AwAEnZD9kwzttMZD7pjIPP+6rjTjCCerTC1qJAjTJDsj5WxR6gpp/aedO5hE7XBpmV/8/1fTfIBmqgujplKxf2DaR5cQNxNEewlhp8w2blouvQN1pTYjdGC5egBg3Ek8ENhpODdDmuUvRd9mtdF3zSDcJ82QxzZ6M3hT/RZ9Q8EGRa3J3Xl0cIAACiRT6TIS5S0DQjLiaoqyJOCBRMsQgDScorb9h5zpwPgXjgqkfzPc3S/sS1Hn0ArfNY2f5lCVTaDekUWnVxzCN0AE+Od1c78veDz+ZkVvln0lp7rgb8ifS+mENAJA1g/i/kM1b38MywLeK/2jEJInsnBLcRQsFyeqwYzrQd9ircv/SOz684fJxE4JnK5/ao8yEhUtyTq0i8APVJnj94Ziurppo1NeIjDI1UXaJTewalYu5DqjZkaARYRNz/he/vVzhsyI5Z5HuxiZOA+bXiVoaeMeyxDwpH26FPltqo+y94VCJfFqkUbG739HFR2jTbFXBiNjqU2+bjdxo6uOiGq91c5LauIhB0oLVvCKKpjwxeZvfBs6Oe5QWzVzdEDdAE7U5fGwXGixa1e+UQizTVTzvh7e5TveQXlnPFsMiPhkuCMdSVs0TOabwClb4O8FMUZHa2fJfDgh6ZPl7D0RiiNYAlQgakpDqDUc6AJoRtPTMeQrFReYrFwNz5+W4A4tCk+rW7spW3F298SzLFxGZHWm2SddYlzmpUNfBQGPSyIGSMOreQ58jqD5dTwafW/1WDhdOUvfC4t2KSXKieoBFe7bY9Wz2DaimS++pJke9/hL7ie8GVj2htaKb3vTwOJEUINbDQ9jbeU+3islVIe1PTdNHa9fwdoI+27YvkXcqyV2EpUnUKW8n5YyO9YIVfQdJsaaMnnuUxDUPivHIAYWVoxJgDgj+6XzxrsS4NqfU0qjCe/8ha7yR1ANMMZjVrtDsYxKPoGzZr/DqktAR2kv33vL5XxsYzODXX8I/BVCDc3C4w32J1WhyKDtB1rqpVOrQp6C5kpoMbsXtaJUAklakf+5h8zzFLL36WRL/MgMYYiPbzoD3heoE/kpAUu7KMxKuGDx+m2hidVkmhudhgj1OaN7AExZcRCE5l4AhH6GyvX+O/+ihXUUmlx2gGnwBaMBpMb8wjvy34uLPj9WbMFTjfgRt5aWEDAHsVuSFafqwVJ6vdZNMALLtnYOM02jXdzp3I4CrbRbFYoGoZ6sRhtbGVAgdzcMV3HqwM/qcPyhSOKJ+sGy3pborZlNbONquqjcBSy71Xz8jLoUghGKhPDGGl56yiiTRcQdrEETNZyRX49RqHe13s3LZPNZfckD7FMIoWgsg4Z7LdZKHSXaY5mb5+DKbg3MucV/aFRfVqO1qHOxrrcBUuVkxnxrkh/NLw+B+dc58qBr1b7rHkXUwMfNmZVwyXGFcMDFAz6ipnhSs5TS4MHnWe0K3dBZ4mVlVce41jUesdcLFVUCEbQarhmCo1iPYa3q3vGLspwtYqoHEYoLq8mifM2iQFCfJybAimU5gmit8m6mO0LLOgpoTndKRB6KPKx5oipiZNvM4Zb6NVCLOgxchyd1Fv9lLVIjKDUXkHwj1xRfwPXlRk1tdiFR5h1mqqalx2Sn/F873WHy4DKsm6hF+1wWYJj5lWpYE2aH7nWWY7M8hsuDAHE6Et6z1Hh9kYNSRlH1OXXSR7dNcVqCkBkiubOphXfWWtIrtHYRUl8KPdQ4i3TVpQ61NLmcfmtWfn1j0yodLOijNx8UF8IkjAYhDsic9zuaEmS32LPI/JZnf6kI+aPDaWoeg7XpkQp+Cqk9OZzSgpG4FBZn5FuQA7m5JGqsGSeMNJUXas3H5D2k+MEHbwCcaE3dOq/lfnf4HnSmbsgYd+/1Rsro4LiYp3uNTuvATHlVb/x5g3sOpoFezIga2znaCH3T0xGPsBDHSPgOVWATlnmU0ZHKAm9bw3VeaPkJuyH94IlXpVVbX1bdUu4mqFHlkMUqjgf9Thxx48nnT/Dk8ZdZZ+Vyly6+/Q3nR3cRBaPJ/GuemH5t2i4LBQyGGm7gbr+Oc4lrjWdwq4D+oJZxfPVmKn7ueg4738uzQsxni8UxrKRbyJlRmPFJ7wlDXfXwpOgOILcMV929Nhx6vLhOCHOstU1a8fsTCIkfcLBAw0KLlCgDbf7j8Cxb4C22iT0bqPZRIQjh5zicKqKAbVV5yLUDlj+i4qCnC67Ye8ChfkPkpSEJFi952IlXGf1xEspd07ESHCOv2IERv+nNiLk0cFGQFO5YCnHHVDAIgs4/rp51dKthanTMyT15WdCIgHne7wPLC2S/kvSODeOkWhDk1JOeAUiSVMBb0qIi5Zk3RAM20WiHN7iRfec5su7YJ1qBNZ0eC3JtO0J0hNz3SbNLBsp+rbeeDFR9y9RlYIGhfMRYN/SGJncPKTiQYwCcbgUDm4FrRh5wNa4A2LCjbaTsWfbioHSrI0mDQ46P3zpwU2WBHM1PrMIihWFxDl6ObPHt5QFqtncSJBp2iE7D+wxgYitFsoK1R8MApN3GOU/dVN77ukXVn2DuHNJoU8+SYHRzfGLS+8DV7/EOEfU+UaSHcIg0Bdq53MHfwDaFgQ2igElylnrmzUCmvhAMCvjMqXKI+4zN0191yVjExZZGv6fp+MfhgPd2oR88DiHcu6W5uXx6mYnqEoQ/T9Qrnyj7HKX7+95vJ5ta2Xllu898evh4EhRYhkIRPBJlesKK4Db+4s8l3JcucbhwxhEuWNYvcWGxPWrMdvitgo62x3IARrgngMhkBEa+6yrQB96ZPa9YddPevZn/2pSCPXxIfIXVbVsaatYMG4ZzB/LmG0WQAmfgclHGJdW7lmpIFNctTHp/vZYbgYxfT0mj870VuAQ5hNOFf4V8qWaJj/WMjETrIQ1WtYYiNXA0+TjcELvCCLkSbKdOqBNGzkyu3NHXxChCfQlOQsGmk/bP5/qXR5KTwG0D6/LTEPrQd3g4CbSUY11yTsm8NTY7gzKdPPZbJhjGP1i7Gax7DC4DR1ocp5NthCZNoy/wnZ/IpislvXW2s2llb3Aly5f+cbRY7InviUQQEY2+Lo0tMHz8i1/YiCqDeZMfD6abgPrJOZ98gnKVVaNQQ4Fvgni3SLCi1Q3vH5xVE4I6AVM/n//vkJOdf+uPJPbbgx7UbBbjb6sWU4ZIkMGOTzJc3LEBIlvfs6aT3mgHJ/f/slfpcm7eOAZBfvmaM1C7zKEr3RZdET0CS66Rgnl47PqOlypjOoPivFgqaIPxzIlUMovbRfg3UZQDjxr7pPgBxyZ4e7wJpJ+/AjGryVQZyjP4AaaqhHubSNfPpJ7QUFP99I+WGLb//UGu6dGGRDRlMk9GQIEEmtSNIfujaeb3uiVFPvMXCo9HldQbVNjKj5Yj4JxB0FumHPIUDYC4BYbrnJzoMv28GhiasS69531aOK8DZ5ssf0QQn136vE5bkAJcTH+aLCgNnbIdsPhW+kad+B/dUcVRHBNwMo6wkskEqbEliSAzxCgH1T0dx8JdaYopODv/+vF83MPnjTBJddqRedVvNLMGqkBisjeSu0rThhaz3wsQmliPoBP2iPsE3fBintOilDUfT61b+9lqOBebYF+zV1vEXkNexSVrVp1/oaD9WqNeO5ydmRYFJ7fSc6iLb50g6zmAbrdhHWPWrz9trQ4hkW86QeYPaaX/VkCLgPDWO6eU0Hk2EMeLS29jshZJDQHfEjYALKa7/J2wxF1TBgnT1ua/wsq9jaR8QnKNSua+DEXF+IrGPOPWjyeVtDzoEctRkgqazXNZeNZaibUfnVYZtUm9PwJzmKrRan29XK2dwXp5E0erFG4traeqd5Bstmb2Jf9hpl+k0tCO6AVc3Pbn+WOZrhPI128Iuef3ZILwFVkDUYHQOcjWzdmcb2gOwx9dBjEF7lvh/ylwbRM9BiL/yOrmnRGPIRa2gNeASKn8cN78NkHsZgDDSdXQ+hhjz+ySZpE6TuUZIhfTOmjFmJlgw70MlD5bOBqBwq4kkiBW03x/i3lg8ghKUcKSgaZ8Ou8aG/st0z3fjrBXGGDfmVXV56vw3kSv7Xa6JQd/l9mzXypWc0XQSauuZxDzYf+7vlARX2IoW+cu2E7j+bjT8NluIEIIGCKtRsLivxD1PaevbOg4TxzPoZE6mqml/mZJrizK63KYwz8rrqJfXfMRk6esJvf52853K6/CEqk5lelAY2gNFys53POwqPobtZz8Ed/lA0afS+yIp6tMkM6Ms7EEcv6tUkhqUqgbu1GoWTwl5CkIDCrnGvKXyR6qsgO2YsW24hEIKfsifdlt5KlWbPJukCYR9uQWa3B27JKnYFe1D/Q5tm7VfK/0DYZ5I/YHmfKjweYvkjq96oTHX2fJcCGXPhPyKOb6yntkqVLRKVVuejYsPAwEwVzH2HsjZlvZV4OY9W4Z2EzqQJWf658hKr5vWBFT7Ze5Lh1AWiHDDhZwVc9+r6PpzbFerMWwiXv2r8+N0ev2jDo75+uzY4jBNgG/L6bwcq+VT9Upr1j7KOWEi1AfPRbfs5SRuhm1z7up/3igrLpFBfqH5HTK+6fhxLOIeTS2MGUXH09TN6XQKtAkNMfIzP9AFJG9YPHXMKPhJvrU0BZFL3lPg9rvStauFLjTM+XuBRP0phPeo0PZOJzuZT31oI4nTOj3AEZ1Hv+d5zkRDPEl9/Lmk1GDoDCE97caIfeQPTZP/PkVxE65IkvBbDDkFQgvmmb3kLbiU0Dei4ebsSW52IA68vsFDUdGU40Q5TidMBx+/H/zMQIyTZqSHhL8VNXUvRM1TL6eu+14KAff2mA8LY1Zq3HlWnQqX8Ac+8CCLq1UXaO+C4r0jf+QoMTDOhYQe5A+jUlbvNK5eDw/vs3gSfLGNHwXtwz3/mDqtIjIAQ+Df/hk1k8mV7e1qRxPixfW8ufYRT26LOIZBk280jBYvbfYrEghQE9SyMa3wt8BnRHdT6jz67w19uEy2HcDFCOUrbj/tN9cgdMS1BDC9kPbKf69hxA7a9vAUoI4UiQiZaq0Ubt41xyLhJNK8R6TPSPv4YkICraPhuVUo7qS5cK+8Ata+IBI/JlBeakRq7Ilmmg+gmh0PFx0ppcTTNkpRZ1M2Cymj3pvR2YmuDD37uaL3TJouVY2fHoNSYsJlpmftoTKPSLr/4B1vyyRuFcXICnswS8NP3XUDzJa78YaSlngW5d2h/aAG8oIeK4R1XirOUGR5k7CuRfHuA7HtzKw7XQboT+ppsTVJyADCN7hyq/BaiLjPBIW9Pv8whpRIJqh0dwL3yibYAqC+j7oNFRD5gEd4DgiX9mdpzBXjAIea88E35ton5kmyfDigRyUkL/Lioextx/HerVgfNRjAphtrHcv0FmRYafPdAdo83IrJ8dHX9Ujg82c/v//r4E+tWuQWoU9arx8r7zXyxn4Xllmd/JuXN4S1mR1BQnRsh6s5fUIfx5V3s7rKMEp3+9JkkvUtmyTCePUQ6vJXenDsWB3fcDaV7k2+wCETLOeo7xQl9rfqyY4VJuC9SaZoABrrf6gdajX85mNi7oEqo7/z/zioZYcT8K6zfyOk6gsO9drQGWxTJwA/yBrIowibi8D8PAWa2Pt9zC4AOWqh0NWPbdVps9o1yiIu8DYnF6R4dYAcrUEgbX6V1TomAIImcAwC36uLLHRTIYhqTcS97iNZunr00q498UBx2bpeS545uf0d6wR9h/qi6mAy2JfX3p/tNo0MosUCU2sAR6Qb7bA6rRBog8c504Lm7SuvBROv3W2+2jbL0IAlkqWzT04OuIiWFLr4Sl5brKe3r/oQoNTEecVSg+hjhvcS+rHGln2FWM9tbYOz4EaNnBa4Av/hc8fsEBo5ETXdmvMCT8DYozBJLzGPwTWdOogTNf1h59nfTPeuHMnpEwsNIIt4hRE++P+ltLnEmWTBQUVs388/2n82CKRmH15xveyXVc83h5zDmiO5r8wYLE1j1GeN3OQBT03fjNd9YCK5dY4nyo61eoBWiVo40KYHHti2nmAAjW9sp8VGaPnecPbKGAmLI5acVGGB5nijdDLJePs6fpRUeK0f+sr+zAVy8NILSANOFP87TukkSDDJDVSF3WddLglXYKqNr5uJjx1lY32uxxZZiVGz/XktL4hORQJzm8nZNpGLTqbWOv8IhWo/c+io5yh0bjnARMCaDH0jbvPGZia5f3dvdrBmvCPxhs1QhivJCgRQtl8RPgPlSvohhH3sgnaCF7BTkOIiC4JXc6FJJhBY+P+vB5fmVqmcnSj3ZNYxQQFlUlNXWg4txefNtSo4JdE3yiUNuCY9s3N0onyLB4MCxAlWc3Qo1D/RVGRCOtWMd5YnAACufLd6RWQAjJzGxc75BON/5fvzdodB+YQjfj6Y2nlvekDvGHSztUVRI8h3LHj4EW/kTJUQ8uprpQR3lPd88K9emR5tp9Vhhj/pIT3vun6FP4GiQqAzpo1IPrjxhqp0lhyOM/CrvGXgs8w9ZFCmDviWR/cAb4vtBJDPwtTNKD3ylyziRA/5zRX/I1olU8EnUWKOonEEzZohM3gRZHuo29OQPt1gOOdlmHRo0Bmd4HAKN0PeSOeiiayXZu08C0MfUnnV0wuIfrcxr3HQ/lDqFHchV1Kgn4p2iMZNVs/pYfiDhkPQyp7Q39JQ18r+dlsWgcGJg4KoyfPzaoVa4pASN+E9hYb211DfpA2mkFXm3w1FxLn7N9siBMGBSYKTsOtLn/BE4frLLo6sQv6DXY8N1o3lVpWSZQO3A5qodIK/zwk9ngG6aGJf48qaBRRWzEXSSsRqowTcEgN8HpcmB2R36aDZcF2y7ILjaTLRhYwVoFnjG9A1q+SNy7xvGU40celPMo0D0LZoPap19GP4A2UCeQRR9WN+/GXklQkmDLxAuMgkLqpeaj2bJLJbnPT5s57F9BzLknqo+02sqhRbeuGRegbVMt6CFILYYDighkPUgoc95J7/yjsWbLcdXr39V58Tng/jzAC0EbxsRSprL5oge1DjdKwTx9y0L2Fgn+jVMciMPOMC9K51vKZRaew3NXLWwxQi+X+iPGN1RTAIL1XWwqry90RIxbp7iS3bu12e+N+Rwj4bdk7g33rW1RD8le+XECrJbquakthFl1mG5IWMlkvSx0Tj2M+GWVwHxvLfcVmDpQC3hY3HRS7v00NDHeFlTAMJwCMBFkZpMRderQgT80m19HfhVD7LWutyJiTPL28v0nC8na2Rz0LBqp/+GBCafFNobH5nVhMzjp+phWX0nB2ufhNLpWXZX821FD8GEOiwfFgXnz1g6/Kz2faPLUXZJ4y4WBU2Nxtgq1jzeqQxpr6Pb4A3sXG/9iig2sPO8T75ikGZIL8DbjyNt15qNxXavRZvfF4P0nOrMopMd0f9jEZfto3Rz3MDO0NoGWyf5d4G1KGPFZQnULjYki3TxaBmAIkRmLwLkD6v++lY439DacexoDyzuLWdsRt/8241VyMpQWQObi65bBxaBYkgFA+1tfLB/dFj4Dnjuijza4GMBKMOIizDyKOknV6wqVXG4SHBeo9TjZvxL2Wkf/hPF1QQ0Rg9/W66e3KPxX/OPBQ0vA0wPdLjF5fg6TCQGRoB76tKmPk+kDYrQRsfLU3ohUNihcLlGZrk/ER31TvyczCnj1HEL89fQNxfB9jXL9nS9ctv/OjxI5IrKozYTAi/QkUFu4eTtHR0yhS3plpIzeB1g5eFSviz0hG6XPdf5CeKTE/2QapXuf0V8pLdiENxSRGcfiAL9Bu1P1eyIBBeRYbqQdWcXNSwPQA8ZP/3PKwqBERd67IYNw4L68DP4JN8caYwQL816NK2MsqaEPuyDxP/Ft2LWk+9eLZS0DCDRG2nLxilGM88yh7/wnNxBkD5fn/7RVGgSb5MlG7/9wXI5WhkeRHsrfgbNSbO8WNufIvEGe+gAS0VQNkry2H+GPSpghZ19DxxoRwWTEtl1ITgIkxsETUu337OG13e6ieqlNYvb+G4xThTOzc6tapTjfPJQmiIGa9Ms2AG0/qtO/8iPUwT9RUmLqMr6NJg6IH9bvkfZJoaQTzMJGWfBEFgbjexcPuDNCZiCuZQld7No8t3cpAeCZB3/9AWgvyWMGMJNWNBs+5xwJKokvQ7c5wg68MCwybZ3oB8crqPYeSFBx7vaqglS2pz+FOo5erwgY6zyiE4eLGpkS+wxfr/iY/y/dAO5scRc6T522pLFtnmp/2pvlVDsA1axK1vXQj6KG1PAN9bIK3TQEkAGE7xHRtTyTvVZsjL4Obh029UVP6H3Lr7lwSToWtbB6A7gPEU2gUeaZKQvzJFkMWiMRHivF0hi7JNDWnMHegwnKK8nqPpLN8ju8buU70uQYIXtRmNYFgmDGCjXq3u8WDkLfsOX5Wff4pCcFU6IZRSfy041qF8PnS/LY9o3uXo0QQWNn0L4HLwrikQW7QLGg/642uJXltv3CNDVz3XO5EOszblfVqr4WSxtHSFGdBe1T6UcfwGXh245pEVusdA0MwxND8KE09ak4tKHCXaHM0bsn5dOHJZrjvavl73QHnRXhOVmGCoVCMsYSxPJ9u0UOKo0uvTtPi5Fr7he0="/>
  <p:tag name="MEKKOXMLTAGS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XCyrewlnn679fGM8yP3Y1PxCvej9uRDEFdaDSWLmbudO6X+lZjs0jEpy4iJ5hGtOwHaKsxmTfA4YW7/8IdXpNtcntgDK53mIlw8LnWbPZEwgcCyrKCQNlBfASovzrdm2U2fmzv8Y2fWxvZlxxVPRpwRXD8cs/XInm6MORVss7awp+hJb4wSJgv5SxtYFsV+ukRFFhKGAfgJ21ImmsDTmz8qWW9gKY7FgApkrEFJ3uSfqiiHxe0iL2yaEg9CDKciZS0XemmyeAt3jTO9kuPTKEckWXiA1Uaf7VEOtD5YnCwq18LDouk9qf8RbOIbHOIOrRQUsw/QJWVuxHp052ld880HWAmVdS/xwZAGkiah6A/U/VW0NeHwU/vnM3XnKOWj+Sw/qE1SixwykREqNFu3CdhXaaPUSD4DbggASC2CYNf0o/TQ1mRZa6fOUjAJB8nVv1T74K6xQxvxumDc/0J7OGWaJToebuKe9OzDljMiIOV+g4YiQtTiP0Nt2eUOpbT1wfNhPvzJcMkY6Jo0XIGj0jhYEfdgSYOw9yYLdF+h0fao5hIQl4F+uhdZT8tOHVYiWM1MR729ZMz5TYJluJFqdZDD14tP4OS35jky/3Js4k518UVfimRoq/kbjKIFF0rfGNhGh8KhFJaUopC8ka3AIgjfcgtF/RNIwlnYGtY9oPWKmB7OJOxD8PPKi2j0oB5DoY3R5sjiyzgW/aoT4vwNCWt1UKE1ULnXPtYmqRHzC2A+IJ21PRrdlMe/JgrmBeJjeHac8koVzjfhTklgmQ7PioDTBJlsmnbH7G8GkwAmElp9m9wyUkDfqZl8pVKwOU+1qwefpc0Un5XlTz7YIRNBVXajpiq1mFUHeQhHK4r714s6XZMA31EydD59IU4nDjshYJp47N6y0uY8So5rANsqcprqKgBDZ4VUP4jkikafuBbyegvi2Ap74rE/biv8mZr/1uShFBuJ5O+C2sVguGygvwSGsJTHiWKBj00AupRQC5JTB2d7opHLJRom5Y/WAKfWsx3DxzX7RUf4g92/q35xCLJUJVWO0qxIJV24aIK9vfN7balVccEvRv/mWhXTlgltwESJ7U7AJpAgBYGVILXNH+ETe4ErPNvybbxNYZJBGbn2A56PJjASH9ffAvMcVB2EugzN+e3y0FJ+W0CYMAzABBAERx08AGT97u6mc0h4xdHmhJDfyUw/3yp+kA6nTSCijivIGvjo1loa0rZn4vBhsKyE3aJcdhe5K4lnra5z8YqXu1L0CScgUGpCRgevipP2AM4PMSHwFXsfDTNSglQQA1Vl3ek2HnKIBoBwU3DagbyZhSLVnFwZ3/w39EsyUMhuN/4WfYklqJE4lfNyMXXBjzzctAv4rr7zbwIqLbCfwDVIxVNslmoJKk3ZEoRZLJaMa2wGKCZFeFmxmRxItlSZOTJ7djQ06EmW7mbaVcmvZLL+xd24g2OaKs/LoGBmghZP2x7UwxoNSk/QEbb7lDXgNEh/N1xEz6hGyXzPxaIV4YKcCB26DTqBvOrNPaWRY8SpScc77WLzm6w5e9l6b5uUHjHYjK9rsCXgceBx+HIAUkUXpyt9Qt6P6/lxZ1IYiHsXX2H2IPjA7tCiI8uqZwjFyubaCJ8vai0ek702h4XvxWOqyHS5T9ALFzOA5jmyj+nJ91YF5VqI7fnlz3Otg9xnPpzs6mGPcDx2cePCUp2Oeat6EEzlVUqFrTAzmJcik39TLYvZbR+K3ciylAmc1X8lZag41ImIoCK/qh6a/zM2GvoOF0HGfdARxMeYOen6GnVc+XWQ2Ajwm0xLoGniR4gNEBcv6LeROblgJHMQb1CMFx9KA9PVKaoM5rc/3rwe3lwypRms8QeeP7830tSvUP7n/YVNSLZwy20Bt8tVeibsQtrdAQ1ixwL/CR+bCvJSaiumk6lecaC28jFiKs92/Sbu/l3S1whfA5c4Pzmz/Bc//ZX7cegAy9G+7UdZojplaXqVmR5fIjFm7Yuj0jwaOM1IhZ14hFALJn2x7pAvpIWhUDrhbAeEbs5mHsNYrp//+EeShsoiqOGwgKM9rUCIQqd1VaL1gUHSxwmrUZ406WBvNiBvlPe6weDL+qcj9SN938dO5GdxHAtxL2CClg0yumomPyLlRGvq8TY5MLFGKXZFlTwkFoAdQqzs1fGhyN7gOpcAVBF2eD4ob1MsVI5YkPYvA4pjEFczc4rB4i85VdGqIAjJx7Cjhl8DzAFiLL/OZQvs1zprIttan8LrV2jLR2nDddBgAngyfkzwpzO2wBLwVWl1YcnEqxuqn9CNiewqmN5+3eGBEeQvLyERUdTIeUzbxJH+nkLdOebhKNze82DScUYSAnn+fyKdo+KFSo9LryeydaZzWpfSCeBjZ9sIKb3GbzsLIpzCuHy2giSYH47A4fXG6oakiGcndaKYSKg9EV1w//F9gGuzWj8W/KsYosDHCF62RMFe1kYJ+GZwiT5f8RcW1iNtIwubhAkC1+pQo/9NieooLH0kBWeREYesVvyDmuG09eJVBZ9Gb/ebzgfGKr2WB4QgAFwDW8jGlebsS6JM6LhGfvYHuXhkf6Fwlq3FEYeSz0sccUWnkkFdUF1EtymBoRq2qjRFxfQl0i7R81A8Zqq1SQ/RNDap4MTkHubPWnAlFP29wjCSqDf3kz5eOwm7P6iLi8Mh8ReRJGliG3XbJ8KaRVuH8tljsC30JavlLnHWfafzb1fPxld0Umg2UeB8axQdEdgP+dJXGWP7nRrDRONKpx9IH9iWn5W5fo/68V43wcL1N+u2bwthKTXAjDcljhyKpvabNmaiAcUgUUNBvzCI3HUW5fzRoYlWyNUcz6BIRBAMuXGnmv6C/LTSUMEJ132UE3TpFupJWUuVpaztuLhuvF6/3Rs7si8yeLKTjBb/hFcemPc/ZpF0w6mOKd8rQKZoMCuVwrEvSZ57joUCybS5903rrnxdaHE4ZifTQlQFiY36QMylScJcFCf2kNO+I/Of//JirJ4CvkusuTlAn9LyqgwMef9S7qP0ijqmYvefdyRj/FtrtYI84a9zDL4gdyqCFVMS3G5EvY+gs0PIWdF6mGwwnj/LbXXCY5/9GtvigtwbryoDqEjd3GSyae6hAVtY0QaxRabJuva+7GPO8WIWS8YQRf8DptpXxwv31UY9XYAcSF1DQ5364l1g4qF7Be2LjYG12s7LCirt49mcdR6o/AtxmsSZFuawWHJgzc1quB9L0gSKBzHy/Jp+wP8tj7WbVSnz+1emEMBZWJ4ba+jE6tXrZLUoZLpXkk3l7jveAUXq8oJIfdGsOIBD0P/xOMOC6Ity0rTzXz6IyobuK1y0qwnMZdmUQi9Wob1LrFcRkwiXCHL49xEnH6VqawD2Hmui+SuIIdh0C84fujWTJ0Lu0nRPTZF1mBtT7AMCSojowCBfpAsH6UotlLrED/7ao8A1YIcLBBkU5YrmOaNbmd4v5WUr1tuJIjOnGscAOJfXg5zhmJtaHqswV9qKQvRVFu84RWnXVbbN3Alu1KeQCwWowE1ht7yNxI4nT0k/RoIAdSCDMeMRqnZI0/s238DzpxK9o7v2KVeGDtORnQbsqjbMmtltg/riqsCV8PYoPq5+K7yhBihsRd70UHJs8jAQyOslFQgePPDiTc2Ji7/BrR6sEHZ07f3nKs+/uvP9ruqvNRhQP/ZOemKtn7BUmaO8isjiw3hZoyGRWVFdyR2dhyoxuyUG4LTXOLd0Yx9T1hXkmBFQgQ5X323X7+e0h8eQ7Ip5rEK/Xk8UqOc9OwdVwCxbW96FlTj6l2IiHyYu49MpJ4zn66lbMUa0/JLIg/CjE0QZdzaZV8H8YfhaQ+TzKvhoX2MUXfxXM/j2T0KnUFvz661GGUjra90bw2l5zlOHKMqPww3qhCR4wnxBBQ27jBIMfWiwnTZoLwbAJ2/L8lchovdHu8RGwowUFAh81suVPjmNxw0aNzt2D7ZuTQ9vMKQo/cA4xTUdj0yIBjfE+l4wS5UTIDi6PtVyzz+p0TjwFaUxtlPEo3W2z9ZRU0whLA9Uiq5TfvSJgl3llAkvS7DJgXrlVzl2U87G37ADYdPyWvyCAXepS0iBAWAJqEM5cp3MG/GUSC05EpIJJx9gLBJjv7l2G+m4b2jiSpKoUtQUrzQq7/bbgZtUy82lJoPd1ioZ+ldraXDHup0GQDO0UaQS6Cxj63O+wQ9BrpHYo8zlXgHnjhxtvIeA9D/dNEP45FgCqMirahJ1TgDijwx+uUphvvcRSVJoa9fVqJ7LOr+yiuKcLx48H1/XNFYNY4ePc3B1h2nh+lwQk2gqHG4XV8xQw4zZKMzBBcOuEXrQAaHm9+ZGECbFZvRvtConvm1TImWlivqlD0W0NMrHLSjYf7BGtf0W7sJXkoAF30gUv0bv8ONQz5/lBaC4CqfXl+OHeSk9ffH0ICmCvbL6AtOjCt8xfecGRzyakxuNY/EbUeGz9SVzitP42RSpA3a7wwESTZQY5kxVJPg+MAw65RA8GfdVpKU11qYMOik9HpG9XB8vYzcGC1+8aprBlWaZNNxsQarKVu/SzHrj4KMMrgWPE0NdpfpoP6IbBEZ1xpj77/roWZ0JoGb+prS+ygEvO0rw5cJFwizk1Bx0V8yWB9Ueehsj3j4EbVCVh3H9XoUjwhn4qDXjAIS5azpfi1456vfvI8L+qvxWEmjnMUyG6jr1Tq7vfIM1g9Pbfyb21WdC27u9TeaLIsN7+05Z9yDjLcp8eo7koP7CnjFGVG6vTuO1X+iat4+nM+0zPxVC5UG6YOWtVHhxJ2S8QOk7QGDRSO1XT2wn4K02pnVeGwBkBL+iKuDKUG9Z6zswQDr/+4/CVRVscJQHDk/QxJzqo6yXv/3r4S1BrgpW/D9EydKfhHY36c+qtDYk4n9CJ03yB9mxFkEfay3RUczWEPZiOOM+s0Ea7cLFrcvpD2G5C0DgTSo2lu+NgrljVWBZCtSftvdx0qoqxQ3vxWGBEs2yNRZGg2p/UIYJHE/5bLn0ZXQlwz20W4XlecoPedhY86TXxhW3zP6rSekVhgTmatN9o/NBTpCLZV/cxiX7aHMSu0Zi7tJWZ20p14/rxNKny6zyIkKam0ohUTb4LYwvlc694Gl22peYAFtmPEfseY8gF5ZEK10qntVXB1cXr0HEt63jsAY8T8P+uxWGoQwhFnQZVms0v+WjsPpqlZHLE9R/UQFhdgKEzGd3/WdCgR05mhYh/ECVC6pstbYWLUnQFzky+mdvm5WFyqT8bGLea+dx4SI8P0VYB6GsXID+pj2/7Fzr11O0MmvcQBPyE0b4OwFvEXBcyqI6d2kIArGUbu0sRAgEO6eFHDF878G1SrbaLS4ZUM6Yapep1/u41zyIbG1C5G8Ny5+PG83iia19AQatocfXc5Yl1P7vu5/GKtFL5FNdfGsZZUbkj5gwwl3R0SiznUSyi71M5iq2RstQvzVklSJvsCfZyhYJmyf7wTJDPJ41TSIq1G6TWz4jEMOYF4+P3lTELynNySyxBqkWs1qI1tgaJT1HIuh5UUfiBwa0/kXgIWJiuAXeXoZGuBsTXLZcdGqewIrxEt4+MF79wZZ3gABSfQnGTKnCyKoLN/ZzWrlmh1uaXv85DFVhvLRBj9gCwRCzkqCaZOg3P8TUgpZLz6zt1h2QleZMISnl1042e+TekTs4oQwpn5kjJ4BK3af0mrm24HQY/Qn+5T6+mCyiaL7x0w/WLC/rNAKeRwsEgFfBnqxydZ5R9KD5u07tJzUwQJocnhRpszmJ+Ooaf5hq/9bFV9zcTqjBSZETj/jUAChJy0aSZCxAaRaTFd+Z0mQ2MvHm1unPB+P9O0FObxs1fenYkDj3eXHIJbCpnBwj/U7906xXv70Em0Z7p9/n/cTnrd911ORNWn1spQYaBgVY7ZsI2+0HT+lfDxF397sJSgIq8WmUSh4hykUPonI1FGudFE3gQK1FT/rVKu3f0Gy4M9EmPBkIwyglauZyO0iF56r+7kjatIz7+6rTGe+i4Ze9e1IFOWVvqySceVhO2eIuWToSpWUDqzBWdA09d0lfhSLdHWE/zngyfNUI5nppqXDRvtNrucgAK4zLscfG6CkrXdZi7j84bujOrxWswvBqt1ppZ8w21HAd3IlJ/aINs4j6hKNWJAXwtoPcjnreKQswfAKOupVGpPmYIYFrgZnvk5mQ5vVFTvFNVTE0ajeDqsydBT5B54Lzc/LA8tq4nQPH3QLbSxoI1UgFeCL35Sid0aAx0+D0f+t54fpjVHwSGo8K09IAD7Gulv1Ul52piWALYXsIRDn2iD6apqr7tejcNx/R7oNgGusBqQJG0lmmTby7Kw4UFBhtIoLJTCcMLv0Y+fm1xQMsp5PjM0vYmjOWjOs2ToH8/5+gmV80RjWG0eMdeDIu5HLZUpimEyspXsq4pqdfygOJt2YBJ6xo1D/aJsvvTY4p0/WmKhX2uFmE5wOsIYC8j3nc1qbIZZjfRK65L9b6VIVp8WxWrxoi6WsWlojiYNC/Zz15O/7Y6doNCNXQaJFp0kLvvYaqVD2uVwQ7aGvxYAg5dDSs6yegB9v+0sSbS1FuHib9XwImgQQE8R5k5Hl0U0HM6JHXAfn88TKGwvtKOTPrZBThAorqjNtNb65cl8OKlgBDAy44MqPWpKDUUnuQuvbLFZgjjRuNQv2AmBy/phdowAIu7LL6AWlruoRpRYDf/RzKmW3g7TqC5gsWpD/qjhH9NDSchRxG8gDvnxEPq+y1wKHlOtlZp7dSn+Fk3lSti/GNQ9GDGruvPxd2VTdUecW1BrRBKQbf6DmnqWWTX0SNsN+kw6ZnG/4ZVCgk59GBa6sNBLhiBevdS1+mm3e/jhAsOiMkz6o+o8cQBIXeK4XXOkNFOoViZb8oseFre1bmKUXvf+S25q3VvwfouxTC1BYISbV+fCipYc4aut9UDR+Wp0cylNTMqdyRuyWtF4FBkEaWZN8tooc6eZCrKDjPjMcvPiV7bw7dE9CXELaqK0TBGv/YN0Iu7t46khMFTilTAVVWizucP99z1/wnZll/4wb6PxqcWd+RJ2WTFVOgUmVmtlqqYXOj9zSVswiQ4Yi+romdsrUAk+7IJwX13vtDVHKveMIJ8+IetSQ/RhL6odGsZypynpqHu7AU6lXCEKvqC7RYTjtdVMcnu509LirbIDWC58EMYIWulRr8SGazx0iXRtfMwJjHaFh9b1JZJU7JpzIsHB/gr6v8pw3mQ8zpNvJhBOtXU3RSTQEbRAr0K2/chYDAKSiROFciRCvELyMhRaHhZTs1jRRgDLPNK0+fk2mlTBGzls7uPxnUzAyKepl9OCvPoyL7MYv6sF3ZZftN0GhiLxbYT6XjrPdnJN+/xmeKifzV85xD+mStEJtMHRA6il+92ZwTgMDxh0vi2TYHn2pR9yeN/e/h0W0KQWYSaS5SXZhrYr1h9Ex34vusC65DKD6CRQLB9pHTV1Uph0AXzxm4cLxuOMwvWafbmam0QoHDRHcZloqpjb5zrT762oj8i4D+Lhpzh2VoCffelRgW0YQvnbu+d95kGt25h03HJUc4p0U6yeb8F/W6Y/g8Mq9V4WrP4dt9a10mzQrMidHkpomxOLrOgnleTHoyd0YsS/PiOuiRANeOywefLFEbD7MfMHsveKEHBv2RTkqncuOorpEhsq8p37TVwbSiyuCw+9DXwJW9DKbvADZ4gZU4cvAY6fqqXMBVRAFbZG4UMphOaysmpVoQhFrGrSZDaSetcdPyT6gH+cuH+5t4n/5j3A+fVEusLowaZQ1w9xHxmZx6pBM0ebyzcr6zDdSa6L6bilNDNPWKas9FWAU0X29Cf+zCZ43I3hsEFiGHqmRAslpO8NOk0fh9pS7++ahOL6FSjHNX9EiW0gc/YXOIGFBaIEcBpRUEYt+yCutnHCrD5gXPhGkp8c7MkWiNnSyKT5MIRmXx+uAc+bx7B7XvlPKlrDDPHXyOAnJ9nZ3QVdLuPUgTh8/US1fO9mdXrtvtSQXQGX0Qi6Dva4t7LgD+jhfUoPlU8TRDMMXgbdR6tUaykos7/8Pk1JQMCpXBR4+KAUryxKGdecXJpBcUb3FE4DY2JZzWPkh1zwbN+vUZlu+MYRW8ESV5hv284xOT6AqfuhegYWCPV9cfK62hjlKZa/6my4Y91jiqul8kIf5+lPnLLFpnh/doBRKAxkAioSfoQhJGf2FpwKtTfYgYarw0/3d6chc7xIhzZ44jev2/YZ7DV20/3g1n5ZPryS+fthUkeAA4trcZi3WcuG3FlWsNYjKmUir1tdb8QdHLFm5sma+8PAJEVBh8OWqIfnpxUeWvkeNiB6TaFbe+emBOh6OCVCQa+qeZGW0u9yjHkFV4iOtZgful2VKgahn3DYUzwrUsIbt9wZVwlBSMRWeBaBJsYg5NkYKCjZE6ytQ1hTM/IRyIuK9QuKy1egI/iKj5JU3xV2HAvhv2Ee+DtHSOou8OXeMn6Tbnysm4v8HgW9c3PpwQSzg0rWq+9lL80XXS5SFnlmecjMIc55MNYkumDBQcq5qKyT3VchUnvCXy8kxLvfSeDaxJz35pRyJx0GZ6ZZWsh/bPjSUN+9iIX9E+fF3z3ECqgbxY+tL7X1b1InTigiShrBJTi5GU+HegGFY59HMTKAb3T7Cs5CcU3HWAog+PdIPEshCuSk+6P3GGhfG3kdUO7R0W0sonbUZ4M8jSjnmbAKcyctpncnhevADkSWi8P5YCEnLPcoQtZY7AKG32O3oUEcN7W/v4iuUDkt4No0GwYmyTTTBHPh82HZNEK0lE5aqRJCsKs0lU8Fq3d+jK9vJFsejFoE59Zudg1bS4r1xsd/u3kJ4Ucq7WbStLVyGf+jK+ARlz1Hml3BHURFQwWCQWHUGA192DPEWOr42w0x07R22jYeVmgdMD0Aw6WJ4jCnPyr5xIT8Q47H706UF8CrhR9k7CrYvQm0iDIJuv27IF/m/X15ThFlDbIc+GKumfxi//yahvd0nB+GsVEPm71MQcYuOF4oFjvDMiszFnthaKJR9QHDDnVEilE6F3nJAerfqK8pmtUr5qAXn845sFnt1f6Hyj4GVLij1c4trdU3aNQvTSIH+IPBHWen10cncMN1FBkwGUNfjlrqY6zkH/4PPCP6coZHcIxjlxD3lUJzE7J4lhMN+MKb2Q0S2agu7VnJ0HHvi37FXOFiNFeDaGcocbJ21UuKv7m/0peXEPad+0U6cOmDpdGzWYHVtrBbaD6TJVcAnuBw7aBf6iOCuOynOpEl5P/m39/kujsu16fwukkBvuFnBCIy9zoBS+6K7CxcKfNGdSg0piGILaHSiSvAK2jxCD1MOUvw/7sYT4CpCbI/HA2BPL1NU2807YNP+z9OTDOk0JFW2Ghu18QVO2eZhwACuom231Hu/GlnsoblMo/wD1HCk3s3dJTKrYqmBj8veSeOvUWvw9nM05fVcklSh6GDkqYHekf0wHGRfMaBcIqKjmNbQ8lmNWXW7VMFHpMknYNcMCYuKHtiuV4hzctkGF+oWfgg3f9LkqfhjL6HUXplK0VcPcaOuTb+SAC9Wb8EvC/DvOeLqe5JK9x1gPal+NlB4pGWiZ66vueHawdoWJ3VmheQozqTFQDUlIXyTmqbxd4jMgHoL25B2BHkVsmNp4IK8x3jrT1uiiCmnLKJw8gvLmZMkNF8qfQ6bIeADNo5RuPIGoPx7K4fin/kiz1oLLWW9ykN0mZi4sLhxqq+ictigHR2VQIm5AlfuwqHvB+mM8MXTUTaeYQZJnxgXcw068lrblKHxUXqNoRPhDXc4FBgRj40s+iRmKh1BjQWTI0G7nz5eSW1MgzIzkARGGbaOda2BP4qIrrZNt7to06NpJ20rOUjRyn1xhBCIy/bUMRq6VSKI4kGkeac/iTD0MsxZMgYL4X3jzDs4BmuPHNhuTcLUdZ49MWsMASG8dj0l1T/zaLYFLU3Fo5x3CDheT+tQ0K9fwZmipToL0iYjZzj4h+sNXb4Xc8qz3rFNHyoyBh0c/8y3ecEOa3PBaWQVynhs9GG4lIbxHDLR793dHVGYiets5hr86m7LREX73n3Sfk+r1JYaaglo01uqu0ArF1cpYQ0EFjjX0rswbmHNenrBZJZMWAx6dZkgQeWzJp3eKusryp7kqlIcMa2260IA6rjozW6h42vFm5WdVl9eHSal0u7S3n6dy+cJyUmJ7jTcYk9YegztDF/5YVAUaUdIebBpE8z597pPYCDiqjWVt/FJh6bbU9g8xRbBxQr6ZNETMKc9aGoIUOzR8hL9nvq7cqTLIP1a6t0bbOJGt9jHi1TzTcBF7r5oXhlNnlO2FA9oZmrfSfnF7M2+bl6j3Un7pLGRtLlsvw+nkJXLBrhDMLufzwp34vn72DR8Q/KPawwru8wxoZVx9rUcy4+dYQCHuwYmP98/XIAPrtcetD8qm0UKRsY3/e4x652UyJgvKT9hVu0cCI4NKGw7nhRO0u0p8I2LdTd2mY3csPqxn3JEyplUkWSVyCwm1Q+mT5zv/86haabY3+i1Ouw8avmofoOO35T1bITPG6JTmlsz/XYeRevsLCUIgKm7VhJFEhUjy3F8dc++7tRDv4ki45DwGsGgdvI2FiNup53tItKIT6OfPgzTsrLCJ4/blMw8Fjne/HHmciJRP6R0X42vvRWVgApOvG+tjOEHBbkI2V/OTHYIRSKQsy3jQA4n9YUDsCH54nMXz6AozowjuQYkyqNj7vt7DokqMEWfcrT+M+FMlq7vlzRqaAw7knS51z5600wbu6FErZ54w0bpqjGYkyg6bZF/7tO1yYWtIrYuGsTGD8Tg4+9A7OcPH+IYL8iQioU6D0jL/nH+Fk4zRbNdDc+eroA//RkfjXn+ALXF2I27u0fsSghzOEcOJiPl9ii1A3Wq0FNJyr88KNIMpxxf9Vq52InjrEGVEWMd0omafOT9QHsiAtzmaTxJKZDXjV2bsEeZ02l72s/kfadRlt/I1SnlWM0cSqBmJSlfUp3EeE+Exn4HEYOi2WGh0l81p7D45LQfQVJ8IoNN48pDcR/1uV4uR+g7yEmNibP/OqQ/e/HlJttzXuBhQiJTfWAqEMbNOTEndInFiLxAD23aMoxEAuTbdLQOFyUbqDBSFtQ/dRuQl5jyBcUO3OIgqhXpH6RFahfbSps2MxVLQIAD7TJrehois/8JwBViHKN+4I2j2yoriBdZgNcak8KuqLcapRK5OOzrPPM363VU6DGNE3K6W4PjiUgL+9fYBn9LmxbFhtJbXlUq07HGLG5AnHVKcAzVhTdlkE2QdGgyHiEwGGNGw8pKMoYvLwYCDnsf07EowhsCGyElWph7Gmmc3VtinBfbeeqMPi//grAs/rjrrO7DShNFMzQO8ZG7yfUYdskUFRKqITmEYQQ4a5VSZovfpM9ioOcy/HSbrmNgexT15MNcmak47gp/zxMRbRJ7xuhVbVOogEKxqltQ/qHef6FNvnqcsaVUC18AA8j9PLAM8/vD4lNRm4qY4WSwxFYarq1hIfNA8w4HkY37qWS98OBvst4yaib8bXyMFw3y5dfmue4maRNEhi5CWEZ1n9ACcOJNhcF+YsR9oU1PUsZP11tCUo+W53OJTk3hDBg4UwnI9tzTvFzmC0/Uyvu6f6njiwgoZPKfH/TtJ7QuGgi1TosZYkf2OKuRmIhWAgQrPpKWpEBLjkn1iz/HPPAcz6U4mRaIKzFNoZRrv2sYQSisGBCVgKx+ua6ifcjTBc4WmeqyXFwBqIrZRSgHiMGl3RiHJtw9wpSyZnpJzcBxzghDee3bWXToIPixyzvp98KaE36Q9qpZvfsHeRr0h3kEElyXjqMmAdZ9CS6oqGSCV1ITw5HGdFOf44BEaOM3Pcv+8oVJ4L1KcIhX1h9ZF6peDKi8S8OzHOcZuNwVKST6nOTnaDXapJyRaPF1nMLihShZYa34lS+XBFz41iXmVCW84siwAROTEg0BrcMxOtETAjMri5nzU5+WpApgo2nNb1gFeIm1YX8sHjVmIzy/hu9ElgmyUvxj7353lrwiasqsvnC3i+tjJrj+povmi3qyUG/fz0c7VNbMmSasdAVAJY4SGD0EOohipTJ2DSCwPOnYfKwcVCM6I81VdYoV4aTqmvPD/QpVVPONVEVZBJzp9R4BDY3MVzkxkH47GvEo9XZBxOd14PKrdD9VdFUddMWeYAjm/2jepyZ+5fPKYM3p448Y/G1AE8UErO3lfqEYo9NJeHH2hzR+M4021c+HnQlS+ji+VXwsHntxNrdH7MKBuRFA2PYEb4XxkhCOEdJMknPaNA+7yMoaaWo/xXZxPluc8+4NIpBmAfAJrii0s2nHJhKeCV+LY/dWb/h2T2H1dhHL3Ri/1YRsDV1qWuvYCo54GsBA/AOendBn79luJYsF7kJJF25G8LlQO6FD4fwQCSThKjsQQ7+GdqSedYFSaGtYY2YuYRlc8GB178QorIyzV03c4Dej2+MsJ5q+Rq3XelwtWQyLT8Rm3s4iP/OTBndxESe0fGdtf1xDp2JjK+f1jW9ODCF+lECneV1KG/qX6nsAifqITJHeD5+iKW9EgrEzyBAYERdwFbVxX2Je+pVAJH8VrxuT4FE7YAUJbKOZYN5sE0Drflq+83RXTS91ctLpTwN3PirNvSd8yMYzZaaBXDmrHOAfvn3a+njEC01nuegsXfTHsYOKjJ7evf1wnCQkjsH29H+eO0Dsq+XxNq0S4nhSLzpBgq6DiUi3zebUY73JzNi82LNOJnNjVKDsN+4yvaUzjhktLxB2CPGLmjBdwiIgnaVLyUQT2Idtn2e9PSWH0Fy5wNUvIL6KUsGDIPP+IpQEl3zhHOgKmqSS5wffo3/x/GgdRjyeEn0m/UN7GRFtUgfXa9eT1qvt3YOJzWuW2IHeAMvxc2umYlC+SnQudGzDCcbTIIr6vj3Fl3OPyU41zb1ZzOe+0cz0quXRfGKLXrDZ5f1sb7VNwCXjf42IAYNLkw/q6DqCl6cY3stUHoWgXYfTpFELlpqHc9boXyJqFWjmzmf2DuJgyRW56m2uBeMDASQvPI0nenSMBu33AMqHL3V6d3SfSyGJAd73gPiq/27kAeCq9l9uhmf/pbw/YfsmOYbq1amD7bSxhg0BOt4UTV2OBgMin22e1v4om852sKT+u95EMwN1PC1z6UpOTclRWDDRyirMjbfGLIpvdI0OK6P3bCspA5idNqHXECXs1iSb2GotBYzFIr8pa1sJ8S5z/rBtqknhArrXGR9CY0qP2Fo3LKkyNFgvW0+qoP5KyS+OLall4TdgAN2Ijl2IUu/oQXwUanBD0bpAjwATfuWolMFgUF4KzysZG+cWBlZAY9O3bnQVa8cMbdy1Ed7SfewFRC0HGAGdQTZz2sdlQcYIlM9rp02QhxbE82c83vVvSR6IZh8XWG0rrYXf6NSeZNoqQ0Y5pN/gubEq+AkzO5BwSlm2hn63Pu0VI8VASXTuo7egknDYG0Xomxfx7p4XQJe+vZ0wYbPySzg9aejXf5WmD6dtXhKJScjPfINz0IYISJ/czASqt4OA9duPeHr78y87VKRU9Y3sx6Wicj2M/I/m14CXaViTRmOMdiZiHPH3Ev4xcHKQlRy45yk80YFFJddIB+FYA0J52XCYzw3RyBPzTf6+OBwuijHdJZnpa3k9TSBlRIctSmZHTLvWTXzao13sLc2vZC7CGlroGmRjgc8GX9ZwaiINgscknbSRHdrSc/mhlHXvkX0DB+Y/+ufr3GJmxmv+6MWZ6fb8kbDEXSJ9sP/z+B/YgDX3Qwj/VMo9n+nM8W2oS4tPwLdxz+iQgAoEmGGIVC5ZzEC/Nmas3nEHlCn1GbskAlbLFQm+Gj2o466sYZJ0IgRCZ2RLDelBZ0jdnQwrctOT25bnqWMmDnGA8bNLyYPqmO+irtqA3Yg0514qeZgWVK6h3880dwqkawGX6+d9A+uZDupPh/BCpWcrE4G5HfKRuSJsoVs52SpZ2LoxXQ76USjcPkB28Quu+indx7EpmYd/tozPDsD0iSEM3JVbwP3gxO+mact4p7h1mCpLTv4FSvqZOorGNfcCZxeAl76jwTNWeGv2RqvemD8il5mPCj3N8r78SEvPSGBZHlLecqz6Ei1yQWEuS7+0Lvbrp7cfD3c7RpPCqAjH5VZq+sqeuS4auYhDX74JV2f1savuh8jl1TpPncQgyn44bq71X2IpOOkBPrzLOkegwomvasYXiovgZWwI0sJgDKMZwlV7oakdLGIR5/2Vur6s2rzjEQO7w7P1aD6rIftQz3CrmHyiuHZSNlCEOOncfAzzXCCN5kdbNcNsf6qY9RUSIIsGve5S/chaffsmBYlV13Wek7WACptisUa3VXYPGK66G81vhjkCw4SstgOv+DzbKhNaiGFYK5Vv+AAhYx1g2m65wDkWzUe5bjWSZEayk+hrayEEvctDSowRJwXys4NuCYq+wrBRrxHWdcLGMTnyNlvz92U7wU5KC8uPlqFjd0wO1+kPmaPo70u0qCI1HYVmhoJNkAkiiRM87Gshz3+Mp50cTTy0olRv677WqsjTprv7ZRjOn/NAgXaMrYTpCr9CWStaeRSqT+ag8jJUiKPKQyDAnBs0+vadhJ2XgzZ3odxgZfYu6Og3o4wCGZoKsnfHer615sP3JnGLUOj/+ZsBxDaxSpP05JEu5SgM+iMXOEfWMbnRaLtRfyuyGGpkwUmanDy9Ih1fsrRRiNASDfEDkyAoZLkbWgRVYFi3Ss0ctlgJuE6AMMupOyGuYDkPn/8uA/cR1mgy7peaDC0ozgBUACslDhiNGAD5V+MQrpF2Heu2ueGNx1UVW/kwxGQpqRwL++DSUmlPfKwp7Vb2DOrhGkbvge4n9rap1BfX2KQyEX5k6Pbnk2aSOGC9gFdjdCly02Bag1A4U8w4b0biRA6KjgyLn3JrYzIft7AFVYlCIsuzOyOuHvL6rTDoarAg6iS4x5BdOBQ8zdVhFklahkhld3Q0DbmigS3D0uHlD7c6xYRUWsV3Ih7Of38svPGIZP4+oEFxS03BvxTP1K2+IgN0HMI46lgY1d9Bua10vxteOMmA17Uk9ZdnSDAzDIokR9nhH0wjpTG1GIjm/445na7LqltTOd4sGerbOPjI/PeKEZWm0r7Trf/AirxfXvQdmocyy1VyldlvnPxThzru8VDnbqCDil6OgZKvPB/7wZrdCEYgUZCYwOy3lcw/k6yp9NiXIjM0z/VI7dhOJ/AMZcUFktTbPb+Syey8X8vNM9p8piZDTPqgDtCFvz5/UUNoYUDvWmLWRC0pOwsBNBup3r88Ifi4TFak5OSqogPcCqilqyBoMCMOziAo7I+7JWo6XXDVGSVHtw6W9NPxgqaQKaSBgifaJv32IwHkp0aRRVbMtpWnl8T8GFpoIjk5oXxQWZEy13oRJRhUNvl7vZIugO5KWbHKId8W0wpyFykkTGheb2V1yNHCLMWVX4xvNJ6NJTVQ3j+2em+bSSJpK6b1R21CUR7nTZGuuV4Oa0Qyxikz1BSM0DwQQY4iim/XdT6ZkNGoTbSyHZgfeNSwBhwKm9WcEcg4hst1vP8BvOq29zp8HyOMbcVCpUJpBYS4diifyBtv8H6O8U1gAuwAHPoqbggg6D//iQaPSVNVCYAjtzKBKI1+puGXKvxc9bTi0/fWlu2NpZB8cFK+5Uv2FA8D32AszrBDlkq5xuOPEVxW8SDBVOisfnrrtysI7n8xyBSPinc3IdOlS7yr5odbXiwwTftYP8Tgays00jw910/d0kFAmHcd+9CAq1dP/enNxHXuqgeLybkJxKN1oiDqXhnnranVE0N/Oz9IPSWpYcUPZrhzEunT6DkawPwoBWYl3/FdlfANnpdg6k1WGtzUXD5Iw4rOBbd5U/xzR/X4JqZZA5dHR5TMApp0Us14jHkqgy3Gczp1itmYamDq4kXFQ8UrCTtrgfNAErGflO264lYUQ0c2ny1hfccJrUgweBVev9X5PpHfet7oYr4En2zm8zbajhtAGy0g2/DQZgEAaE5JtvU46FjaJ8BCVoTscw/Nct+SZJ+KyVLvaVgmr7MVP5DN2Z6w1h5xu4yIFGm8CbcEcysVupNvb3zTN/dsYqdouKjvdloHZTTcsmHfGdRNXo7wZKHLQYFEklsiGSAUoejgzndMjN9cVJigTIXh0RXme5lI+2a1+sOrIRaC09YuK1FfqSheAttWj9NjlixjZo6xxpUZovNbaAW3CvkHjHdcp8ir0oNCeQxq2kFv8CwawBKmA2kH2ipzRUxPZJJuPpGd7oXDFu8u9NXOjsqtBuw5k0HLCl4TmLiOQGbj+iqQEimWLi7FkZwCJg5JDwcjVeYvp3xGzMcrboKfxv1G27dyjH7biHQDLb3BlcOUx0O8feTCyFzxu1O6oS4djuRq/o2FF0HI91d1PPCAFJTqFcOydaKgvxTCdsY1is7tv6VXhOfxpXgen4dsdQD5YG50ULPafEoryi54xzoV/WYorj/vAclICKdvmQb2GFCMmvTB3s7KyhEi9MSfdeRbSfsAVIWjMEMt3I87cFTTyPkidce9ai98SHdEOUzG3BB6+/F3YBNYRGTdixInoWsr3wutk66wC4waXU0zjr7dDozAFtQ+LGeVt+2iiGlxvU9irzsjn9I3mooeIk7WrBv8o4EqODD2FEx8EkckIoENAhvBXtgARs5egIBz8GwrTlVg03qcyuPjFWPvyNVi75WyMZwa2rrX2dHes7zuR5CnxiKF7fAT78SpovjpevmHHJsRV5M8TGxHeGQL4nOWBMnvHyj14xaEhZDlBPdZQIL8U+V/QBohesgyOsmrRlIqWtT2f34D3Yt3s159xrkjgZ29efAA+bXFmVFpbQ2RtiP8c30tykMLaoBXgIskIFF3YeaTsfyZrsGC22QuYokJdThrInj8Q16iyFqZNgbVLEgjv0+TkD5TvEWwmIgfp0bf6W4j9+Egnq3I7BYOxoJBeoIdLnucSno4TriDKCWomUDmyvoE4SBWFGLmR5wWWKiIir3cAuAhW2yOlELPaH/a4WbN2gxQZ5sN/xn2JCEepYxKrQXkasg3tuCTkXVkdPHElJ56XrG5galKhbtDfvGZ987eywwRwnC/VVafRIS4028YO3mCUMHKpyemaMgqBZSue/CBBGdPBFLZmPZQcMSgawve3IuNTiX/89p81VDbdauiLJTURqP0JjNDEdwoisReW0eet1UOasxUEBVZiXRurH474hRijIG5IDLq9lCcnxtpoRtZ6sWAtMR1hGmSDoE9GXpTSMDLbBga45wI94eocs1j8wcosDB/s3DEZvPB2r04P8+AEJdXLJiN5mE3jhautgF2+E42WvAUfR0jGRMODifZwhPjN9cbjy6O4oqYMBkluwX8vbUjUV48L8MAtDAYCWgUkBudhGF/tIDKBleEUMuzUMGUXhsWTDFrnPu70moc58knWYfiJUKvtwpc5z9n3i5Z2SJq006siAP26++PONc3OktH76/o4p/ta4e8odMfn7thM8DKV8+3+6tK8rQMRBz97cCkRQBX5sgWCXPly+JmC1FimW742eApVPyfSAS/6FajvZxxdafHVYq5o/zhKJVXr5eenmUL5RfIlhuSpLqO3xylLTPvxTOYDT2UX2XkJFXxUHXBlJghpAzOLGdFJLcXTP8d9O61qvuWi9oYN1MwymaO8AFXQKfGvI2l5uMPAP55Kmj7rULhZShHnYyJM+7AgaC9+FnP1TvgWdYJ9fZsX993TfuC8tZZkU/flxheMWhPN5AjFMkMXPbJRzk2otDnWgCVCA7WK5GJVLvibyi3N2pk42Q2YTMmGu8V0N3ga48j0qoUunatdQpelhpZ7kulghCSBkIpp6TIZhpiS8r6pzzBkExHtvtNpnH7v4MlZrvq+fDriA5/b3fX1QN4ioMJp5btnxA9whVw6wKMN372Wdo80VNidjn5ykYo75sdFsK3rMuHYS2cPBRWq+I+VnKlzHlkaONLEgOu4bAJ5Z2/254j1Ep/ATRzCILs9sDYv2IUgEdeDOVt53JZ33v4mHA5Fh6Gu9lhJJPg8J53LnmgNvrwBa3P5h1Grje6cyfY2n2yekbgIfyrxOZ0Vxkj3kgFH3pHYi7S4tWU6zq4OuUzqlux5Dke/7KJmbiJw9fT6SGJj3c/umtMrYm+UBAMl6tbv4X8IX22Y/0fq6KxMv8+ncY1JSEvYRorffps1AqjbrQdTwpageJiuTbFKMOXv0noTiz4+yzIe1SBf4a+SNZzWxzPqfsR7sRDOMOlG0yo0QpcrEQeUiiboyqFdNM4RB1qRPhJOCI9sQO6pNg6U+lY46PiU3VSbSYNvFVe7YpR+Ed0mvOEJhKUe2y6+ivJ/slj+tl1hQPk6QJTg+irBJwcppt9vO+HDvDvauwdN5hFisrgRIKb8F1KWiYnDwxJNXGKpBiko+Pgzy6Qd3t6EhBDoDaQ4sGQuvUYqXLCKQM7OzU0pl+Qp+Vh6iCLFVNn8T5sfHCu7NAe9Q4W9EkJtNMOr97Krb6iBwXVJqUVsvcY3Y4/80tnuwFu8zm5/X2OcxiiqBnCVcmj1ySmFtM1FdZhSl8gzYsCawDb9RfaLrzrkS3CXLqRkv+sowtOE9WfEze7sui7uG+T+uCxpsIUz9HMREibwxiIXvz+hqjqH8VHHoqRkiEONZ/zU2GllGjUVSDtzG1AU4UDB5CbkD7qlPiqHzP2rdyxhqVanFRHAiOVa2saO8pCqDPdJei/ChSfKJO7C318zpgDdeokuMgo0XFgL1B0nPzXL1f5viZ1wiiLQS04S+L0wIS8u32xJgepEFqV2nAxwVBbhJ9AnfF7QAzDdZ9WaYzzzOYxx1i2V7JEe8vGpxToJTD5U7YXcK4+2cpngpGx2HtwVTbnOfDIl5VPCAvfyQhHrVwSM1CYmgqnRfEMyf+V7muBdE3O+jgMnOR2rrADIsGppRfvljnO4lOoiwazOI0sDFHtxi0QSQZEAMhw9aV0hvItstpEUqe4lA+310rdFMYStESSpKuyOcIf08rf8Mjh6h2mZL05/th+V0Hxd9P3w/fNddeNGx1D5e8bFNMtVu8dmFRD8LS4ZPiNxMzF7leHAprDz/7+CJN0HRyR5TJzZKCQ+Jfsy6IfX0HlNaLM6TlkYzme6ExFxhp5ZCj6bIxrQXiRZ5C28lEUWv/Wf62kqi0HZbFNLvz3dqJOI2Q3/ZPGDaSuK+UgkOgGqeOYC90lHT/WXmKt3zOHHxKsLILm0rBtN2p4XeDPgbIcuMye8+8nh8awmXbYFTVHE5FAFK3XpaZQfyqb0Mreg0Bip+mN1j0Xachq1zOWii3U2EC+vbInwl9QePBBaBSTsmE2ba/yAZ+hISjzjN/2j1psg4OnCugjeWb3bprCywxn8fdSVgzZYirPnonMfxIrHWFCWgrrz6XpqZAQntKXJtfmt0mz4q7JXWxwLZBmAxSHfm+dEeOAm5et8OBWtHassQZRGnCkmADbSGfYlnoAPfY/sUUjwZ3NAQgNQx+5/SWmNhcIC9UQYVKf+AtVbElVJ6h5vbkFdCVvXw+L24EWPEvKmYcseEY5GIbzQ3nfki6ocOUkTx+dP0Q8nBh0T1cxpbpgW0fpgOjLiPXQ3mHtisaobDVsFjJTVWnsMeTIVgtDElxFdab9sOqShwOVzfau2MC/RvmDuzxodnjmrAC5UHu8LLRXzd91VZFO29byako7C0SdNeO74mcKKlooTlQCuNq+i+9caqTH+ObfnsbHU87HPCfXY8xCK1n8wEcBE2RervlYbXzFunqerWtnxF371bGyRpUc0/jFGOKJU53lKQ5wDQjXdLedk0qnqib7FmIKx124IedbauW6qsiPg4nWYabIBkQZTiua3+3tzUuEbiuRaQ06jiTWLjS6A9Du7RF5KuuZju/d/+Rwj9nPnMrTAp5xtTa1BqVsL86/XIs9O1fhnr6avWVACB36KFhQRoDCKfEt/5TMv39LaQswFOgWjZue5k2TGgzbRsyQsvMfhg4vQ/uOpt7t4Fu2C+npgzH4Vp03Ezw+Ket7g83Sv1zBwEqbc6LLMWOSqHtnXtHc0UalndcZuo/5xZVSSAa+f39WUQ7W5ddhl9ZwPezNxqZqYCIcEvuc/BTulV4Kzzd/njaCvK7X4AgcYFZyq1FXuVkIPEAQH/zxNxiPbVY0GPhRcF0GDQ9ecRWAO51D8zBlER89PyaBG7iYOTV028fi2gHsklTCE03MOoq8yvU9yla0TZNKde1dv1WYyjq0WlBUuNEXMjGmJSzYzUhu/sI62H/dCiNIZs29oO2fxVWzH1gRDL1OyciF++db3LU9Ho3MTGLbeF854u9OMwvDlzlVraZ9CsuERwJWz6B36qCBObZj4v3TkPlljHHYmpVmcrAv5bS50yYJ6wVWas9kbw8WSRwqxX9WgckDl/ILNzGYlGnrgQ2cTtjwe5sgt9m8noffhz663WRYsviXooodZtK5eWgWxM6GMeGgVEx5O6VRZ6CN1rRNM/M1dJGv7qth+x6jIvW0h+sXVNnndUvVzHxEWFzs8v3QiA6lRB3UwXaV11wLgM7hpypeRvKoR7JgshzODSWhnyQlSDsnvsq8J2PP3tSx+gDdlH3h4oRJrLLSu8sRke3QegefLh0ROw5PnrCsTu+CPW1VNehFyvOxKswE0vhRWhXIaCZdbR8Z6uKxDU08cjkwpDsbqa6ucJHjiAQCD8mpteu0RQlT42BpsNxBrnY2IKDAVtyE/RqeK0N3cLyW9yoqSsgkDmV4tB2GACKpJMjJYHSgqxr4IDZ1ZuN1Pw2BzYXEs7jhqhN9dCNdhfzsdHp5kdupSV+SYqHE67LxWxa9l/Vrpv0jukHaBgDaMOkEAfVaEq+w0b/oSPF5wImyUygSQyuvmNG71zoONWsp4yBpmM/NAF0eWLh6ecn2oO9hUOaV9KC+8DljPEYb3/ldbzOs4kRzk1yANAK2NXgxa41B2MFzA6ZklBdsrmuQKArZrlMfQ3W9r8x1On5ULWXE6aLYsCuYindodYn7ta8FLGErjYibrfGfD1w52xEMGD7bIKhL4Tjo4qtjPbADYoqVGacebF06WLgZ74TE8ybCnYiRl9JJAcBdK4cJ4tLUMK+yVmrFECFv4UyxtGbAKf2JKZae4s7bNe71NKaqTD7XDyWflvhYKfg2TH/xIrchDm7xQcNN9GXTstGZFaCr/c75jWZeGe/eLc2m7RgbY97M3rLfTPyqkb77DfIA3flIJYex0LNJuFL9YoGEn20ZNY3340/ijhYHA0Cjy0pJjisoCvxK/x8f0NDODbVCySjYXRvOU37g9L4kOmKqtZ3BTYTQ+P4GJpDRchvZuntyJvN/yCLYkE36s3mLzj2/EJfES2tIEF9ZR/xh5DOrKM8Bhsw/1rLIp2y63545uxeXjsIRDofffFRizefAAGY4IAaUWxdDUrFt3G6NTk17apuInkdL0Xe6DbsHQK8ocgA++G52ALjSd2uSiada7f/YE8MTqRkjxran4awGuZH/kLDaZlw21erfg2x0XagXlgCZ0n6rmWSD28Jc55/vmr0VDSnr3Xc+8rmyjuWW94/BGxoSMyPLN+SC1ZH96rRBZY0NOuI6IQYHTYWv0UL+X/bRsJYa/YQvOA4lXKtgYysSFZ7q8f9aMiFLNWzTY1WQxd/Aqlas3XFZJTyMOlq7HAdPVZnofWMDTENlYorK26qg6h8ITUIonxWtlmmjiPMuwzvGutGBOHXzFBLz1h1V1cxsqRDwoEcRhhqg7T7Z3ZJ7flXDTIXJ8rJ8CiHWVekQrzg2+ewNa3slZbyKZkINKgQhaxAqR0ftmz1MIxylQgGWUe/fBERnVKdsMceZxe+6lzWKanBwSCGu386jdx4fl8tHY3GfiRRqKeiEPJgMZb7Cwwv6+dpSh+l/C/P3oUPqH7zka/Dg6Y6TVIANS5U2nbywxZB5hb+aC9QVy/yRj/T+o2grpxx3VL9Eo7llG0QfYSoV/Hokvxh1yUk82uiJFXbvWDlFzFIe1oJ4z9zwdz46j2GENESHs1Ligdls0WZrBUvFFJ+pwLzieJ8AIL7OCwmZ4hIBe+gvQZYiBiRuGOg0ohvfcxFsMrh+/hxHx0UNf+d2745Oeid9iIgUJwyjFuflf9bL3mxB+rXqBlSC4rPbPoYcgIiNZZ5l9y5H7/P+x6kZjsaupUfLtsje8ZLgUiX+1szin7yWNw9yXc8qD7vj2IqKJJNUmXHyWAL7XkDEF+xhqe7PPmToRX8drS1PLGL30GmfbZl2DFWPqW4VvoPNGhmvPu8lAlhyPeKEzlQGpjj4EKBBJkthKJxcJ9IjDe1iuFhreE6Vb1QXwjymrDkKImqwTaPHCn3jFq2WzKo1LAWir9FkWKuvk17Ekok6xJCycC6E2mjIbzX/J0JDj4uCpBb5Dz7549hm9ajE2HCgpXT/hc6HSRY5qqrv1P+H8M2dWxWN517RytTHNDLHlcDy9SX5Gol+PLjif6Nw5eu2bWt3i1Ok/gtsLkeYNDA7FAgIIdygQy9ld1ns9cyfnt24cnQvAC+APlvOc+ow0h2NaaR876wFNV+c1EzMa2m989JeauYH4+3Hi+OPQe6jTCgpIaMDUT891on89c0Ww5bxi8mlXMgs2E+pjuyGcWB9MUUuPqzesLJgAkjCllNrl7R5Z+6oknrWVn8pvm6ooG3kKnEfx/0PjAldZlVrJleUheQKd0g9Sa1vat4cYjwIBWJwrefNzKnSYp4YOwp5vhaVTiYnScggkbb2hviF41cwc472kY6o0tigeMr3wV8rqE3xn6wEyIZaxyfd2lJoH7ZSp+CtKObraSLdZHMg/aUI66zmrMSNkvqvIVMg+Dbrn2eIGv+JUbkOUcSbgRZKf5Zi7dwdvX/4qkfmY4tla3+iYbQs+jmPiMaJZIfinFhNQKZigRAdrQVKecv6//PAQiCV7/pu+yIYhF51ZXCll8epEqj8KAp0TJvuwZAw2nETqOBARoV9T6cDU0L5ZNVfRwQcc2vs3iSBHDBnomzkyjoFVTvNgdo/AKqURcoh3dnX0/UGRSXsp4SCIznE0weSUCJ1JnHL3qQAUW6qpegyJA5YrVHzjCRC0suB9e5tI2c4zmeAK2SpNdhZc1IDi+OqdB6xr/zkQAWAIEFfAJimpMK1PObJqD3Biz0A4ZDKLYbzmzwBGLE8LY6nQaD+JqvGFBOsXGMrVOUtlWiZmXi/Gmw+dQpDipnnXs9t8zQMUtrewI/YldMH93tRqc9ANgFNWqRE2tC6F8+dnYPWXFp1nKCKaMEk0ao66cAMl3josReOFwX3V236/UxCwVXAvDSfN0zmdWpUy8mpIstU6hJznQRkAmVajZr2SHPKmoOMyd2YbC/YMsXIDqZdXyILs+cZ5zKip5m4lUoM9n5hSxqO7zBQu5Ozze/zuO0xQKKZGPyHrThp52cNyepFDcs6ZT2NbYw4LK6gVHH5jWIS9qpkBN/vajEVPgZrm17aKyiHPStMmi2/AHmvr3hrFQt2AsOJdQ8quNcaImQzE5rgRKOQ/1UKTCxY+lnLrLWr4GlKZhFt0v3Q2frEMX8GY3KqGzE6uCPa80PBzvWIJQ9ByJu9xzMPh1wcUmIiN1Gicomd0sf657BuwlDBbo68BhP5anjlDbaMntcRmH/kIw3V/uZpbZIf6yH9b32Dw646u67TjPoARgENbBEj++wJy7KQmADb4XPCK7LOJ8yvFLjp37CllnE3O+fhfoLEDcjWpvZ850k8lfhrNvZUY2A9e4iufEUMuHCdlWv7BwiDFXjxo2w59pgJNIZPJRQcAxtVNP09R5/lNHSuZ7DTn+BffAWlBktuHPK6eF/Te/zs0PaWf/SPw9oaHuQSXtDmVL8lUEng6GJpyEFAfyCa8mfY4NZ9tMcTrCV/db4zYFQSZiD4ZfjVb5MaONebfjB+WK7psq7i//p+DZ89D4yHjXaioj6nX5n5v5Xx/Vx4MYj4V9lE8mkXEDlMZmPqxravr8bhxSIPzGrCIS3KUHK3s9rC6J2Lhn8P26rpwvEBFv1UPaB9oEgGmLYwhCxfm/loiMuDagNIl0G6wL5DcxjgadxXB1rmuUoY7TQGzpNW/7GETpkEfyx2bFOD4LAEyaeJ4Yt5ZNWDTRqa95BT7t81WAg/B0VnB1mqmXhtZKGg7B5h5cZntJnHotgRN8zvZhle5+doBix14SnQZ33HtE74Dxwby+NqZ17+cs0LmDhMVhhFjM5ErZWwr9vTHAdpEElsqHDa63xKXpXYZ5ws4d2EIUlO7wQSI2ia2VxKK8v5jcoKnwPwPIt/FQzRkdOGh5ywGjE6PqNCRAXa8JzzwOPV089TYIZQ7OdVbOuyhW50J/i8EXvueCweFTKbahvcg1hVAOpX9LNOCFrO2R2dadKYaFCC9jnJQSz7H7d1wNBh5q7ty5dDrVo3FInf40C3YmqlQEZ7wIE8I+ZUPH8d4sWfePcwAfwAXGG8+3Qz0wMM3KmQNTnrAbNFgXLdH5r+D5mNeD73P/Ua4EiaSptpP7vGz84qlIDHvh9Nm3YyuXaIH/nbIYO49N2RF7TO4MEF92NlJlj5tnIO2no8rFJk0XMY1J6NmvbzwE9qexMJow/g8uEU7JX6CeWSzcR+t8dCAx9m0/nfj4qAyuU930+WG/3DrQzGf+5RS4UPXfodahFc7WUVdP4CZnHQeQ0ZmnGtVR4f03F6pOaquQw7nxbcJMTtXEwnP1keS8FcWC11nhYC6XxJK4wVSaPOVXSgr2o2aiBwu9t3woAxk9/DJATUbwN9kfRkKQEJOEki8j+nyO3tarxrHaBeimRr0YsApZWBiofXnjS1townLpEDB2MRO+NwRtMmdpzgWnxSrjcfChfeIBPxB0LuXU38zRO/gSZOq8krKjYSqk1ZM2z4OQrB8AICLlOn8b6WIsMxwIdKsa+eE7VjMoJ/q8ig=="/>
  <p:tag name="MEKKOXMLTAGS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DFiQHjCqdL1bAIku2Rw+/elpsbhxpGORWsyShyRL/tWmsIuTsDj15mcBBC6rxNi02vfR74RCA/dpvKGhZx65o6uBOGbcvGaT0ySulUXfCTd32KDlfORmwuVGGYaNpItxEpmbm349Yimce843W8PnzONbzAHKg75bzC9q+D7jtUG9v+L7o82vo+Ek48yGIB83+kfb9PaLBtxb52971S0UleK+wbZA2Rak1mnZ9a3tdQQs9nuuHGkKpO1T4PNcA/CYPn6MLjqfv3Xjp5I4Thi+vvO6zofTlvvDIpH+zMxVNuFbuyrsbb3y0u92OHfq35uK4XBj5ltWESbq7jmsgVlSqLcl/01rleMcP/DIYQj87d469pzedo/9HSYgeh1LAc/cRk6FBROYZRiG+AupBgJAhqoh0iimrPtPnyCLQcxUQp09krUSTlGVv/ZwRaA3WLFJ34ayBVCNFcRsyxx2DshzrTh0jqMQxzgi9n+D7cMwdt7RbGELU5JhMzrYdDTLSfkhaxwjxTzKvpkITayS4qCYb3M6/eM3mXFC5GoahUac+GyX8knzuBHuqoa5wS7GBvm1cYLYG8ETKPVnhDFc7GkQxEsaZFaKgG+Y1mIUcR5ERMGMIbM8JoJ7wifVANC/vLc2xnmjbBtmgYUeUuF+I6aHI8gIpC9aA9nioOED8QorAjS22twa83rZkW8eam6cNatJacUqDVhc01flr/tf8dk3sIFrtFhZefLoJqJyknhnGW30CM0ED9fFfUGFftXUUIoKoT7x9Bry7uLBJtbgUDufXR8RYwYuZjWR8f9uXTipttMvX/A2tEogH1EAuHCfCVYSSdMmOdoVfu3W6SynjMjO/tMMazDKAEVA+6/teH5aQ09Um7n15V4o8K+JYsuaX43t6Q8qCTaA8/inm0aOhBWdUfJ/Y4cEdo1Lx/PaeA0xTav9XYw/t5nov/NL/31BIoIeBhR5725xlWoan55UFggOZvOc6OPNKbQpAYry/lT+1Iy1+imrz4FNEAZqyapXU13kRJaShTCcZ3PzCVy+V95MOlEBBqhAIAWe0mjXIwLD9MbCIqFggKSK7/7go+OiBP+Y6nd7mfq9N1xY9ou5sPzSycC6Cw7GapkHDGHxQOsNbaeqhiCT5bxcSluHI2rbCOBZ53ayGlqEyuQVGuO+lU/CkNi2vNXp4g+BKFH+StlAMHkuLxPPjPSmIv/lcT/kHIHBX1yHbtcQi78PRw7Hl8IemqrnYjfK62CzUNJcVScTLD0TgyBFF99ISxBdWLlILQ40tVHxmjlf5Hj0F0J/gwd9OxKzXE1nqy2362IbEh6XxaPJIWJmtpF4RkpLBQbaaQZaGgQ85hZ9whjMLYhQIjWDvmjgVX1BC58p/VvvwUajyr7klgPjOkJQqEk3SgQi+EFR3tbV3N4RteVrNt/qqYdV3VwiG0Ej/uwgxysJKYmzcLHeEArfFNFoiH1bT4uKtnLAbjuhDFlSloYhAvpYVtk1n10cdAOpZuiXTeHW6Fhj3Mq9IRHSERTr42593oekXPUelx/G07ecdYBzp6AGzuyIQR8a4xKOqCAzlUC4rNa8jvrKLV58PTeSAo+Zmi//WWFQDXDEMHaRhv07dbTE+tAG1+N8yIWe9/REol1iOibDvqDk08EyezsItKBROOLOaDny3I2TaD/9dVGFtUqS9W2rJrNhqdiEFKZfoX+DdtpnmcYPgpK5eVvKGlmTPYzIF5RlTaLmACBB7mgQzQedMrLJZSbcWI+QJ0diBKsGaF9zPn7r/jTdsKEm3m+yH4ImuRgjQkFv5Lx9vYg/XkbRYh7zlLy942MvMdPD0SNijy9lT3HZlVrM8KfCNj104L6cwNloyZyMXVmJ8k49eW4+ZtzXQoUp4EwUSaIyYVhD+ku9bnYfLrJHSCooz8NKG45hUJ0JM7X4uOJ68LefnZ3St0IFcBlBQKr4WIIoIlD7cyaDG0PLm6MaoiGDODK1M1blrNe+7+oouA64rtgq4Fp+OMw6wo01n9+gXbgsGCLS+K8lPfckkxGC83yvCZcKEQVc1khLjr1rGg/EuLFUmudK4Z9NPKkuG6E0h50I+HsmAjCWmTjDQuH3n1tnBtNGyXttp+56wstiTzOasc6vtQic36VMmCV8KG246s8ZjqVxuu79Rdt97+LC+difudYUMDBkA05hL0KaPExNsDhVGlqL1lwkTEEzycMu0uo4UTNRILe3XQqiOLWQwb0007fBr5fNK6N7r+J5b2bjkKPLfLFURjfUGWofk9+6CRoheeRKQpu5E6cQYJUD4RgpNuetFvz358sNCkZnHqVvfxPH922MqjK7m5XZs+eEGOOgpF1w+/UXKBPgchftPsWY7sF71HZNnZIsm5UGQ3FRMx46wrMSHDH+r9/NJQv58+UV77JEN5qJjXtfM6UL1obZBOHqfXEDSA/PP3MYqSAWNShJ8+PPzHjUGKawa8Bgv4upAkqR2BFF+gZDv+UjXqgsa0JlgMXq+E38qXcfoWO3r1vg73TIP6S1IhiK6bm40gqbpbXIONcFVjDdc/Bc3GUJSBdLqAnMuHbs+UzgmhJF63Qg4O2sui5WvJkHRt80PWUsmivYk95PVrkmrc5WzU32iVPJKp3PD//YSDmBahPbnK0YF9gvl709LR3cB+Mz6yT/wxcOrhHpP/Hbbmrg1RxIWfKrWebpH+xZX/ODaNhxkUh+Y/zC2xIHWaZiLELJxIarbmHxOryJl65kwbqDqjeX585C4SMQz2i+KiONCFMSudU0eWMhs63Q/X+2ttFtuqlans9q0q+pFQnq0scGOHkhGzJ5GMoaCCty9akgCVk7C5E3/bFcIzFF4zF0vI/6Y2TQMUr1SqnSTh0r6jLxUwppuyRI1yH7uAKJYr159Ysfrir/MXAyzfsJ5QTLmKmzw1lfkYIH8673FIq068y0cMbWsXptyZPlbslH6GfthVrysvYihZg3eLGDtPRI76WFXkJvIcmUjkXI+m/vHCiiNPsFk/NByQaTtg/c/gNQ/eK+HNbvPgFIc+FAt2TFgMAWBSSc9xDgfhxm8VczmTrjO3ufJBr00epNvNe8xlWt+6xeQml9DUR48UhgEUGD1J4gWyqi14a09JdjU8GT6zHMJmDlO6Q4nW7QEUKRkUzxK2VOmh+8cWdGpjF+aDYMBoXLNCx7ppkn7mOTiMrxIOpecaXooxIvwVeO5DEkrNMDTxryieR1ILBkLNJNsibcc/KNtpL40WUTP1orqgfPvfchv136piA6lYhD61NjZTlWy+47R+IlVXXQhPEQQHz7bLnepzI7hkvaXuVmFpH9/vFqLJcef6oieredKwWHG+9eVpdUtq2eUbF8Q5ZHeOWJrHf8B5ARGuuEykMr4c3rSAsgfq1Xc8zWqyswwa/O6Cs0Qy8H9OXKO+IIFEEfzyMlJp2/wbbYbOKU37xcFGR6TXPNs1FVx3ptueXHCYD4orZhQmRt8Cnr/xEuht6CCZO0HCKq7XCRr2EQM3B63fwAGZmk/jfayvCJ0uAUOsPIBxshjhxPG1gCo9DsUYxx6E72rTSy1fTHsjTJKN6zaEEbp/zUj9e70D6hh9lyl7bonygKvgp0lcVcRpVx1KCcq93QozaEoDC1k31kVb1EaP3Z+ZMEPuj0auNe5o48Iq4xHhirO72zFMMWGCkt0PrbzNXJPEdMvxcE63SyXkv3v9YM/dc2zdYU6VQrSySlTu+BiZ2Lor4XSB5YayVCg9Uxb60gCo5fNNXJlqPdS0c/fT7mgJv3Y6w2d+dBR/zDqpyabb22HPGIA/bD7oNgLQDfj0nCHNKPjDdLGktQT25pxnopNaORU5aLjogFbq2RFWkrzoMQvieetWPsgTyXdFvEQLdKrUmXVvZKxPchJ6O3Y+s6FydPDCqSFQRYHt77h117+fGAcSxcG2Ww6a1hQ50lDgCCV6A2rkgx8wYDpdr72gZHlCzovbdckONcY+Znw04OzMSaywhIXi/eQJVjC2ZdBiP/SoqdlfGOqm10G+jTGBFlf+vInj9DBUIxATzWqj1tpnrpmbvrlgbo9KRNTq6SS8ciqz8OaOlMhM0nwirt31hdjpqXr4cjyp9so4qeAvHRhOE+ggm3Gu2HgsaHdpdHU+d3ahdtOqwzWMPlZ+l/7lUWJuNn1e4HNS5d+hBY+AnfE3Orr3oR7J6bNf3abcdRlI+FSa2uTX3BC6TCQoa7OIUlw1UUKizxTTEUo9J4CYMyKN1hJpr7qGb29ryMC42LfEBmgFK0J7VjqncyB6SGANLMJ6NclsFX0qjXRi73Db+Oohl9lemVGYpTaxyA7eFXodssphXlWH4hBzia+Ajr0SzES/ABpktvdrtqorpO/E9SCC/RF/yovbyjeRBJjf/aVvBJmfjWHfL5AjRyA3q+EcAzpMrE+zdKJ9rBsSrT41dtS5dLZx3exT5lzkV6cY7vL9UnzCgtqZBAZkqDjqV8GSEzmxOLBLleIXMxxVrI0r6IByQ1IqkNuayrPGWSW9YdHZjDfU4ulXSDFjefL4ERYAsZ5q0JJaaJceeD3C3TSlnShrVY5+omXHf2v/rZV2BrtnVkBkVdqasCkcB1kBOeAeXwUFmPfSNb6RddCN3HjEKulZ8bWp8wx468sGJI0pximvPnWIX2eyxjlqniyd03Oh65KqsEFlgl/QZJ7OVsj1mSB09urN0Turna9xWV0+/zevVLk0i6VTEhE68LMfGWlYynGL1oyYyBoAdKJLYS2w1DzTOQDQM2ilT3rVvU/zJKVFjT7T+s6sp69af4Bj3HLqhbxO9A1CkhGaQc3OZ5UD5AHCOMR0OUh3PKJj3d4znStPVPOeQz2l8Oqp/XpFX0I5JoHzUirhqrO9YumVrafAJiGM5rPdgdhDziMjd/TRUFcNvl3xmrlX3dhCOf/FuapTuAqhH2mI1lE0cZs4N8Hh5he2JuXHLPcZpfO16qxnLL27v5jy3yQflbX+BIp8Q3bcqSNp6RyVnyl2o5AarqMD4GyEJsoUcE1ddD0u+DHEVA/z3cxQuKrpH1T+16dQ08MWk+t1MGUKqGKeKmrXMq61rCsyYcCzHcm0htXobUXn7oZaRwhgS+prg2NJk3CUyMp00iqCXo+i5wO+mpuVnbX5oKiY92qK+idrOZ1qJfX8sWTWb1CFuHt2G4fcLJ4m/TR43I1Vq7BPgcRmkpgybaYbM5yh1I/pEwDMjEjl1pUPFI+2HRdqtGf4QGF7QDQOyKANcI4sDfLiIgTmzxe00ecxQ4pgjWD9u5MkzKYeaexQ4b6hTq4omOgCgkKhq3tmC2yodFUTfRDi7ouZjrAi1rXdPlB71LZaxvcWPP+N66VVNTLSTJdlisNUniXhMBQak8nhc69VFk9iuZd/qzkjsqfXjX1NfSOCoorAEGZwOIWxgzAhtGj8wlQPi3QWYwNyHlPyWzSDHw0zXj9HyFkB/mYO++zLld+xjLVJBHaw1IbqWiM2hYpudV9GJcFX9Ri50k7d9Tt3+juP2YIiT7sZ6qgXSDXJObyXLUPnI/yCqa4Uwd6kDf1pX6L0KPjrL3GVs13Gs5/v02i4vVz1hSK+vmz+ZK3oeylxFpGrmcCmxT8U5wefAx7bgUWR94eB44PqnD8Mit9if+pyoYhzU1EjgCZivllDMz+KmcnWE2c9LGhc8WfcqLKWiuC6aiYIVgOCxXsgHA8Q0rvLqcJ2ChsEvLh+gcSnHq8TzkaM9xoxe85ys0Q0VOUO/u75AWsZPMzzvaJRay86NaNLDvGux5rpGUPvDQVaPPfCgNbbSqlFKBnhOkrwT8YbTP7mL4zFaHqXy5VLGp40LCc0uPijzLcBpajtNNfVc6NgsX2MNN0esVA0kZ2RrRlmYOXhRhu+XIRisY+KfebfsEs86/a094BPt1FWiWrv7mfgdfc208IRSsAcqYaTvz0g99F5/BlYiQ9cZcXiy5iSYgSdJdPMcy+QtyIA3ODTIGc6zEAP7/HbvXe4TtANIIat0vZ/4WZdV1MtjVqAiQ8IlpMDC4XyAQ8yQ5WUn2DyO6hAifUUaE5gGlHUHtxWvC5xidip6+dpOtBQJe2xM39RCaC3jtHxMCbTLu3AfXVAxJ76yIWLK85lr9kEcs0kVdG6AhRRDmq2/JltxPOjmARL39IE45ARmKklMk33QiD0G+Qu8lnVx1BjHNrddmibow18tl+RI48XLk8Nj0t5speJPw+/S08Igty3fn23uCXgIGvkNelmB0O0dCxW934gAg7Ga+ChmYwctVDxU6m1BIyObmhKQlhNTE21KTTBVKKT7y+0Cxe3ZfQUZXX5L8N0dFaBqHP3Jczo/JjeBQVtlsts6UC0vNmkyYhNptxgkvTshM0hByqoxNbLq/A/dsQyg6gGm53dll4FHGFIkUovOMH3y1fPzntrhf4scwiJgPhVTYYZdDDllfRt3ge8jTaVNXyGi2N5nNkkdKx5UGryTVpJAdXOrzVExufpM8bXRM5D8ULA260y7g72HfY+hwbVI6nDBSgApzw4DYejUR2/dWHwPl2+fysa6JtWZl4cLP/CGgQlnWdX7GhY5l0ckwM/otJXNg61zUqVfl3icukiWKTse0W16sWe3u0hmIsqe6bTkXuKxsMc0Xf2Rc7bTIdS1/9OKtIpg6AcgFCXrlB/sRQ7p5AmSOmCU6edIB8Pk8qkfEfuzF7tHUIiHOybM53Z1LR68F7pzH62pGuxgvH4v5ZkeVwvwGh6xUi7M6ZD5nlyQsNetv1kIQIOD9fek7hRACUcTOqba8uikiQFzEXUNEsS3EMkizojQ/o420fJAcUy7EXjwn1WUVEMN7dKeQVnYONMGUBaaM3jncWT9UrzOfc50Q+IuHKBALQeI+GWAV2t9FIuV3kC7GC4VbR5yt4RsVJ5PsINNO0l1brbWLLJj/ihk+WRZavEtDmPtzi141n56X21f1S267PLw3r6dKS19Apu1htHix6bP5ej0GUoZEJ3aelQC++VcBuPfzJ9aSzr/5chGv01PCzbMvU3LK0FtmeJtLxmTxZU0Tdlt4aXkwvmh1dioX0fk1nbHhYmK5cOetwG/uAmK2C2KndrcEUxPx1fqbwqEJ4CPYXMrhl6hb5us5AHlmP7jD40MD4AzMTg02D06yd1s6Q9HsPEnAcPFM72n9LP6qZ/HUcVsWJbxnBnUG9u/KUrAj/XWOI4e09m07UC+cBN4URJnKvZkSJ94Ky5ZBURY8xyYATZ1mVf+XgQS7h9CO5l9HIK+BgIAPEiUmOF66Nt4ywWmMaKBKjbIMjPrn8DDPk+IeSveOZIHbJ+eSTC/9TG73H6qRQ1ag3n5Dk31AUsFUsS0FVJ7ZsGGTNzI5w3ezfc3CmrLEH444E97eEIFdLdaj0i1l4sdZ/1hlF0GFRjJl/lth4C3iHEM+xpEHK+AOa+2+fhO2RxAubdl94TGPbIfGPnzeKjeSyzmmkGphWOy0lotWg5TBrvBcGGoXnEHFRvjqSCMFEQzRscM/hUyaBXDT62ZioaiDUabtEx9tr5z3wyR35H2XsXxFzNiuo1lXQoFrh15WqTWMpJqZh5SK/xHRg5x1cszYcjySOG/oCqq1A6TNWjkRONtVFjot/4gEIV38ze0P0sWsSecX4kzsYCXMVaGrYOvSRv3kdXq5ipEYIWsiESzJOIIK3Y4mNzI4YBVPvPL/zOdbNlnccALXhtbXBfgrpF3UJ7ueMdohNGTE+KSTUPeJpBNA1ptNX3IyuQzG39CeaAqw9zRpcKR7nEA9uaskz2fa2rlMInwLgIt0RtoK2qBfpkvF5Z4cvGzJJ1OzEYyXxG4bXkrmxZTYmWrwsTwguhgEwXQJ0nNziSUPXhRSwblabKJoc3yj5MX2HD8SERsH33sU7tsFlgL8Fj8X9V79QYwJggwA8fai8oykD+imjqSF++aVqU+AsQpiKr4MDSODWK6/BkNidUd+EI9fqlDFaJ0NHwtvVJUtIJOiQIzztmDjVkATMccChuQvcpx7zMICZe/sgw3A1w+6EIVIUm/+Bp2QECUGpvyUn/gkM+w8a7qBdz5Rk9dPLh3JFrAbU5cNywj/Da5AE4Fq0EwF4Lx0HsAy62gacPw1MdoM6g8vaMBV015WZXnKVqZLLoGJQHgoEcA54Ka37L5Sb6oO07dHYp8eFb7yxVlQz3JP0LbEiQpzJu9sxCYZouh6wcZm/rvBJgnr97svYVhlZgUZetV9j0QNVfOx+vSS61Mo0793zLqRG/Mj+c4ZY1oIkgt/SeFh5ikVTYdfGkppyBOg6AvnnGqsXD38O+EjRsPANcFjCFTx5XzWnjs3/UvKZzk+J2TgOFkbTF7CDi2ILR+qACQBsG1sN0Bts9Vii6zdBWDnQEOb/NaNJxPEQ9B3OXjcrpyp1UJ83a4ElHJHtQmXPspoDY7eSAWf7JlZZ0zy5w641RIPA6G+gYZ/r93tUd3kZMvKUnH++OBEWiy0Szy4wJF0aqzoNgULCgaxVRpgApTTBk+vUDHW3zQFhUMgfUukguJSR9xNOXYGgfwEXKiKYh9nLijNrhaUGLfeGYDHUxprenSpUbCjiCjz7ydWQD9ZjPR2i8bURAWQzCT77nN5XMQnmwYPc9bcoKo9QKCRRlsVrwnTbGUdftnFv3h+WeG6Lr6GN4po1BYz+GV8cQNbvVHiD6v3fckq3QE9vQNGeA8OGNKaPUHn3Qp+OmXytVOA/9gwJFy+OOjQ69aHAhpkubrS/i71KJuMZHO81OLpAsN78VLpgbQjUKhE8RHCsd8BLHkKrYfIlFPZFfmoBx/1UzgZ4wP2b+Xa6/MBycjgnINYe/DpG1gO78npcBuH9fsh5VGO8AwfKTG4Bhx5zuU7uWe6Ac0HS12vNMDvtGCsxeC5aD74E+W6Lk6Ki4TLEvxH80NP2ud21G9RBGYEXVlFPhQtZghBIxbCehPj6K8b1JARk7n7abyhLDLg4fB/9V+9gbikqDib6JqB7s6qRxQA48QM9O9AVbgCmEGDEFVvrW+GaIEUY0E5iR81haN5Jop2lagibeQxe9q6IaYSgpPz0DTrYVFBcrfUUVZ/GzfI37vPJxZiJO4HGFjn0T2Wf379CpJoyr9Lb3+hoQADB1HiawLFLrDVc5fM4uZ2mTxMKAEUAq/JtdABUeKYO4eLU6volNjOCzEbS0SKReVEilrDtyX8sSMFdt7S5x6za79pSlMSh6YT60+bRBFgAnRMdh280o6hcD8f+r8GGd2Gxg1wlh/kOSx0mhl3oYPxNBz4X79ZcqVOUmK168/oYFq1ZMP6z/e2hbrCHQBVzc1g9LRyNsgTVKHddOWzrrXH9qOkhsf/sGA68GY2xDtxMGJhk+gAbdq3Wd2MRhwv+mY0SjYsRnuD4gVjFrj8Vna8A1k/1UCjiIaBI9r8Q9CgPgFQrfMqLkE/2nS6IfX9d8iv4hujbWjJXnbTUyB3LAmcjeu/BxXs9QxxxVxKN6xYm9pY04Ibx1f+tNiVeXCJPnVZOcTY6a1nv0fbF42jzLy/SuHVdXtJrExwtJ8LOP6q9+bNlrua/GiRBLbz4BcO2XsHtramlWHChuAbitxQUFmCIbF6eSjVg/nuS+cNRhYHCial9YuK9LWnhe6ifJb8noyDg9rbph/J7HHDmYzpPgA7I5U/eLlvEmsRSc9q+vjs6i9ZH77V+JDh4cgEpYqX2QXYyHDZargitd9VmrZ6kY+cBeDRZg1PpvLjOBSuwqyxIEg1UwwLQF7Z3e3AJmD1w8v89DuS0zoQuuICp/vThRaRAeIlLANaLPgxV/AQyPyEfoEL/pce9ne4nI0RV5J8enyn55JCEaSBdNu+OKqN8p/DqZJuIi5vPhP6d6c5aJL7Yj7ryOeV3rD8SXbvp8+qYqJzhC/+nCBZuvNO/cJiF4fFHf5cR0RIuntH+plM8upEELMWoeXD8+PKpxl6k5BZMLj7V/wC8G7fe7gLXFkiD5ddfUN6qA5h+vtzt3odu4ihSeKzfFv+z0H8jcTZp29RMjtyvue5ZjHpAdmSQ4OtRryN32RhxdkrKIEe1nA2M7hYtHize0I+qINc7KlzBZL0PR4vKor0xKQY9Jf7hAHW1fN65PQYYS8WugaQM9jKZxLntJ74na521lJ22tf5FUZDeOdN8rAEGSc5TqgnpkHWXw2+gnQuFtqoX6c1Qr40ceOPJ/MdRr+EWPQN8kRH2WmTKRjTiH5TCad4EK349u1VqpySR1hwAKIBAb8K4DUXQk94EK6q6Xi0Bulw3ktHM9UzpHizvZrkmb/R8Gaf42AyagkiHXdZQkFuOZ+X6aqkQTiaJthvWn0WZMVeIieRo5hclPayyzHeon/ntAlCN5X08JPtlLfpY0AbonM5PxPbs10fFnAYDt6KKUlRX0g+HJgWZgcftK841LRoiQlnqKjkmH+ndOBNzDnlYCRwk4VL7HyHmVaGKyxEWUtV5MNxCYO4Ke4fYAmQiaUWHXnwekPl1vyFLuuswPNajkt0GqFlFuuvfhNZiHUrZafR3MNRMIZKda8gamM+SYcli5UuGBwst/gRqe2z9iMNbz/OJVd2PZEpI9lgzBXI4/xlsGwDJJLh28k9jcqxCYO2v+PdVm3FUfpV5ockrClW61cNh03za9E1cXeEkfxmcGuTvGy2gc5ZDmOKxgwKDlVuyNbsmRPnh+mucFfbA6f8Xohq6yfrMWQaloCiH+1Zdrx1BExTs8Lv9jMKzPQEatG4Pbf1d5h+TxgPXVs9FglMzmTV1csqE8ibRP3h4fFFPDkQD9FSIjZNisTa4c+XUlJnZVC4GPzZ6V/UkTMkHLE/aPFm/kenMEo4+CO7vEDRIpistsCUaZ4r0Vd8k6zxixqonnSyqv5WADSB5vuIfAyy/awP/4SMEcWqzqVxguCuXq4kIyeMIOiPpPA0rijnwnvAvQPV0bknhPCecHwxzXOFbKzNi2fpiY8Vn8B8+Vyte7T67FGFKX9vjKP//bXuPoUvdkZdCGYFZAtQyfdquZGjv3ieYg9y/BhlUHxDsxVdPR6OG9eUYfQL9esdPPuB8KjAH/fGpTR0wfpjXGaXnLTReJ4Uw3CwGSK5+bO1b6hrNgC3vN9ht8lLtdRYNi7B/jzlft5A50pBiXlxRVNg8CmMmEkra/lx9J+jG8fJhRg7RPC+IKfYaL6OZ2bfXqWA063y+hHrVJR3wwZAOBRVp77YU52NrAByM5cieLhkgP5YSNSAEYlbfm2rkSx+uFLkXQIFb8GfTD7fJx0fSgnp4+9Vn7kVDdQK3U67GYlNzlOuAgeyE0c6puWDfKv0eQ/mN/ga1JEE5x0dQx/qonK8aU7NuzbGZG2RqhSkkV/4ANP1C4wBqZ8eChCJIu8JBJTG2Uk5sh/ilmfWBaQqtdzy0x8bNqsvziQR1twm5Brrwm5RKGEK9sYMUw4xg1kV/xbJhDDO2Y8f8YJFbq7VLB8jJaxHUHeX1DMAjJCVOhmuqLFdZx4S8VxKOW7nns7Rx9llYCdm8TfkFXLuo6iK00UjJhRiN69JJ5U6mS0XJh4PHb75oqsV72PgKoOQyWJhoChwV9D1l1ru+MVqlMwS/KUYto4O42qQOdC+lneblbo8TB23+yGR1uqXDsXrVZl5H4EaiFmGhdhRsV7D3AtWjsR6pw6H0Vvm53ldk1QcTesMSoIx+NZC3A6Dc2av78jqobbtZHsfQtkO6juweGraJVyK2uykUUm1CSe7xHWBhCnQ42uT25geuRZKn7dZqR1LuOZqcVACIRmq+vaMl7EizPL9evkXKh8DCUv4hzhkqp0Q/n7nHh79AQ4448xKg+RK1xb8flqxWXeBeJnsDiDRqDKAvj9lEPZf6rn/h6+LpODXT1ET0nrtImgOLwkgiBr+Q/N9BD3ndJN6YUpih9iVJw/wdgLXsuoqRWJn+ZsGSaDw6c/D3B4V3jOQRIaM1M6xQUobmlcAt/vfpfLjKyTZ8JxwAXm9l2dU/y48jyLNjA3BbQmLfIbOkZqMVRZVugKqID7bnm/7ipQxvIyjS3gf+Dp8Vcqfy/RswLe/eQxJFtVcb6N5mTIaaRcDnGdMM/PEl35lmQgChomovTfhAN5+mSZXdanxydlcZmDQQr889OTSC/ITQETvkys1OE2bYI9vcUIYAZ/X5TB8DzkrTm1Vs8LS2ECA5yYmA4LQyjtz6jhJ06d2yEN1oFuOYNd7tf5K7d8gSOLuVjUB5WtQ8l/EzqiXy1CxW2ujhICDW5WE6MKOhU4mmeGzg59KlQ5Ja2KoL1jbWqEWV8rw+a+4w4kjBCx7DYzuYOk/RfYVwM1WO2RqNGD3RCiPW4WiTNimnD5aLtmptMh8/2uAGvhBETk0nkk7hgwt1FTOUtsn4K0/c6a0/Wm2L0b5b/aPkDGkx1Rg+6iRKvneJBVNyLp9Dfce4tU4109fkKD2mSiF63Ob8JjWQc+8Evf+0Df4GSOVrCLz1spISuafzVeI8sOxY9jc0PSFnjThHnnYeEqpIlPc3H29mfHI31dwZXKL2K6XEX5welW1reA4BXfT/kHkDB22dd0FgmaIOjeNCkF3Z+cLjkAE2ZQ9pRFJ6V689krCjCG/7p+G7kqwzzvdVGq4VSguotkmBUiQeDJcLLWSxJ2FkHfz1p57+UwNyGxwWLJqZW9JBISerW6PtYbj8ZSGll3uw5ryaIQFBp3vIOr+Dnjxt1ho2GKNYJzM+CfznR7TCdVEpMg9BuL7u+BG6g/RuNTRkaoCFdjrFjGhB6RqZiLsa+gyUDrHv4kgdd0uzkBW/CoPkNX9Rr1AufKgAOJmFNQkau5mFao60TACidgLX8fQ8TLayFmCQicJZVG2AEbl33zIY+7xeyxADmT9Nvo3/wgfp9pag54jY24aNZkp2QA23foultLx947xfz8qE4pkDaLzFZY/K2jAXvn5iuP3TWt1Q1VhuVvSwb2NLyB79LdzhPdo1z83z4cL/e4Kv/pK1YhDbQvWh9ootu2LMWs9kzFDyraD07H7sj9/pWE1/UnWfKNktFU1USB0xQk9pjybl50rHtyCJUYlvG2jb3nsKs+WO/5GnP5KVYdJwXTjy65gVT/Bk/6OG3xcdSsIY511axw7qCm3iUL2mXWyfpw1Qu7pecTpwnqKQ6+9ZddaXG/bziM7OzlOTbNzrRrutf0j6wbbK7M23DMbru8sF4R8RQD8H0laaGh23g+yztCBepjPRm3APCkD193Qy4TlqyHyjvfh+OMrtkhlDRpu3xCKXRQgVvaVV2/fLohcuCbpytXLSGhCXdUz1vJXGGoHCy7PaSU+8kkkXqF6T9x2Qg3DSCsKdddfPs2sU95iq5l4F3pDwGIb0lCTiM2z8UOUlRHVbuydv++rY+LTWu8l6ngSeSpuilNDbfFXg0l7lEZgEYRKR/ckoqqL/oZThU0eRCxOygNkvQVPjG1oIvMiiq7XIaSlZv2v3+u5uaN8GMBUKDrwMdjTJ5Y9eGm7cZO7W5lb3wBLSX/ymjO9NTKp3s+lIkqjxPK+zmTHgpcPTr86Y9YHi8c30q9NKjZs74USDmrisSaJl4lOKjwZn5gxVIQGflvdP1kQXBL6VIPnHByzKOVJsCh+Zz/3+V3apqCjT1Q8MhlWl1v9tmPOMOor1YrOGyhIY5N+jOvuj8b38RhE+mJEKZLDPhPgJQPqcvJ3eJTz1pwHKYyjf8A6EmBkZHJeagmvb6gGDsHA6es3hqIUo1IE6GhLOWY+yqYC7nvvqclaD0FPEkZ3RtXt4bNKUy76jvf8+Qll8dNRMSTAwlNIBdPGSjHiZCgo9Ist8/qLVx0Y/KkS+1hYEOcwZoyo+yK/nI8IZKebVxL48UT6e+0Ij0wH2aYqgjoW3rEGs7Seg8iieBdg6XxnKWMJPIm89zXxpdEj/mwUN7cCt3787OhHcftFy7McBEtCHqDV4NOLgLwvTgCNGOBFdk5JELW9t2S6JwmWN1y1s6Jh9J2kh/uV5AUznq2MFZI3NrR/jDhJ9aI8wxMqv563GbWqZHf+kuIgJVNok1Tu2bP36ra+UcW4mPdrov+AH7PMDYJs6fnSmR09Esbvae1P+9kfUxvyf9hzCMM7ASgdlgCDpSAJbiEfqkRO2p3YFGI+As50VxSHLV/E3K5NOQYPRuW+A6bnk+PoZOg37I5b6I5r7wBsyohwcMB3CbrR6mMJKX4Argy5epVg/OIrTg+TsuqiULnalaYMkGKaWeRwL9UfI+UVZPHjrUUGPnmfR3Fbn3mHKcxK6jNlnDqeQQPashn1cWRy94EldX157iWEk9Hnp9TU/Lnhsk+zHqj+7ZFpy0Jrtti7/uNQvqpDurOyRnlkHR+v3rVPRanvIjICsyr8kVg1xmfNZESBDgmJiam5ETqU/6bvgmQXD/3UfAvNwOvJlf4DIilxyAvW3lRTEsFf87b75Z353c2SqfGtxWApUzgcwM9cCiDLnSvdP5N8x3Ve2YVdjubgUD66nP35Eleo5gmhH3+hU0CLTisjkShB7d/cAL2EjWs4hCxhNIKKnJWztLK/3OqWLSjYxt1o4gqnxevelQ4yreaKmT7WX6hVcEWWFV+bEQapawbNMRdwvhGtNbAihAgAf4usOUjAkdNunZS3eviEsiXcOZx4D0bFY/7phUQ6OEqRYmGyqICiaYs8vKcRAJ1CUMTKCwkskP90AB9xQStmJ+xxXUVmhWaVYEqL3TG/X+N2EnKTUycGfpDJU6yK2jxv1dZz2fwyfdqX79dkip86IL1CfaPZMEUKEAtbP+SUNSF4fYW/OI09FhOicp32ZNyhKSLorE/18wHVoIa0LkzvF1IEs8qr72ILlWhb4AUKZbtmigD2ffyKn2QUmttsIHX4u45uwyJP44KTolZ6wcxRVYzSOJ2Kktl4qTUtarAKpeM6m9qtEm3jMj45wBkVLUjb3F33YL4DOKNVzAoq4sqx+OlNHJvG2cP9FmGaH9TdN0bMRCz5BtdmSOJ4uzyizCvH+MVBcN+iwnjhK5XlkHIuGTZQ5EujAKQv9wsCCR+wE/VQ+4Y5pwANJbAB0fBcngeG/q5oFTHvA9JKd1VPhmpoLr5jJFrPrTkKo8Hqrj6QOj9c662o2+NIry5KRcXWid1guI4bPa67Cn5p2Xr9CgnPMtcT0WoWqJVcbZe1lz80oYhL0KLTg33mwKlZY0/1cp9qHP9/kjz5xbdL4Ce8uI8TCzISPuN25y09rCQO88u9Pd43L/n17pjG0xfPfvJ41MRxa9hCTduId3ujXJsflcbnRDReqdSLYYX/D/D1+XeaOKyLICA9kAA5kFB51BO45UOqx7ljkAbHgp7XF5kcZtkGCTaFFDz0SAEpjPC5j7MDS2koSH0W9Wn3XmHyR3TEaEZjEIAnoIxdW19uKymIvvVaK5U68x/62E1Bsou1rq6CtH3GNmYYizlHeJytnMoMlW2p4HI1nbsbP/LdGSPchvXHY0r7A21y8PZ6UVrA3aQvnQb8S8oA8Q80wxzWcwT9uK8Cs80/VcUK94/Y/om+XmLGgO95Fn9TYEUZEpUCwzC3IPYzPzJX0cOuAGhlQaiM2dcz2jTx84iVaudDInXs8XjsmNUcVjNpz2NuV3rMmDtvCJSrO4DHs4ntpQSN75rn2cE1oVQ22FfT0HKl4fr4UQ2mTE/TI7vlmrBUvfiEuewQ+3cAEziXByo5VL82mrojuZtZIKUex9MulqRkbzAT35b/1Gh9SXfL+Ixj8k+gkhES3Th2UtJD3sKwYolTBPTKFTRBtGKlra80gEo6ghwCaf3WsfN80rwC8VS+JOj+RN7NnxB6dC3g3b7nqkxnFaZqQM+YlL356Vh1bSeinnNzi6cDzkPoKY/INkIEF5JSp89k1mwXZBSHJoPPW9fn8Pq47b9omAEThBw95/CGAj0k8VOEdJCNlJVpLGwcPduwPb5AMjz6NFZbUNd6QxdP37Y4LXJ+soE6e8xEluXTjrQ0BQoS6kms1BCGAPV4eDmARLU7gV/pGrSVYEMnylHmr/MZMTSZqqVdBf6FgQA8TWVArHJdVPK3LM/wOt+67d107AIAu03VUJ2AXzh2uLSvBZQYCQGy5CBeM85cWNg8yyiQHrQQTWsZEhHERD1j/cUmrmuIkCE51yUUzsjLCrQUCnmXrTYq7b4OCxjLan2bZGvajOI+UxmrrYrnzKREeNNGuHeID+Bf6eVlJfCT9/8NnaXnUzMLmTs0JPwXm9lAzErIo9BiCHTv+y4DxvA2iVrhNnwcTMVPZ7cCFQAEV39vWEnvvsM+JyxZnETMS0qTb8i7kJVS5HVRko93uWnkFwsfxMqWE/S/Cw77rk0Qvq6dXmx9rddJbdnCYZkNtVkC522OXwnVkyiwMmlmKrw+jNo3g1IEEuBSTuus3jV3UA/L6wdGES9DZnsajZG0rGU9EqrL5uEOrP1Siwj1HVv2C1TECHcw4cjfTv7pkN9s4hWqYE0TDjxOYQlShQX2/HKW2Az0jv8qHQ2bzaOmYjBPasHURFKKpWAeR3kixXdXgCzwts4UDG2UPXP5HMMCDQD7rFWrq2vp5HFUVP0LPTU476ED59WzL2NI/DPEVyVMZIrUyuu/efMlOzxKro+DE1Ke2MvBjleySd7XFOyA28eRQqfCB0Y7XiNpkiVt47hhx/cQU5+qPUFFREJyaangYgnKUSK1BG4+DnG56giEfwDmgbZSid2iryRLUm4L34zsEaG7WkVSlTN+bT8kIJFhn8sxuwY9ocbC3SGq0ZI3HNRNhyMpvs3HvEnAUA/fcu1PxiAk3mdTKDFYhJcMbNg/z9AYYO137RC1J9F1TXkXFvXtjx28Napxl8VsWoq6AcMWv/bSWQbLMolLUQ0hD9f0xeoCSLOv5lZva8W5wr/ojBugERruKVVjFCSEwvSKKegM9ymNOVVptc2+QYu0Zn1dZOzR/HyL7hTHXVj/u0kFVbY8OKhUv/aLSdXWwaCBt77GKCW9BmT43e/tZ1Z2XPkxS8zP+5zuC09TOYiIHGMf8WXuZg6NfZuzgdTcqPRqqqArlNhGSiYlz805LclJ7s4Ocr4NbTGYuQqEKO2SGf0f0FlOdmf/dU/1O/g9d9CUl1eNeLdgzWwTV+h6d7Iy6oO74e0vxWHrNEUaEtNsZF1mRmfhmyog3dfq9hewDh8WJsFuyUVFGNSnFhPgFax8bT+RRE8V6DTTGXEbBtAJGGt6CarYvJexyiRk8Q9Gz+gAh6q8HDOGWKrwzadEt+3GL+dj+0cD2iHAP6/0cExtmLLwba76lzL92xuxBXtEbA4LvoRvOvFyN/nL6m7+2FJOtD0P6Hd4nPZfRWFVLBg2pezl2VJgwxrfugcIA23FlFs+yQdE2RKpHjdV0Yf8WiOaISIxKJIKwiKfhgV7al/C0h0EsRKcFJ7JNBItjFa7ki61AzB9uK1pHKkFUewK18wS4Va+CeDC8/lK7RMLqvARb0VBc6/CbWY9Pr84/BFlS1+p4hIk4PYjnGeHpb01CnwyV7RbqHswBydFrjwOx79yAXCvyOG9vZUmhPvqb0aS9vXUy/ibcJHmo8ANCjQafEhA9qThBCI5QHkG+Juz2reaLjACNKHlgoOcbS3CsLMgzyJQX2qFU0/BGMmPhZ0YyvrwBE9kmu5Dq/+GaOHSk/0YrVKcmjjNhpSMuqDUT/EeZhkbTZ2XrEitpSeN+VW31UHDur5IRWoemhJnI3ZwX1TIA7MS4pYXIqonXHpdRcyvmu0Wslc36LEpg7BmlgFzS5gMz/RB3FP3Fzn2B0tazAQkDmlCHO71ESYnpVau6I68Zr4P0sDvdia2g/I38/fi7xi2HqJ4nhHOV/0PEtAFkAqgrV0NZf1QqqQm+MszH338VqE2GDI1wK6f5VokpgLIgFv5Rl+uKSv0lBC7q34ICaawJTch+ydKcmKTbUsjPgMAzw2czdCtB/fHAIRQP96Kmt+AYr8RdOs2R7lozYdpnRgS384CRJZCelaZCXuAoaEYiI7BRcaZU6AyspuoZRt53aizkPdGOH/BejGCptgy6VW4rCfxN0HkuIpmpDI853VMATG6pSPlHBUI71Gok8K4fb0MRZI5RJVO8vCqVrG833OzKOuyA1tzmiJEGzNemPX7MGezhxeR2y2EPmulN8Pmv/E28FGyIhSQEGqVJBR/kAEpOtaHFDMif0r7pri0KIKIPZqH/ZFcaSRwdyf7qEzPPjn1bdijb4Q6ICvb+FY3ZaTuRrepMucn3u3oo+p/rqh34jPoIfze/Kq4p/Xz0JPrwS8SYy5BvxgEB4SIueScfEdnkTLo+vWKOz77GZe4Cg4RLYBZ7JUQ34aHKAFB5Dkte5vEwUFrXQrCthx2w8CnLwOf3iiCd5o2hXEfNqiwvAkvWu7D8H+dFTVfefWX6XwP2+vrrKnK8uoNVv1boG0Cys2ZYuns2yjb0arybPqPMA+f3hVD2KtYrRt27AThRPlXNqxc7GPcJ3l13Wnb/S95bUL78uCk7+DkxmYWI8+bQ/NthQl1uLXwvHK72Ii0gTiYgi6YCC1pcOccDsmH0fXNcOZ6+CveRH2OkfPHzzLG7uM22INbz/XPaByC7fJ6B5DPOzUrYKO369+8qL3PdkgQFWTFqEgFdWk46VIZCmxO4CU33FaFvMaAoWf6qTKBCYH54coaRVdnJsO9rI3xl/TdFlA8jGFHvgxzYKPJ1ZDldSA6Sg3ucOV3tesR8EInLCHui3/f4QUQnbORoTrzWvv5Hhb+hl3Z7M+c9thxXWhzO/Bzc8Ad+UqVSVXDoVjDKj71ufDyswCkxmvFsBsc9LY+9l/YOB+V6iKnU5lLyjTBCzIwqlQzpe53JQ13H9BYBFeQjh8B/iRLl1v1gGCqdjMZ8SJpmpP4BAeta5byGf+N8BBvZhW1k/R/4YfBxmr0VBNreIJMTe6j/awwTvqmfPwMpQCbLnziq3sqHB3/TJSnfko9pTan915jgaSh0oEVSq2N9Bhq9GyVmBVWqZGNMgpgEIdn7bQq9WA+bkogNvFL1fwBwmFtBIsFBexGL/AFAFegPAXb+uf7aYRYjKSLch614OM/6+8kDGhAd3u+8ROYqWkhiffaCS75E/U02NGDiQy484Hn88f+xGTYWBLykFFMdWChPDeI08S+Rialyh/2wy6J8VIkbHvyeCyknKMhLNqrdcLTt0C/Bi8Ti2nLIbkWj6k/CiqnLQj9czZU6tn1H2S+5Gsl6XZQ7AV/eSD3cS7+rxbW8NNbLMtfp/f0wmVFHljziwWNNiIHqLHhB4VZzzeuGj6GY44bbgPbjeuozzA7sd521IdE7LxijkfRqCRSZSML9D/R9axukgRrHRyhFCGrvNGl1qqEYnTVRVt/MN+Fqy9nZJeN6s8uf0uESFwl6x8a98z8BPwMqmYRCm2E6s+RrfGeX8Cyj+7IJJ/mxOsxCPpV9b8E1mlLkW0PmNVcBW2qJ4JwVRoy5rBbrf0fuifC8FmwdP50xibsMCompaWPzRYETNgOBVjUvcQA72VZQ1IAMLX0uG6JFaFPj/rNroSyOz24V24sERl8MbEveciFzIgrH2WdSV4U4KJ+hOd0iQy8OCag9HgX2YUiUKS8Kjvzg57KqzZ4+c/f0ruYjpANpu2EF+AFLi+D29A+eELYEDVrlLZ0CaXIys0V8t9nqKaocifHTXTz36CBezQAGgxpoF8zAMyhUboLS6fQLCM9gHamXsWPtWVa7Z/21whx8RGUlBK6JbaiV/SqHpIHTuxuor8X5Uz0zwaigX5BBodxEDjtXm8JGOJ8QvqVjfroSx97drOBiQmxMCoXAKIz/g9PUUflt+iumbn7M3duE0/5w0mtde2sAHAusIRMoZbKpT1y25YR5XhmN7lOBWJQER+7iyDf8kbLSIRhHmQq2VsRCcrVfj/wwdBLxsfkyniBEyaPfsHd63Wofdc1GZLgAJ/1o3/S/IOf5+5JEk3DR15FcsM/N/2SFWpo/2P2szE0FmuLpzAEoCoYFPJz5MF4f5cbfOHrBOjTnu2zSSH5mepB5pHJVNY7cVvydk7a9NeDjsqzt95uGW5BoCy/M8NdeC4iCb6677DTm2gniFZFhfjt3SIarefjbci0NDc6xf/SLgBhYa+reekU3F8Zh/7zPsVSMF1jVekcV9DAWmIhmAw2svBlN3atM6tSwblMKm2tMP5RTMcO4DkvZjmnTaVoRsDQaiaU5EpFGoU2y2nERlSCPJV+5oc4hX1oV0sgbufs+/0L1QaDT1Kcb2i4P6iTgsvLWGTTiFF7CRc1qdetHDMgcrLdZ0t9WBLsgl+Hf3jsgErpXB0CTwr0b9bqyHHItoMQNyrjV9KNOTi2C2fUH7QGTC0XkD7sxoNGmp/Mpu5oIe0qvYOlhAk7fQxwzeLPkN7J89Hr1GfyV5qyYbdfFyOl3ziynRpuMEtL+lS90nq2GQqcX/86WJFK4Hzn6BTvynakObv9uVIaaAA5bylHeZGNZnXED8nkiCsHhGWEcs1dhio5TQSYc0RWHavXri24gPKiNQqKWeZjXcCEGiX7CHq6A+j0GdmhwWrM2ozMndIfdTVkLnLp07ucUxPud0SDB/v0uYxGUw4yt6d9YWIQ2Wcke6elp2gQoLzzrizzGgEU/LemIjpPhsDhM9gl8FsmvMDLCKM/MG1w7OL5pIAuiwEqeYDHVvBlHL2vOq543Q+hgBd+4/13jfhXDRyGbm0HBJm30GWSK3+su7qiMrZ979971Gn+MWC7GZWe7URml7gUwy4UqnooF7jZl5I7rzwY4xKpqLAWjGPI+oziV4I6XDkqCU0MqryYCtdmyZq+8YJuJv+qmAYSXASKmL9G0hxgeIsohw6tRT309lfn/bEDgJE0ZjP2TqO+xirktkQxaN+8Bemuc3fpWr9Dyyc6W1LlWkGhDeErXhDZk6ocglBKRQXkTWZbDOpKV6PhFKEz0/E0ICKjK6Erd9LXkX2cDcsIhiM1H1whm7UajKWiSj5YBD0F2naRo8WmugYs+1EK+cPp5nCxHpKYBRSBhlp4yPNl16P3w0i5qe/zD/bGBArbxDgsjIu0RP9iwn12bu5irGM491K9ntaLkRpz2rpB2/QGiD1M6ZolwHroL67v/3ZVrdOVu6qHdLEe+i3yYbwOD9ZSpCvp1G1B520XMDDuR2rw/fQl8rto5cXaqCpjb17C2xb6oVaUwx5vG1QHhXwvgkIeNzABhwBKpUWPv0LJhUnwpN0fye50iq6ZBuseNn4U0NzNrG1N/7lLAXLdZcs/zO9EHkjPeMv4AARd9IHE1XS3eS97s3AwThnOSMzWftX6bkU5jnDxklPZJlJK8Y5W3WfLi4YESAi2iRIcLfhiZGG4dhNJnghYHjlNQlcbcTqwZDOHhyKU8Iu/16JE/YsIOBRq5WRA/7hFMGxqFsuwlrf029ks/PL1re1eEcO7d//L6YmK+UawtdYFwse7Qw6nK5yBTyBn0itlW5cvr28JBKye9qw0nugDDLwzMBSHqdlvMcN7aYpSKXuxUl01bKZPa1Hr4SebBHhIG3GcVrDg8UQ1+ySToe6cLZgdLMl1NqRL/MADia3hVX0x5nhcjUG0UsisKrpSvhQpmjYjar7yPGvRHIpuqLg4lGk74xuJEhfkiw3tKBJqQ4vX/B/W+jXWKjtMBD7rmPCDK5daACwKVhHtP2A1DbOwW8rLz6fTGat8O7Heah+uTuS+r6ef1V3WQ9SDxwO7m76U8sGjNdcwC9Wkg/Ww/hw/qFqtMscLg0P9lZjhEmCtTHlwgXSNHIoesbF/aKG3faBztlQBw5EtQPaOUfWeFpfEr9kPtCOcGfx++P8Eb33aRymf25LkvG7JIUdEotAD1ebP6/FiaikgVaOURFapO/J/Hj1PiIBblAZq6nbCfgREz5o0dndkQI1+aoxhVyDCpuSdutnLUIQDtYsEiWtqEwNROV1PZHthShS3JayZ+6P8/kHvnzFpt8MuqrGm/8GWrPUYsnntxPmm52XaNRFHV/nM7vzxOSxHJrikPvtdRdQ1DL3p14tuvTEki9ozkp94TKfZb3FzrZCESbsH3ldgAP5TA7PA25b7TUTsxdy3p8EWZQUoplI8xSvCKXM6uRmj/ckTqIDV5K/GI4Vf9n7i6Rqv02cDpo3hA4pEsv2roGfQI5EfFk/pHIWwpmE7Gsn6SVVWY89T4Qp1XD4mjG0NEpF0QQ7HD2VjimPwM+FSJ67DDkpzNv9iwLldqcbZF3ZmtjGqbb/3d3xCutDHlvecDXIncog4aeDS63j8QnihsJYdcReiyYbn7MGS9ELanwdzqg0m+/GAHRg0LEQLw3zqRNlajueRDqmR6TZ/PFqXl/3uQ0MU+g+F/IZTRM/REMPYGoGHFWaJ65SVBC7itA2/jom0FDRfcj/sBsjZtntEKX46AKlOWQAQTAEODkUU1PQtKNMnQYjWsQStc/KJatzV6/JtM3YtoLHNmD7Fk2exLH7w64LnafBmuRVDVd3qAA7cWDmg74sNXNnb7WPzG1oaWp2HTJtFhxIjChbcjevBw3dAYgfdL+WGirbHh8qIA3cVOU5Imvcw0+BL3Taa70dpAT4z7RizwBuLCisJcyHlutHsn8+ErJsxTdOdNWhXWSYVtdliOfyyOFuwcJuwSjBo0YXQGBf71mhTwIfpwoWdAtglJLXjotYB+WsDy4S6akaRJ2LtfixrHLO3yVgBW7blV50EceXWMEhbOYMjlkuK0shJA45JGZl1vekzKAoUunz3PauG9x34NXv/wLfbAvOoG2KJxdyOfIYSninTiqgGeHOeBPE/bH1lDNJZLuaotX3YWUMWr98UQRE61h+u3TB441g9NlM44Nst4IUssVB7nPD/eTajwVzY7ZnOQdoiT1a5z20qwShNSCDKjywowMePtSi2uRSzIVwxGyzyaKdQ/kN4mH4BG06oqzBYDdCP15/IN+y1V5TfOvOSbyzKyHsQxsHKiZACvr6fVVWSSQ4GscKUsnNVVmt78bMaP2N6kdUbrICo7TrH6cHG/3Hcuy7gN9CgNWZRfzaO3n8UrBt/bsqIwjNxDuxVG3kWl6i/pbWGzZHKA3upHvU3q2eL2kEbXMyZ8QqUmSsG8UUxqjnyN+mmxjTt95jhrLJarTsE4bgWKd5FF3NYx6cxbYjVK2KHuJeCnW4bsFFBi0bOP7vYYAht+wHCqpApV04Wx6GFpKjU3d+QeVOLfVRQjYQ/juMWTrB4RicxqZZFbfnl9anCDfIKwxpJqtL31wSBwloLZg954G57QyDL2OpCELU9PU0azePDEmSA8FximO76ubdboAGffQC28VnYvwepW0LvufWhvU9KpLvVdchDKJeGytiJXT3Z9ilzg1lRKE3D4/SNlhn8i47AFlaZ+sJhscLnCeN6sijguwVdC95mDSDWMR7OviTAzyH0yb85fC3T9h5NnPBXH0TwORCxLqOaW6WHk6jWAwZEd5jIr4SeTL7QmnvKln3NN8ptIMBSbP33vE7T3nuNQGjquBEP2SMWHCaoeeS9I/t8cKkMXrBvAWbkES9ZAhFTHHvQgdwwLSwVv1L/didEOvps7sgMOeMsMD2U04E73mNJLu3NFE+K/OQLHpU0XbthtmFxUT2l0K6vXRNWihKCo/tNVuZHkk1enofwzzZNXCgcH2bczkj0TCFkRFt2LvYmm/3Ck3eSoS+L5UX4nw28H51s2gHL3baHNO3pEP96v15mnQQu0ORKDKT8GN68US2DELjqHddrRXc/ydLjYWQq5HDbN7Z0MTBDkQmYf2k8W/tAXSJm6rM3hvabIPAc7gbhxTMoCi3CfTmrEsaVvhNqtYQF0Z8Pfsrd7D7w39iIO2TrSZciaNUf1G2E6hdopfzgmSxuY6Gln/ovz+/MiMxTiu+4J2Vk0xY/jT6xtmuBrXhUwMWJl2uLG4y1314W1ZyAis0ssmMV4sjv6mPc1MA6Wd45VfcbVA+Gk44YELZG3zeWI5a1ju9Bh5dFFlituDYJjeK5C4c4Rad6AmRDItgw3dvXuZJM80slvnfT7U40OwKbDVMlLs2uchCaDsKfPkbMiGT1FG0NVgjlLEvOEd+weAndypqxWyFCn298LPLgXKUKwrS14Nrn8enBr1PgCYlQ3zPmsQE32K7oJjQzJmP4yrAQM0oEqF/1atYHwoapoMKUDf6nvkVO2Z4Zhw7HF5/cFaB28o371wCJKmB3nC5dEwqHcCHG0qvrk6dzA43OMWhXi6DFa+/WMBvmeboPZ5BFEsai1fbM2HWtd2EdTWZaCbDVNE/OFDxiCMmNOvSnCUcPvR/HtEoQmeWiM1Y7l353Rf+Xu/PBd9Bnux8wew/AZuSnKD0mJVtCfr1yeRjDmwc/zGggYUzPR0yGHwduIrziUBT4AV7erCSiM5O3DpSnRSTSk2ZBVKeRIS4ko8ShOJB82hIWry+bp9JTj242a9KOyb9RO+eokjrG8YyqjzUHRIgjMnfgTCYFIFgNses+svpt8bsPrepSQs2IByHQwPh5NtJxyjXEmOeUkgnBX5E1hJIiLyIdA6Uta8w7Dcsy4UsGhYJ2gf0QLiAgTxB6J4a9c7GJl8aix0xvIz1vUa/ERhZIW4kUd2uJrVvLnkZbpHAf6q+U1rthuJiBo75TzWWr0HSTvL75DIIKhJPur5b+ntW5w3x77cnE3SfWdJXGLPItY95FhqP7UH0v3JAytrpHHbFHQ5OK1VngngHpdgccq1GkfcSL22vGjfV0R81LHMbo8i/ULy9+fGuMJMxMyCLaqgqhSje3pyokxjmkPRklqBRCJVq5ibYPm7funrFAieGcwY96Gzvz3/BdFSvdas1cV0rnXCSB2Lfk7t8q8iDBUK4rQ+gB064Jp44yjVaq1dWuhdzwY4BIU7qMntZ4BefbMRhpMxXgRNFteHZvrbw/WLsOkyM54tuRxgPVXvvBcuUVc6O48kXqc+puiD/gMlM8FTKZCQtIUvJYPEtd1JVs2ffywNxCrBkRL29zABDmt0cfzJrlhgW4l07eL0yyleb1JLAL9ATGaZhT73Vuim3f2aqqxu/5nESIBWcfX1wNAFZeIrrkk+8+sUP9hczBhYITMFLy/Ow+ipemNuSDuoqEUFjVsVqDI5q6LRNcQBxeFVe3vBFltXrCqHiQf4le1ED2l2nOnxkZyRaxSjkxcp5H6sFJd4PDvqpe/3g3eDwwL6r21vhvYQi6/Hxj99xEQy7Om3x12eMF3dnshKALwMLtGaH+kOtVuYqW3uDaBkoX/6NqiuhLvRdjzsuDPRz0UMD5hWbiPlA/N4KrhFLJFg4ZgPSmFnmcvpJ7/gjO1OuuWsAGsIYpOMImvV8gYYKYnq8GevVBjMZ1TgJ+sVFy9GZG+W7UStjTmIc8vOdjOV98qL+VrRT5dFbgSvT1vtYH3FDZ+mUfNYa50YiUHABP2uo8LYuKLq2XloCMGNs6dkaxw+0hK2svCgRCLlIINaH0sYeLvPHD8Y+8EJc2ERqFhJqXxeyEtCA8nNjvhOONXL/esnAYU522TLdGDmEoG2bXvRenRQLAFdzLWqUDrI26lkHW5Td4+Deq5PR4bw7Ba1wkiDzMGjZdTG5IY09VvW1kJ27pbh2Shwtv22neUuf/beCLK3GB3MeUNQEqIw081H3KBbF/ek3EBYKYkYnJuYOp5pVyFJYi6K/Z+NB03Iwgaec1f5HMXPnrKjIvc3AiVitRu0oxXiZbocT+x26qVHP1SHK9/OlX2goU/IA5mqsK55q88sKMkxWDPDVt7U/QnvbunqodL3jcTd1ud0KknunPfWrNvhSY89Qxp1v1/KEvLdDGn2/IH3ANxMK8U+9sU6PBHgUKOH6EofXXOB95DYFLuNbZK83AAfk5c9AbPglcUJHKXktgddplSTJaLpbRJUs3Gfqw2q24DFNliERo1Jm8ke33T09uTBzRXW+zs3xIIBDthjB01CkVJUem+aQB5iIRijJ8uutYJXM3oOt3SH2tT52C9uGJHnIjkydxuqE6obxnrgxA9FoIhWq/3HdVVYi1bGbWvuqqjdegRgGz7InVAaCMLQUlgg1uSJ/n9rW7L4SrO/v5jpqK5oTBQvzwEljaiEjX7jMbP1lL5tP2Vbqh3C5gJ2B5ymR69osGY4xZjmKw/ZyvOrELAiI1j7mFmNbHBcApt+Uf8V6an6qqEj9eFu3HGeYPa18S8uxenr/LwLItfsr846qNTa4HaVufhNxWNOjaINXyF9vcYPRy635kNduP2+DI8DXqHJ2EfjdKxQsISR8msG/xoCjjsvJTt4/ucmetTDRWFVkej0+YCCkCL1ncnIL8SARWyKEvNAmsrglzA0svFhbNz6dFu70UdmfuXaq406cb9p2jnv7Tbr7Q7wuyaNKHaFLhpoi2IPqvdbvNTUHA2+F/qqfF/ScuIMCQ0HE4HyD/27xgpE1Z/zsBLE+BgixpPYRLtcaGGwhsl2QvaZj3hU54pWsEqqudVGDc4il+iMMmgO63w1ShXoxOZgsVyuVh+2/KLTLHaHxoub6vsHtZf7bJ2YDDkSvJlwP6k9ghZYZMPZ1VR6VBFGaurybjMtuoWBxvian9gyVbimDXrxZI7xW7odzhwlJp+Bc1qNG1UcHpeLNm1svK3u44Zzm1n1/zh4zdE7vIqpm1/ifLWKAGV6/CSwVLVevZ6m3wp8QLBJocYwMQLXDglSGZPvlcgw5fqNI9B+gbV3+lGyLzmf0RDvDabtg+bLH4IcJymE6kM62TOYd+Q+C7CARZvmxuMluyo1hmfmTa68MAjxlFKT6cNR8UNYsHxbGHQEDfGetOKs0WE6Dl7gBzDEDoACqSDT5uAbP+uI/fEyU67l5NRRagCYMxFh4ihTgyc87opaayYtJ1uNC5QttcUbWCrGoQfRRxFOWPgQAtWVDHo7bwcX+EhCuFo/GIwawHFYvmcdLG6ispM0bxiglWD9hcrbk3pMEo2cTzWmlNYPmOmR7UoLbym3m+haHQ27szvBWFyDy6hSEfB9RB/ybt4YHwLN7LA/U/n7M2+NTTDGukfNR1hNZ4wYwInNYTXMHnCbe54d3VouLOy62tjMNDpEWukCWPca1pFRmdZV6lcGT24BKjs95BPP/QtZJxv4R4NjBnML39wNWuq9oMr3rLR1owL7ysIxvovVmU7fVMvCrkjpTZ/v8u9rHmUa1QZO0qVhIwZLVXgk/NNK0j6qSPuZnrgQk7zui5kA1irFk7fwvXqanKVQ5KwLnRHDm9wcajUDot3HkJ1j4YQbioAsaFuyQeY/zpE8q0/3VTdFeMRuZVs7Mm0C5OJJa5ShiSFDqdTCgICTAp5d6mZw4vbt7910npJi4Fjm0eY6D9lTrJODPjfX+KxNdxHclxPhRZZ+3LbNioQjbc9iOajtPgAuysdIQfe+hNOLsAfuhn5kd2O7QNBDp1lVVgCc0cEggAQ86/VkKzehAFw/nh25cL+vuXfV2NTcIoMO/2eEIv+MhWE6jAKUi2FelAzc0KtA63LgKlngdNj+9hlcwRjcYz4xv9FYJE9j2/gzpjiab+LpVqQu5pMoLQ6b3HFq5RPJ6UOWQSq7gOBUjZ5o6urit2occ50SRX9tQOLj4E3YWnpnjs5sMLqpD+y9pVxt7PsNt9j4+ZmVdzl99vaqCy+t5QCSgjUIVNjWmeQubLhASUz4BqwS5Bfati/jDxnEj/EXVas4VuCOonIlMUpSoaCR2LsrfcxlTZwaCHa9eA7O7/srXeziih6v3yIkVCo7C4qeUwYcKcscqpIzaHDRSgmA5rwcm7zI5qQcN5ICDFDanxNHSPyW0AQj9cZvXoa7Y5atuf0Hav87mRSR6z1s7IAaNpLyaab9a89iV8eL8pZS9jQ/aqMr3opeTaUg85P5d4JlTN4hcoYIcU8nZZf/upuflKHHbHUxQk00zCcEKw3sue+CEQIu3gHkF4I0ZHgz8ONP2IJZCrrwD8WZ3OpyqM07yZTl1o/REJySwvd1MToy+TigB0FaAXYrJQ/oYHvvJBVyK9sAdcBtAsLErLoyw9O3OJ81cW+WvU6Zbms2TImsWwGFTvk0zzuZYEGNSm0waTnbHcTYS+94jW31xttPTE6BQonvCE03LiBHLcTfD7U8LMcA8LGYd1dDTdDiyHwe2xEO6PNOFTyqDzAeOmw5F+M+5RuASbULEQJewxXrZd488ZDH7oMnrutLvPG9Y7DJT4CnGib2gC7/Hdo18YE8UK1Zowt0sWkNUhj5Sf8q9/bCQrGdbiw0B/yDhqYs/S+ag6BfEgYcfQ7/THN27hUHH6YuzpoEGZCLaXPei3GlxZQb2u7Yz+awPp6kpskPEyoa75kvjkWYQI/rUGWspECg2IAecNL2YERTond5K3ABSsOs4MZI/jY6EtU0qZYU9IUeDGYukvZ3bESRYal6m9/erY+AETU35PEXZG8HTgePd6NoxoDPbT14gBrrztsct7GI6Mq1VG/zoXG5Vrx5qa1XDuvCqoVCNuCjty3nmaaxZrLKNfVnkreKoCGmr/HDgXKsxkwhbhlRXQGdO/E4smyCLNfpjIpHD1ut8bz/VeyoASKnQ66QLUCrCJW+7PIUTVxCI+kbMX/ZxPH/X6HSCy0qmmsjJbLQqt3TnMGZdtO1vWM7HFmKQaXLNJmj4kkznTwjRY3wT/wCZP5qhJfSby9psQ+yQJx4LUdK3I5Gg3XuIR3fsubE9z7XShM/UI1fmDVKj3hK6w78vLMs22teHHOvlS6gwNClBDhUbMhavbTbxnyeb1JzHExJBTtenS7T31LtRJxBfdDFv0Zq1nR8KvxLKOvWsWLMP5vYL6aZnK7EBhgVAFs2Sen8kpkJEt8JLsIz/02kHF9qnhY3J+9dU/IbVBusbZKNgsnWfsn1UE8ZbuEncowbmgim98QkyEraDuTYXjpTlYYki6mYONXLxg2olYHPUpMleHveo4en5u+EjYF9yeJlIOWJDqxaa00ix2ixAvLZ3N35HctmLt9gVs1hII0nH+UQZ+n0k3xZOE9YblsjBI+Hx5S1Z88KY9v3z1E4ZBUMQTNMlBdcJlZM/Mh9WF97s3s9TbN8xMHURSMRN/P6gKOnCeDgux8Jfx122t+kP+hAucy9cxAUeGghrwGxmyo3cYqz3we0HrJw0LLlhjx4RwSnn7hP7lu1ur4lcY9ugR/yS1vz13+etyRggxjIJPQHXsLMj16O4xrzH/EtL3AETFlxoTGqxlYNP+Spl7fRLihAe8u0BgvgQ7xgtShL29T7B0AqXwEq0jFqLQr1LVpfLfBvEgjP1SuaUdkpqGl12Mk4KZUcOIuPJYy4Ybg89lTWJ/V1GONy8DBbWGIHE+5TO2WQW+VrYw65gZeRv3HS1K9oiM27piAGuPVVfgKhKM3D6TgFBSfPhNRQ7nEOqTrFStClTQmEECUvBh72YE3vr3V5ZZzyyZ9XhZXkyVW1gh/NOwLcevFvqe67mapeCMI7WlGsOvV+RRaEkIuPQV6LjrfxxoSYQpKKqCiyG2mEoMxTy8zdn3J7oi28GvBwB+dnEdM1A/xhVBlyrDzmApxgZOvPj5biYIlMKO9fLWSJ/DB2muHUfSEoths5Uzb8J9BLUmOs9Jo9mkL2swzSEGeSL2bzFj8NWRc2mr86nNGKYUUhPl+8iQGT/TlUIx4fHKMAw9+WasIvpBfI3N3FmCZpnhZpyQQylljOCiL/RMOW1LSwAjWhDiZygT1WYJVnzUWTkS07Gwad5WShZyyS5S4uW5XljJrnwYs2XvloU3xZsO2dDz8ngjhCPR859QmAGB++4XPZ1QLmOpOBoyxmPlQ0qV2ydQR10LR8cqFralRqNUDnTGHspPVa5v4aBuWvHw9uDIWG4V3sYcO+/k8aHx3SeGtnKqbCk+22NI5RXSzl184k8pDRCf8DNrEVJUiAO0EmeaRdroY9IdB30OU0zNGolutQTs9wt3c4r2GDsXJnNvk4GWn4mSRaSSu7DcA9OpSninOH2x/o1uLXkc3u4Jc8SLE/m4g7zausxacFOA1Au/O1vzh9lQqzksMiptg2t1hHApP48McGI4WYmtlO1i5Qp4PhIPIJ17lp3OcSG5ihF9HYELJiBpgFUOMVL+En7xHrpNf3wEbApmI9T0aihoue6wPgMlWWoI3WXg7MoA4dR2ZJAxNQpyxDbEIUAQlD4NjEx+sk/dVVTwutbNyIgqb9FglEZmA06Q95aWXk/I4QzEEqBHZadcF5O+B8ftDtvFvcRjAMw+uZTyls1Tc4S4PgxAK/1jS+Ndlx/njdNT9xPlLhJZwKFqmgIbC1jfz3keuWJ0LJaHjQcV7Lx75AwENSwPnSbZ2e5nv4lONSssbWp2spoZLknNDelPruq/Ph9RjNQ0BYmoIjFXtBTW1n2Ps25a+rYNqZ2gBpkw+CC2ujAi2U9fy9S+QEr95o3Okb4upsUKwAe0GpwRlYJme2B0mxw4kh8hL3p2on7hXNyHT2FaOYWfGA1EfpatfGNAPNcdN7W4FkNcC8xY7J5QA52HLyYZdAbcqzZAtwAl9QyCg2UiJPx8MqMYzntki9O+SjSSq1n2Bd2Bs9pPvct8xm0MWOnb9F27OSSbssuJcdHGT/Hh6Tc71FT3Urdvyx5YP+T3ZYiqZZeoWOw1oxWCJiba7tT2wW1FE1JCr12M8NMisNX7GAZnR/ljJfbP39Cp8qyqDwl6vTXFSsOBHD5oDW+m/qrC9TbQP1sy2ZsBtgdGQdwHow/K6I5d3d0G2p1hyFdlDNKYckjyf70DilfIl5Zyb43Vh2T70FG6IZOQLv5xezK5fPMLdiWsvYfDsqn3r1FRhoaQjfRMFOiAgkcQrVNvkHfF35nW2I3nxkCGXsMoAOAFlH1C7HmCvDotseK2VnUWa9gKzbZ9LLg4vPhN4YNN6Rkyx4pfGodBkattVuJbJQ6zN4YNXGH+j0+/+2WH3KqUzkv6eT8lJIJWCi5UEjvPKbfYu16fT8XMxB7beuWoKUqdOCPjQmh2GnJTKWL5S/b5U4KTmhKOAOAI2hPy7jXMSL0kcjHyFIDhKiouQOW2n0CffvOBO6vmVpT1iKK3z7a5t50Fb8+TqsNi91amKImzpLgUVKMRh2/PmCuiBxv1b6W2/+AksARCILpM9owFATLHUcj5Tuh2DPySlXQWCVDcmZZdbM4RejMyCxTrJ/0x9ouGwJlK7y5lS8Fg0GcOii+rKqA5VDe5Ii9dyFPpPb5bXg13TrbdS5iW7v8Y400sFW6Qq9g4ZupAFngoRWf7C5xwh7dopZz5zPj0S3lHwzpn+JCsGNhfs5e6NvYDjwEO2U60jlzI5ayqR/lH7S2AeMFnMIToqW+Sv5LK+pJ9PunoRHRzIy+36VjzsLVIluid8jsPu64mD2rFsuuJj35CC9ogsiHikj990O5GpO+oEgrkCXem6BVE+erFqf4coJ0pg9kJTVK9D3MxORgJYd0Me1BVeWxWWXBpDTIimdTtIOOCJnAT0KbS/SMYDjMmHGEkcMz95z1fge1ph/fNz64gOPrazAujuqxJnbklvU+VmaqlMGf12SEMveqncUcsFpcwJDUUATivMpO19bMY6XcjjaEJt9+lJ/8qYDWRDgTtK3R4r3bCYfI+hIEddnhQiHe1frqj2I+QNJjfum39XETEi0j4RWtPRrZ7BDgGhFump/3aVMagPCiNsoIDmX1HQ1ozWXmhbE0FvdNY9ZgvFA2HNxRTT1bVgWL1UP1xVLufZu2nxhjRVF4NxC4xOPB0xd5MzIM8AQGJoQjHeq2L8QK58P6Dbqe26KV9iVkMBcaJQ1nFETBA7Ry7bIwnVgxUfCkWZ1bFRf9aid11caTCR1+HwSJ6/1Ax5mQ2SuEL6fLZXBSRomh8/XLyZNXcOmROHWNIjVeioyHYIjeks+w874/kpLp8pfwu9jPgfbVZc35ZGEVrfDBLVHGOkfhBUHaIaxZUfUOpMivMZJnglcPKYGfClFrwYiVy76yMUkKEvla2iEre9lSUYZN/StcO7sPZJE1GhtEdXac0W7PvSyoeCVxTXFpFfWGqKqJaedwglYQw7MlrIqChMdhX9Ro+4y6JUaVdQLoNXET0spQ3mGAV1Ji19myvjuQ+IOutlPbDpGE+zUlK69aZHDMS7Zp6HIGi3fKKIhGBSxvzOeOR8X5bDB7M5Z5dNAuzLh6OSLLP4IyAboRGIXZOjszZ677mcYqNxstaLOKFumNpqdRZJynRu82bPmodqDs2KnUC0RR8HhjrYv1Zk40H6N7M3QkdH1JtbzZP2kVMUPsNChyemGQ3HFYO+3j9l3gyddFW21wrmbyBG4yz0wyWB+QuX49lh/PxbvZxlTr/lXJx63+CtpcdIde4EmV16P52C0MDSjYmAwMcG4gerXhosmUkkq94+ZRAdVhaFRTzOEeAFRiu2u3JTl+k6Dzbz1zxxVjrQwDKr7bNHdo5TYL2xhLnRo0dE1QeNEcITSS4Ae/FphifUHd7zAcXcZpE3GUXnm79h8Q96ji7XZEy1m9O9//0CuQijG8DF2WezqrTMqrriX/YZ6+/+YPN1eDNNNK2MkrorpwqLzwS/ENbbcgsbHQepRXdgczCJOCkFvozIX9Crdt3FmLIphcfF4bkAnd1/haSxYCQBA6YQw367T0TLTAxOn7+1YOBzm9/qRpRoec8rCcs/YpVsLLu8PGugi3fdgFOnL3+mchqrQI9HAvNZ94C3xD8tmW1Rd4hIrsjRSp/RvoPtEUuRCmjaI96aDinF7D6NjOxW4cPemsrcLX1wFvu2d7snHxwkPum7zuINHxq/kA/esBJ5kFtr4CPlKIg9yKl5fDELjr8Go+2K/i+CTIX85dErhODs14j3zJp9hN0VR1rt95HUKCYjg+BhOzXIOIB6W08/NvLjjB1NXwl+SNeagio4kLleR0PdPzMUXaVpZLm6DDT0wyLU/d+F7+Dno115UCS84L1zcYdfycCLuGbtt/vOWAUBSE4VBfFdey1H0I0tzDzBp6Vsbk82FvhaycYL+cPoAGQZ8qJkmOloCwTx5n595txDqn3HXfRHCrjiw+FPvxAgTvJ/XEa3mQtmoEcgEMwTug5Lg4Iv0lVjZwO3rcSkTZP+Jjul629avooqtosx6HI5pX4LW+7JvaikxmDpZip2TJohhz9et2PPLHIG6+S4hUoEOzVfdypGkZV2WFGaSwgxqmjbXhL2TgT9NZTGEVjLUE3lO1J9l+DR5+czu8a4wdK6/52lQemr+Pkg/ThJlWsckGzFDaHyKE7j7A8aqa5VXfQbyz01WDtNr7zpS2LhAuuiFPsK+Xo8xvlaWC9TbHgXXeikifayvqXtimNkCS8UP10DhyaeF8rFNsv+bVpV/42ZzA/GE/zX9UODOjyGyrqLlBbGpk2M03qcGT3QsB3LOy9ZyuIG0TuCChBAL9lIwmTsny7dKigikO5Vfqr1/SDGYF+/NFKPMEvrW2HFSD5Rg9vw8JkYikgZCQR/VwqIxNiKAlF5OlQOzvoO/fI9Fz1lEFjHWbGIxbTYtl2Z/vJC/g06TFiGNs66PQWObrqK8tBBH0Z/3Hx0ViyklWH1dD8EsMr2FE/yIrnnL9FzT886STQXPbXkat8tj0jYWhOuH9zxQ8JlwdJM0peIGedYF4/IDDnkRttlZiUOJIDPg2OUHsCBQB7KP5iH0CVWL8YKd1DK0P1PuJR3i0mWLLg4ky3LjYYfsVAX23lPw/ohzdYjfdEl0Z/nc4yD5VUDKBItCASLP4gqH8w6vd4YY8QltoGvkEPjFBVLatbq9xj+StxWEPzWEwe88VWddIAyZ2AU5jUKnBgywzVJI7fYV4FkwSNYxFvbZQasqvrmD1ZUoroMqXZUqs5N1kjuwBjOv3kgcvKbASyFLkRMNJNKhinoiXSLAQ3NIQuVC90lMhZigptWriJVHfLnpJ//QvTmom9gShmSDbaUGEp/dPSfJKGv3D7W+TEDvw1zKBks/We0a9l9VQt5M70FebM/unph41tyLEqNsUB8HZKBxdN9iXKlpptdTlLiBw5yJno39apbQAvQ5o6R6fyBDzkGtp8yBmppzI0LoPaTS/zoq4WbB00vZ0qBNfWgoceL6KdpzYf8Du0Z9d33HrGJXK3ANqIlaJjbxv1ZwtlerCoi7GWWGciJ4VNGDWxSu/wzgNLkqh7caV/+HHI99CgAzsjgx9ITb8SOSC4ZCOFQhiD82CYl/YlCKrBSZ7jk/w83RQ3msSHbz0oGTLnWFsRO1NlrVA4pFZJSh1Strep+uy+jmOfVOHQ5hiYPivpHIaRJ8vboTcJ4t4Yt0IjYKXREMulKpitdprI7RLxbugk3w6RdB7CPYx079hxcI4mU/L0zS6xiS0cSZZkqmXKwFgUOu+r7y6LeFGAPKTEEMt4JlCAQWeoLt4eu6h6fPuvCE3+T0OKJv9IGZ9A59vE4P3EbW3dwRBpleQJNIfDWTf2SWs3E6g2FyNp5cdsFJgPf73Pw9FCKIsshjH1vz6UgchmLRfmN/+kjbaecNgdiWx+yweY4JRyGBmanRaXLS6U1HAe0PlY0kPQhAUXfukJuaOefv9xOkjBQ8qqBcEWVMsDTn6EoTXaSaAEMt3LD1MNvIDqKiZJzHopqt77StrjqPsGTSVA+Fn7DyjbIEWwbQw7bT754pwjNXDouUH8b2e49utcvTrrF3tu1zbgLRZl+xzCG6JrL0lL/uY6BqoVhkcyFr3E1iPDH+0roO2E4dT74xssZ3fD5b4yyE6XIZpa8353vUMFt2bGtW4a2h51slP4bAgtCGwOkD9szoKDVJ8x53YY95vUjq5Jl4xclTeUB4qmIIQIHB/R5ZNRLUFubiGmB5O4U0GFLbDMtcSPq7ykjH8tXvu6nT1nUKJEo+pkgIbSsVmYUd7/0DiYUwLaOyynmJpCL3AbTV1fJs0xDIXwSF5lhSwGILpdnQNDz6I3DZ6La72l9XPSL8zC4nzhZqySTBD2YPSLYIjVY8vDoLmGUoewdhWJogD8wnKQu+zi7cx0MSciqbYRDKzAjm9bliS3qvZorg9p9AQ5y+87euXk+AxKGW+X7fRIBkYpdbR7caKnWkFvnWPD5WHabxwMKTzLVnIJJGY7xHpPfoUwjB87QQ0g+lBhELgDVyUXBQAhdqtn6d0Dv9hkpLsPqC3q4RSsDrMUaWFycach6WItiAhr8AkJa702LBo+T2zULUWmE8FOELPOSIf5evotz5iD6w0WTZ/fEeQWEfLv03hgX5Nk7rsucuPiPopCoKl5apMdynSoVxhb4WF3HiMW0yRUG2MvjUqw+9PgvvJKfMPWCxGQOf/+CLstw0HwBnnhQn4nTouQO12UBx8C38FcZJ4POueZibFpj0lFooU8nIoZUThRXayEmDwPKlXW4mq6OXp0X13Fp02wX3Sn1adS3aBsdZmnBxRxXndXofGQAuH0r8vCS4tUZBTJYeY78eBSN9YEKSbu1ADVTgkLUv92xZqjbCkGPq7S49KulW4usSkA0lCqfKiudzOXl3iTJRA240ZFbUlwQsywB7DuzyTokqLGzH+XJmpQF3XyoW3kKhqtt/96rA4UmsbLkpu/OiyCUKQeg/XP2Kx/GKm8PrU6Z1kwY05RWthdOrCAZB6zz14gmMbIP6/YmGaVCJyZtbxSbMe0ysOSf2E2CD76YjKVvB2U7Kc5UKE/60bhYIMIzwAcLjrjFp1XNMg7xfpTbiXSqC/s/JmbzQiftJHUl+eqWh4qc74EhIqpbV+hMwtJNAISaxAJOR7D42dnFVA26+UUB+O5WfDN4fN0wp3lq767+o57s7TLcKAuU9JRPvrhDJDq5XxZrr6BZ/1WnbHygPPRGP0QTs+WCEOHnAVT2XfzCgpbQ/nzjHS1XPwaHaz68t21P6xFWrIZbPu50kQqyzLC/myMiDOKqZyz/X75ATuzjg72TWSME+wbjAvOytzLULG5saLE4bkxwJt5HTFuLA0otBa+QvaBvwmo2jaBoxbMjTvBvqrF0CVNucQsXkycopNXXrVYX6CjqyxyJU/6qImjSxexDxR3kfR6P0oyHGh9KBEkcTCNvK9ByCv3Ke2QwayYuNIc3tmk2sJNsZSBOv5TACXmX8y+YLjC9QbgYKAR/VcI2asakBm8EZn3mNNowZFbnT3aq4+SQFFh3FncyGx5Ww3QkN6P+QTuvfMMItfT+eEQ+PJxDQ+N+XPU8f98twdKj/vgsvPFtoooJ/9nbafeLd0SsvQnTWHuTmDDaxoq3qPydTVo8PagYxzkjm7UBWgff3eM4O2nmhkt8iB3d+2weHkL1dtd8c8QA734yMd5MCMUMAT1rz15cXPq0F5rjLTKDNeGKqjgFBLLa/VcjLSYOp3A9LoPjY3H0qPwtf2p2+oq9tvUL+LqvXz6aKdyVUBrvSqJzogA4tKOTAfGyWh0V7U1VnsmC6a+wkUd08ZL0GvFWLSeJGnBPoIS8alow/UBrSb/jPaQrAlrmb5xbBpBf3sWBph8yFKJdsxU+R+nUzkGDVqaS84ZgwKrqzXuNHlDYuQPjwHcGW3C1n1GZD1EAYppWGJvNMO+GQlxvYxqA6SxZLeqlywT5N9VuDDj8hcRa4y6y0IBuUmPWG1kwZHIJeqt5o5GYlQndxb0OzCdX8a7AgEwkLhkncIs30KKeV0K7atSqfKeNiHsOTkaSsYE3FG804ANwidfjny20402fT9JTe+FrYaaf2hinsQuI1e5NmgfZ0FkF7rxvNZLwiUK9KWYyvNM3CH3HgsrUqm5FgIBgmCGu8eMaQoVc7RAifRETQWS4ePo40GPmqIW3262MhNm3YOPqvfvUI8AIGV1lbAsmazjryXflKsvRUizbLSVefNt+f66Wrxj69jBv8GL26Yq/hVMpDqCH2JI1A6TwsHcI6I4/doACiQNNwgRhkzxkbQ3leShUOa3Nh/k5yyHDbvfP9XVLEqead5juyTYYazkc9xTvTpiYuTLWIPNrWjsvCjAVL0MohiMPE7UIGtaLdXOpRlvKpX9iU6XryGHYUA6e6cy5GHAIUBGKEOBVsyMwWnOmLPAda8FpyP2gkBU6YneM5Li8jRqG1UKG8OEdPChoNk7coAM37RyEajt93YfEwRkiAlEjrYfnJqZwldBa5/sRy8/2zbtaWrR/usC0WgH2oaSdLzSNPLSKD5qkrmgMsoJR1o4TDcB9TIiBFdD1yOSyUOSnttDF6VJ+sD/xgWgvCXbNRNarqIfRYI21yoq4tTeE/Z4VcJpTFPy2AeZotWc2j5NG7qRFPtx6CfKS1GQwbXfhyhoS7ZDd1td1RGijia9J+Bw8thy88wGtVmxkqO1jTRRvcPO1F55xGbYg+WRvu4HS8x9b0W6p2jso0HG+tRRqFuhbw7ha2kuu1zy2sRkkoihOu/LU+BtBtwKE8/R0ZqyxLR7mzyBM1oUdTHAhYUUgfHukypxvT37/3rMLnKvDhLOWLq+QOJiVnHRq5xNAHxIr1/8K7YL4Wu8RNwT7Lf0C1vS20K1ympWCx5FsFM2lHyFBhRFlrT7giHMbM2d7Rh0tK3rI6PyxK5XjOLbBbLgbRoGRLdhrFemAEFJ2rWxRHPCNClUpiVTrm6k8N0CZPHd42m35XURFh61BfFqV0ydMBMHalYSPscWs9FXBawPI3YxG8a3iRR7tuba5k/ScMYq5WGstEfohUPHyiw9hmRypZxaPVfEfXgHpIeYB/hwmDRjdZfnEZh/T1K0YyIN/T4+J+bhtDzN6JEGJkzWGEfPxpOXSja4hZgLtievhX0idOOzCtttxc324nmp/hkCzBaecDy7WqSsImAQWN1Lllg17fMOFPPyNc1ChqkyLXg1/GcmcmMhy7n+DCq3YSKDfFzHPxYe246Ii7L6i38nQ6WaOfkCOVJ0vYCkc8qbUvY9xrOL+wnpA7nOEJFiHMPImk4Mgog2t41MZALDxpsoL6tPEIVfiOji4OR4JFChwjwT8USdpLwJClAJwD/SBJ7AyyZp5nkG2JjrX6i1A/CEx9Tj2I/nzaX2v47IPsrNgxRKk7+Io2tiDXBLK6RU/JiopceJLBAvXhsk0SVd8G4usyuH++g8Aq3PYVIv3cuhxeUYGtEjxB6BL5W8gBtlX6gSOH5eFZSjH67fBz1egL4yn9u+0loBf5GPD5VWVfrgPM0FM1JMDp6U+jGodJmgbMLhgmKJF/9jR6HCloz79mLaGjJcsnxXbTkS/Cp1fLdK086rsuc/RxBqsrwcSBt8O4X81n2o8lUkgDJElvokkPWJV2j1cRTLVOT88DLJ4Ai0mnJW0R52fFtAfBuzsvbfAIAeeuZhhd4tTvyrhwGhkK/o7hmTLxZmYmNkooT/JWM2Xz5P5IJ6JjfN3IbYah19imihnl08yTf/FNMxstwtmHuBvMDLDM7KUiSNCafuCboNz+Rcfyb/LxVo+b/DsaXbW2YhpIZl2fV6YPPb2LNnPh94LO8ARo0wEhJM5Oe5vdRNCRIJo0QmCAZZfRE532zBUAm4/mLZTqBg/aCng+nM8k4UAltcbWSxWEHYUbQfiasicjJma1STnMd/q+8qj+KtsF+DQJFZSdJ99DwzMYdESH3fV6P+tQplrdIv+Q5nRRaJRF9Oivq0QDlZ1Q+5DQYu2Ngp/KxbeCo5J0pRNmtTKYfQCN3JoyLDMkyL74doTc4+CUpr1+MLqAZz3mDCWfXXuF9WLv9/gMS+iKaZtxnFIz1tZzDsPFid9H9RI0ZEHirEFV+00NhIVeIi764G3HbZ+CrCf1F/8cHxhx4BfURjofaj9HnbT99n5v+ryRLu4GPDg2vifCw6uN0PnORlmV3EgPYQ0ttU+zLPz7BgroIzjVkXbkH05EQepdnUGw8+GAJv6wS/prnzbUXK+Hqo5wQDgRgvxdNjk5kN64KHkpJ6TPl/rkzfQZPXtGg0dwLUG45PvL0ovA80PeR+6V3W5bPB72lL7bzLi3be+91Bk4tvuEQkX8Py3q/dhUIJXceYjh4BajN+4V8sLxVSKQtTlJuN9bHNfuRfzpZGaIyXYj5SiLLdsL4vCpgALFzJx8OCHI3oH9hhD4iwnnc3ecYrqp/IcpbojG33hjr+5gPwPyI+qnc6XO/ioqkyV2IeKtGJH2hBl5/vD2lPRA+RNjIU8Cna8BpzAzhvPEUf8O2EIP3FQWP3lT7ZfjFLM8auRxPOndP70dPFcygEcWbFrfTDkwdwxbTZqVRHwKfYQjRmVhVe8pyblRYtHNiLx3PgoyPtn9zm+81PmpMrYiYGsATvt1l2rsDFe9vBAjJ4FfN8IjDkKmQHMhFtOxMiwRwR0gLenKS27h2wjGHcrw4POeRyayumq32RHj++9XKuh5T+cguHscykOAUm0fr9U2+nbst5dSFNiJvPx0C+TDMTDH8SSwexhenbk7+J4bIaFxDvo7Zgy2lZCpYGE5mYoph7xq+IikdlceBtI7ZQ9OsV17A7Yx5xsoT4Ow7DpMCV9oBNxtSE6NQt72Bt5c1xldmlg52/gdvMJfD6jpVQzvuo4A3xPsAj6aIzFSc2vb+PZ2CPbdofh9X2edmkjZ5NoZf1erIa+2Y5xJIQZ1ffC3ZlFUrQGRQX8wVS5YaLabaLay6bbjGEoEL1aicIIVu/tjG27EnhdSEFqG/sj5a53u2o9O9ejvsszPYcN+cjbZQjnUTraDz+zW4qcoR5huHXxyP/SZi7OvgXcmMX8PfeLs6TouaNfS4mdmxdqwnY+sP5RD7x7T5sWtkM5JKVWO61cPoGF+3FG0sX9sTSJEJV7wEniHJCtFC+LXjzxOeEmBWtzInHK0mTzRqtcY+GvPKKoGGt28lqjaNGeyY+5jjwBpXGGlpPKho6vUdbmcREdoROGy4aCe8Yt+XMkKth2xbSDiW0tEX2VpIy3OcnpNuWSF2zpkLGqOlI/5xdHs/3MOVerKvp+VlsMzsNMc2krR2kLgCbKoAJSvd7N/OBGbg0oaE96Cnoe8moafqezUeEAsKuwqDEjLKJpK2a5I0BDEwyR21nIOGWOLKajETVqiHuIa0QIc34TQxWmh/fB/34dxnn1VXv+lHEeluPs70BTDbcSsXIaPev7om453uLASyL3HQseySGXT9a9Q0hgDFXbrYbVoFALpJ7LizvTPuJ8quCvNQ+uMu8Ow7vXTtgQJELoiwIa2kfqFHo5YUO0jSekuRZ8BTKkN7zIf/5Q0cPWdeXAHMWIqY4dIlNr1fzHeEVYitn9NNQlQYvwAVGXRe0UYx6UaZ+DIJgs9hMUr1+X33saqB7MyGIuxzI+3qHusRsJl0/b+jDhT1nKkcoyGmPrDaFlnfm30UzCt20xsXnQV5cwoU9MS/a3xgy1qgHtWqeneSArBoC2YFb5PQYoLcvQbhXcWqNHWZo/bA4gBa/i6rFPrBpcFQTHgacQnaACX8IgnddVmXLfBUjuB8myHDZctObm9ig6rLLB3Dg38AF4FGftciP0I4TPfEeU6auKMXOQDP+uaOr4E+92e680kOh+BG0tOoJzeRY6pfiadjVRmNKvKWfxb7SRAZBD26aiDjAl3K84roJ13+VLakpWXC6EADwlKPP0GSlbPbIvemQ4u1phwjgxGDVDzyFHf8jLzk/Z1438oXUEurzg1PQRo+/z9cAgMpT6Sufu9Kvsda6icVEiYhwliiJn+CaAfwutmbM1+UKQqXyPy4HIeA1vQPYgCWeeDYwxOIhDnXgzQCLbXejgPUTH4TIlvMuH2Yr9OwndyULXjoB1Xpc16nX0lQCAtRLvby3gWVwVznsrSERT7R0zokwqrZ1l5nrVsIfwkjyv8VfJD9rUWG8z0uA5OQ5wi5DrQG6EcMG21EYseAvwzCwEX3M76SEkRKIxzQl3bCOpcNnG8rIJI4gwBuYQHCEQTzan/XaI5xB7/ncJI36r6ywbImpgU0kK5N0zFyF1xXcdk8qvmxRYbJ3V/Cz2377vkbFqoAihKISt7uiuoLq4dxwgPDQwPf2CRS1VyjztQEu1rE52swZDD/f5v7LPqzJXJcDCZMwkE5UNLU4ia8JZOevnaLD/u45ONklBkZZlarVA3yxMlMR59oztcB7syfjG4ftf4eENL+c9By/+Vb42T3PejI2qHGjSYhg4T/ieJhV+sONXuKPLmste3iASZfO49AgI0Hi+nUoOT3xAjibhNSsh1VJDdLVAuZVFGMJn+1ePXm7MLPKnuXZ69ZTpfW2x3i9dc1O6Gll8wYsZLqXYDd9rwq+VrnOQLOBu+kWyoAPh8W8sD/Xzcq/IDScUBJ/qWZBdN6kKCLAaGPfI+Yy5yaFwoMWeth8bG2h7NYmYKgnWfaB7t+zlJa4vqrZf83ZGFXEWFDnvSbctxNCbFYxTJuVCOmxbOo4koLWutujsuaCcEbYegqvBou3yW6ndRWuYPR4YUgHpO5Qpbi8BVwRDbN1BTKi1kT6+kl0UeRmQFoSSuA41iOYalakwPi9SrTlNh2LMzmv7g3QxgVhzs0iXXBYYDd7JnSaFLxPywdtqpujL1lo387Emzes/rPOFIutkeEZPcXDmSZe8unJaVkct0K05tNgGoFHTOYUXvPWs+RsIEG6uiynPFJfEhKkO8lHdm2e4P+GEfU2ZointzWUHq/Bhnc2ZmM2i/b08kvo5ykUb19vwRLD+1Gd3MZ/2i+4NsA8N2GBvacfTCaohLeSknVxmWg0XkFphupKu0BUnWe8nzkdJWiCgjuWC3hjP7pSXwYpL+r46ZZmkYySwK9XDeGOZC10Qww0JjmnPzun0tF12Aqtn42XKkggN+6HV33GXJj9eTU8b2E7hiuCaAjtB5GVRY+zLsh3QVElhSQrdpVfhDqa3823qPZZcb+qk4bUeWrtfEc5BPDQKyZBDwQ9hxWILBO452jjj6U+TPLgJOTI4AQtaYIqvmv0pEV76nCUfkVh1LvUNxXdudvCZKZktGu1uPhv35n/1sqOV22bZb40wssAABLiS4LJ0C+i3jciErBN+j0B0pg62ZtbV583YrlgPOGjkqgDvgrEJODPuHAgEgWF0qqyWFvDMEy0jRKJDB31i2Z1UbBLlYfkXNK5N1TRg4khwvkeuKGL5Pg9GBTD5xolEjclRxl9HyBalT+kTcqZexGZ5MMHA8N10LVbVU/M6+yJbZHDq0aKNJzJX1jp31O994zdK5S2fCkoDC2xKNOdyGLhGvW0q97N6otTTQBlLuVW+XahVLpEk5WtRO69sKk+aOLiFLtryXyblxeUYsHACGLxxOfLpplsPCwESDJZYHcMTDLU8qmAT9PV2IfslyqMcEiYuuBd4Mbs/HVsgs65OA8JmBN7RhBwPDYPmBTEZ1IdO59rV3fAOSw/qfiiI1H/1XiYnVrYz7FRVIU3OdTu4v4Dtrr4CojfpTuKN4I8TyV5eSGN8kE3XepxMn6pJWZPVTqWt9+w/X1XVBRKy1mhw+xscFL+YljUTsRNxtht/3yyjxM8mA2KfOrv3TQ7FoEdhu0dVmmjAJlZACpVSBVn4XCpPV5w+y4P+2/A8zsbsOEhAlcqGr/wuyl95Tf4xyHnWhLsoanwMqn8ZbyIjr//GxJ0IdEVHKJAeQnq0m8VbIHC19ELWL4sfg4WFGKYyBpsTVPH5x9BzjMzaGonrzUm0UatBZKc4UqyhAB6oC991qosIRIqGW8U4mr+/PJUIMEKLCSA0Qu1r6qCX0gVjKScPCH8DlOfSsNwXun781+imtqguAerwbx4c8lHefsk0Xgl+Z05SA88qLH8UFADR1Xzb6UHLpa5kJ3XVYiQzlsO+R7TduGebX9Lj4Ekw1L3yMDqSoelGsmgMejTM3cXtuaNDjnhsSLvhAOSBy0YyKrsqAAOojignwq5NowgHgyzcdIxIv4xSlWRRKUCY0WTKuE2HDntohltYpmfrPuF+6Vto1V8lnL5H/AglVATZDrE6qXiw1xViEbqb7X9KpV1fkR7TRcaGjc4nwKjfS5rTfPVDcvPrq9WWIqjdV12LvIjBSj9Sjq8Mpt3CQSZFNc+j1+VyajJ9tOS++TlRs3bA10zBDBPJlMqKVczkg7ZTg53S12E1Bt6SWKUGaqr2kz5AS4PxTBmzkHVw9/8LIAKqB3hqgSrLwiIrV61yvHRGS2nGWXIJZwD/nuCSYYqiPX1PiISHa4zCku8fXWWRsryX0OJ2xVMCZ9T8C2YjZxbw7O/RR9etsAjrkxZcxpFFtZoP9EJ1NhGbXDXmrdGf+yehIz9hGTlGJj1jxjIE9xXhXLN/WJEK5/ZQw/K87esA8xdarGbK034QrOWhpWLldj+Rlf9cQ/0m98aqVsaRyrYVzdGN7NsDahZarvzS2BkGr+j5ez0hUT7rsk2fKqMRpLumRt81VqIruo6T7GSbmu1ngVhgdJkCPsxRY26Ytmo7+zZniMw/FUNrvZ2ZIyMDL5exDvnaAvejw0WkXReqQi2WJS49DA53IJhM/tpy/s4UFax8uEQUHSsrUqe5SSeOvoiZMxQ/PUAqN121osyc2ByEaZjtq7DvRm8jnYiXv0kJtWvlKdqrQc2o3W2b6WYMtxCkajzFP4LafdimMk7oGNxuMhwp/hkKt4iEmOvRdvJaS/WXbCXafgetJN6ns7lcfMkRmxtudebXzRXBeNIVux37xJPTplY+e+DdV2brnHpDFyZ24BtnbdANKAmEhVTrDs2KT7+sa2PW4H3U5n3CXkoOns1seZVIH7+Ij1XaqioIBZjjYZj+tWxu0Nzvcz5fQaDSUm6MsgWmT0eUxX87ay8gVDiQoNUl+gozkQKrAZTeVvX9LwFVM0H/GxlJVmr8ZFNT4skxU9m4IR7VsUWB6oQ34yPR9ewL4UToi0231waE1i8xjN69iupGa35GErApR02KDlkMELwmOrncY/SddxFbJ22SqeAgWdOL0k/3RgsLKEpkJdEb/mm9D03xKfLJdsBc0A886u5a9eBuVhxJZTg14jg4EEEvbZff/lV4wEkI5o7gUWehAbgOUodgvEGhqatuYpNeN4Jvy3iIHqw6Utes9IOmOP0ej6PMvh3yDfImgMMEWsJkDUoa1yP9wr/VrLvC7o8VRouL9j7WJpsxWi4SbnJ7QJTEGBak5ldkc8HRbiIXIv2ShGtIpHqKvAOynCqF2SIu8/5OgsnZlNUx9GfX8Srur7mc5Sw1hQuSi1faaCe9WRcS3/2161VyMEpYFz2L+Db5GojLCrfISu9NsI6qYrweQ5F2jQsSMmkbPeGv4kjcaTF6NIa//iQG4xMnb6m1Eqq2f+1yDR687UPnvnqEmiGr6UNzdQTWSFLHq6dJUvMF5S0IrgCpkdBKLqneQOlSOM+9obrAjupxgLVi2dEgUOMDO98bP1atMY/GQXsdybPYAGzc8EDaALwU1mrqtvOr65HsJdxBMgg/tvckj6TjuAqfu3LVMDF4fAY5ARX4uKx0Y2OfsIH0q0XT67bQnlLgmRqni6wUGjFlwaqtMf54O7AhsdZ59k0tRnMrMugeNgjnOwzWmfy3Rhzvd1YkxScoBMqe5dUIcJQqyxS4jj7FEcHyEwpqKtp2bZ+XMs4p1zkWAzgvG9N2cOcOhJ5s7VTc61oTh4jyLCCKKPnZViIPud2tZx4JDN0Wor93vcY7/EezFpmMRL1GZwpYQ3XDVyKSMLCzIGzuZ6NNo7OreTxTrrTKATBYdaGRC7RevJg9yJl+XIKqV5tzjLnaN/PkiNiW+cNYyP88wINpRWHPPOCBG5/dYtphg9RsYd0ITqetrxbhzTF9fOqmxixzx0CrlRbM96NsPJx96Jq8LtRmzpxrPxgfXDXhXezI0wrjKpYaAQY0fjdDUDSR+2r/RhD0dMD/Q9SVx2+DkwVzAkzmwWCm0byxdy9fvARcU9rnd3AhQb30Tn1fbDFMyrtnXbZxSuLbyRSbLK0wv2h8v5435J+qXDOWEdRFMsW4ulaV0xgroLc2d+f7r8rkDDAjI91lBm3NATx+gMB7RRW2sGLNYJbA8KlDzS1y0bTWhiKvUO62cLLvEIER/i97jPyE7SMsGxZ8b7sghJ3eb8neDiFcO82jDwtazdfsTgPlokLLCZmUvXQAA9lXupzWbma2PWwcf+SurMMZs0WyOD3Xj5oyAn/UsNOC+NKN8W+R6C84ZFO9W3iQJTbPrunuROEyppyYejoIcPWlNuKVu/5Or/RHSG9fuHlg/G0/MbeE9Jcib/DNt/GJYK7Or9JSypKhNGOG7Gza6KjtZMLrRqizBewyv7LU//713lmjPc8jDgWwJSIZgNb1yV3cq/WkLHMRnqpWJKS/9qH5Fm1Kv1B0UMZpetwYCsoX762OYsuNZe5X+CaMcWRLhXzBggb3KeDgXILrxN9vXe/VnbODG6lrjPH8EuDDKka197d0yZUI6ho+COXP3uKqYDOqw+5+dKvyeo0bVa3+yf+o7Fem2DYo3/mFHhS92XTaS5rRKmkhlXpsJ1/Agb6+YKf8UPefBvTWbV4V3CWw1saxI2RfqnkOfUCE183oz0xeDRNvg6JQZ6Wk87dnII43BPFY7idtMPZqahkSfqAF7bDpiiq0ctecTMxu8FlK5ly8qOIZnzRQhNGKAEx4pOhXEua7w/Ji/wBE8jhSkkFgW+SBF5Zm/X2GFJrBBjDK5B8/1gbIPlwqhz5Aom/syxFs9D1jc383PRy7txDc5TIzSV0ZdIsVsvihoYwWktY4+yDJJt0fOoZaF5dHNz+7B6eINm3X+81tIXgJ4F5VblrBvf3bnJpmr4huwE6WgY0pyoq3ASRdMXz0Z3rWCVZVrLPst9eZc30w0z1NEMb7z+TOtTdXEaQcM1LwwAMUFWCn0ZNroHvQWpvwgMXMwSkUCJaqMBLTRiedoz6xQ7r1ee0QlXS8PUZD6vWLzm4Sd5kJDDpZuQo3olLFic23YKlyTCcYgYzeu2ENGKX9CVbd3yj+viLaRz0zPdQkgpuoJ3T9EqASrnACm9WZwv8yiDza6YXNqCn0XFaG4NVKiuDUQKBlb8gJZ1Uvln135dhG45QNjLmfGrOZxkouPYtl8xXo3oyQ+/+izve0hq90at6X9Dd7Bl1/a8dpcPExnk7jM5WU7ffETzcttcHoPQqgCcRDVMZzCGhKZ9yVKfZNgpwqBe9DI6zLtDFQeyhNmC8ZQm5gLntsT+UhgPzRbAifwDBSzfe1ydnlKXR0eYOzPJGPLiwcHsiGDu/jSnBF1+nN0RD7V4JDz8k6yg9ioNEnvUNZTxS7G/fmHYiI+mXBm1F9bsWUsQGnpCjYNtuI1nXa53jbauNq09ioKodtIq3wwADZWm9uMBf1AvSup9QIy+SmkNc7qlkaBtgl5SfhwOfk6tb8CLJ91eEgRpv61TLhP4ezDk8RhBIChGl9DU69o/sjEZ682c9I4nz8xv4yUgmi6I8pd6bGqvogOyhNQR5pHdf4eiCkyw3JVxRQxyzdXvvKJfQ/PP5lYLfWcE1vAipuQlEwBRc0bWstd+6jD0GU0XP43O3rsX6gh8Lo/Q1RBrTCgSb3KPCMGkclQWAueuhOcFGHtOGm8npnFASpFRva/U+ao5WcJQxHSXUPc3txTBIFly2i1rmbUZzTjBSxNosLoZJHjwXl1dlWgATTC4jax/suSqJ0w1v5a1b3j08DgmAlqG/KTW5t4YRvjdZnR0XEDvLhr0UpfasknfzwQkIMAPRCLmavkDh3oL6b6NBGA6VQixkWqlXjFnSJsCvP2Y46HqZDYAS+38UlDGSjQOU7HtA5FPds1wOG4UQFZuxcTBwc892Zmrjb4LQt6e+ul7rY3J9Z+P4Xyonrknmc3uKssoLqkPa0M282dinQmvoChhBL/1wI8zEwxbjQ/sCKyuu/QRMK19mPh3irDdRiuYzWfktaY+L5DsZiDw73fW7uKcaNZXHxUJL0QJvw9dcTPRwYqT0dzEWnZ/1xuxr7DZg1a0xyru4GmJxCkgMA/42FOL3UrHujO714CWAtXHglpKZNfY+MyGI2zRniMSPSx9ISF+iMOqpNCJgVeHmB/8M9GUI5PHd0sb0Wqzeamkpvc13qXHDIHu6Mt16IVjczVfkH4yCu0AT/iIMXgB7YasYDdy8d9we8qtO/BvJG11/+vTe9zXPkYvQUR2K1JDrb5bqJ2D6cVwD8c+e8QBDK1DfHJ99JinOdTBEehTxCKb2e94PDbbGAfjIZEvMy4ywKvFKenNitxqOPbCpQ7H+EMkTq8p9h2whpxJ0Yy+u0YjaodL6ZwJpyaNKpXgX/L53pw8Ig3LPEvuAWkoNaEEnfhd64FSRu1XADfvN5Oksz3yR0yvTaRbS/z/v4t+tZhqPb58Dx/JYKUlQD6joa6SsjaMbWTcR8JZRwoGdyTkrA90Jle2NY+Vq82O1+CgqGi3l7Hh1bIBWc79tol73PYTSr3WO9BEgHWbTvAj9I9lsBOfLnteKucwx7yUZmUqee6Ts3wt02w2DrzXTwBf266qBBXG9v3JCKaylKILUK9LNBV20iQq7RwQuKLcZSgCH/E2ldWIicHKjhW1G4/IVipvLNukeEBjEXbd/bjUL7UCu6ESK42SP2hOfb1vWjK2fWi05bGNxNiYvKBEcKJ/6cuYLa+VNeB6ibUR2m67+38LjY0WR+pO6UXW8alBErCk60a3PSqyx4uJcEretlZsHA6s4hUBbZOC2qeiKHsGPjTiISZxutPhq0F+Xgok2p41+V0+zF75TyESVuY4nKbLEFvswGHGpEFcqLpB5UY70FUjdrQjuQnI/nOMtfK2Gcw8U9XTotZBU46U8FIOVSC5AYjAsIwlXUavLAtVy6WLYi4vIKazcyyoL8/h9xDPTZ8x6R61Awn5DakZomQRzqn/xexsSdOrYdVOQ9TNlLbORVarHB74ejy7fdGqmK9VsS0OKcXy/36Nn8zkni+Td/WhgSBp/15kxDTfWP+WvzNqvnhZwAf6DikmTdQU2ZrNf+AzLTwarA6ikaXIj1PVNQH9Y+lzwwFuXReQL7L78wIO1k//6L/jIapsXlbz4tpiR8ZfWTLStGx3qtGGrTl8JElWifn6ZCyRVabZW9RIya6zJouBTg+qX+4K+EXet47KPL8SwFchAdGq0A4S13OzXKdl98Hrn7ycR1E01TlbPQw56U3bedi2bCNUQ17EoIEy+k8HGkKZukNmMl1Xs8FjAAZpR2yfCdCRUQM11WV/pnVgga7pXcxZWJtvnOPlHaA/TTj5U+UpHjTyxgeGAXQEVyWf39fcL1O5s3xLESMrPuynmXJRUDfrXuqK3gIo8kkXQORiGr9Y+nhP6HXKyUanVZIXSnT58I8bbMFy7LhAEp2bImJQwm13YqGg5EVGnA1EWZzvby0X+HrOWYjNOWr4+CP8Nb5hlISEYI8QqKOn2dAqUi6bYOrxjfm9M+nQVNfZwNPvGde5dJS/m5n7lixLjSwKfc+v6hLmcNYx4xGCrna56l6Sg00LBrv5QXBZdU1bRjHxmsSzy/rSAwq7zq9bg/zQ6IUVsntq4yN1WCf9T6o2BAXc9rqIr2ANw2pc+ZSoLtXTFUMalyMl9o3Cevh95D6gZhDckfUOa/J2h8KTgd52VgKZEHU2WI0x4oEv4dX2ARVrOh0t9VUbp2k2ywsiUUVLiEzS+frSXIMw96malsOMi3FgoZ+cuMgR6v0koovtlPVWGO4Ix0Utojht3ZQrzsgbj6NG9iUQvpZXGogtSWZcGoFNKq65LcsUbP0CQjPQT/gdS/190PJqR4foAFA7TMs1yjTESTMdW3hmyS/UxLhpQBESkHNKqBhpHqSznch/q9sD3LtILKCtdkXRaxdtPQb6LnBtUd6IPi7oOKOXRjzcZxopsNjmeJIheq4VWkx8M+qBLYqTewsKe6/DM99eBas4s3qxZ0kOp0xLpWsfj0nN6iHI0R8uhWlcMoQILteUxU5vk/oQWEbm/6NtqI9TVyOI4aRfN3RMJQwZHfBrZkGcVp6zz4OLam+35wRQiNgpZr+0eURQw6Xho4CB04SyJKD8fQy9/QfBVj4hbEmmLc6aM67p6kh4L95zVQzst+1791vFIVbEFYUOE8RQJrEIgt0RVBdnwEGBLAMlIRRz+8w7FDfsUFlr4HtkvETo91T3w71U8BuRyOcLI3NYhuLgKL3bjuv3mL/rGXIf/Zn81Sg9/30LWYRevnjxl8uaUAWEPj5V7yPYXTuAL4a5hE68TGb7b10v+12QuVeSfLJ/Rh+gC5QQnE3SbUTlCWrW6UYTu41glfhDxt1S7y0UE5tIl0pJQFq+bXznBGQ7Zp8xuP+xOnAsbTAGCvX6ko2E3hYFPHu1POrGKmJvkmq7P1ljF5EKgM1LGN+0ExGXGIa1hDacggNEBy1gh/VZLLDuzhJfG73RmP0ga4h59LQNILyy57OZ8JMwx13zZIZicXhao3f2Qjf1x24eP51s2Bmcbgo7zyTnbnr7TBZbFfAr+yVQ5dWdaKb+D3hm6HNAC5pULo7Cd/NMc834jGQdaEoXRnYESf6ZOCeZXJhLxbXlOqqSBlOkv/9FzC01KjgW+lOwlSQFO952MvrmUMp8HQTKud6v1Cg7ABqHZzvc4FCaoS/GTx3H9grCQMBJPxQhzpiy+x3SVkF41OsjbzO/zPUvuIi1RU1KtgYQ68OYajfmotLMuqGpqyHkjQ4kzlwrWC80Sp55Efcr46QHLjCFmvxdXbgAH/L/ZtapMWfIkj9oWJKKgCd4eYkqBqT5uyVEuQBoJj0/r0JDicMZGqUYaLqnmrMOocY1K6/rzdK+T+5Ulp/3Veij4tLDkYSpbd0PGeic1WXYZgcRhD+ZdQYAuGIkJYlkLzHLmDzEh9v/Y56sRo0/+z/NxflA680PGJLEdtirxdDrETHDR5B4SffQCrW7lkOdudsaIQILiOPREZFbJ2kbdiR79vFz6H2CfLc3jK9H8wL01bqQFwW5MhocXtvuO0ey/WrWtgsv/omVgioZnBiY1IEEOXBRXc3KJ4HEcVtQZWr6ZNjmrr3hf3E/PW/AeVp+VUHdZ4tiYoC5kM0h8mtxU00KMjERdUPM2pPir4v0v5AkdFHgyQjHmHtOm3NjCGbqdQKs2BevSj19oHoR1IgapEnGD2+lLlvPNubkiAgwS/jyn8o8S+4C3whODLsHcz9WqC1MK8wYDd9cFkP1y9LNQuoSa1jyAi/xfnsdHXbrZ8r9aHMP7vHh4RGhN1z8vmYLI+HLcB69fp7PPM+f6IEzDgwXKmqC08XrdFokF6o8C3+s5U0b6Qm0V3K5Ouur5Ex0YKaV8pTOnGFIgYzwXAqVBzfjXxiArJE5P4YL1offEl3c92TXzI+vhn+aO9IZqDMr2h9u1/qq24qkmSmhV5h5rfuNqS6HjQOqgxtfk4DJDGoT/5HIHV1ddJTFPJlaVz2AWtrRYEmQjDyzrE+u+P4wOUceP9NrHB6dW9lUJL9mA5VYFGSdNsi2W/53j30pD4WHXssjWYpFKJOgsvhssLC4d8o1s9gKGU9a8kd1vF1iqJoXULAK5ncTPsea2f4W1k2TWVX6rCsbO7xLKAMUt7/ZPFNNdD9OoV2UQl9ZyOIWNc6VPQWk70LPyO3pdHtiARILDyrcqIGeLQg5RscAUe7Xn9aIQ7UdcqabrF3qtziDJ4GREMbt40e6nDEdConABWNGbd1YhSw88wMufiCot1C6gdQPuJ4T+RDcf2nZsT312Txj1UQzx/F6A9fQBpG/vHfiEvLufdXYw5dr0Dy/9RwHec6pkUg0r8fI6rKKsILt06v/6osGuIo3raHthbt4RSSEpchT2mXk/zCm9sJGK6aAeGMXl68csq7nHtScHepjCr+HFCBd20kg7JORBjtL/fuyuZc00ogsIyPoWxkNBP01nmLivA6subclnuP5CXTxewLYhZfozyIGLYR+pXs4pr2kGhizslXbdAHbG9yY2gjT9jThGFVJKv9bDjs2jQRoO/GplsifDDgmRIYu9YQUO9oN3ds0IMwal6Zu96W0f6UwcQlPJ5OUPnYN02xd4ykq/oQHL1P2PjDpoyzYBTHL/pPUqsoBVK+sWXZyr75rnzeu315NkOcYFjSatq153fKVp9uWf1rG07PqGyEtukz1Mi5iFNkPHJXm25gUCWmcHG5T8glo9cqtUiabG24NkmCcrl3Wz/ukEL41eDOemkqFW6zu1M/BGEpO6ilNiFbnTR2E09RyBe++i9ETgSHnr9xyldDreR3Q5ACx6Yq8X4FpeXyd5ahvoOrK2MzMgXh2ppjoz+0xAVcmWG06gxcB1W3Pd9bc+hSz0+X+IY/D4v3w3HaRYyfr+0mRWy264Wy6u4mqgA8esQzgrqsrC0+5QOq9niDTo4nqStQF1NxvV6E4s0DZQYcJmQz/v5YQlFquFTiBEyylcnvcPGK6jusb8kBhZgSa0KF0QLkYZ7w2FVfSZN8sIqDSwJLEYyQez37Xi8jbixqZnj5JkXWAE8adfmCyX1TrORMjewZ/1z5N5el5ff4U9uyJ+eiMLTkSo785gVzE1syO9aQJed5u6WidkbJQKKHgBYQ572LMSPPl+8ncUeArYO7BMsq6PrUIB2bpXTsZgEcT0A8Fn39SSJYNp6i5TVnhjjJvG9umGYAfc3pWt/xgL69pfVFq3SqWBYiweepLwYx2L0+xCyOmbvyrkSuonZ1nwav0PRTW+tBUfMRFRVPq7xKOEbfpUMjjiVmDmflqKs9yYmz8Y38sRK/j0ky/ZkfeIvpNE5uBw+QMe+ra04DMyl/KarF1ge16nHitdEtiWn1l22zMdymnMJvHYMt5QgQi365QjjG9y/PW4b2JLuKao68a/boODU1plynn7DCAsCD4ptvpC2QODlNH0EaThp2U3MRiyXKBkutxTLhpsAvp94TwWfWffNr4+8KiG526SOmAprzqHeQLwhM6LJen9aN2QUFdH2r7grmlShc+CAZ7ZZDqytMx41GCrCxQdIwnUTk2Zxk49MW1cK+k6WtByeNHJHVcalPJk+Y7TY6N6WESfZ++U+7pfMtLIdu386GzcliW8SuY+V+/rnJyovnKbk/+YCulGip9V9NnO7kNA5wJrvU9MBswDnqpxD/ospP7VEr8/kJ4kC1wKJhuJxBvSaoN3cQAMUP8MoUnJ/3YKMnqvPtzolJaf/AnAjq74c7ddirBjMejZt9KEJYbgknx8EBk3yLgsaXoSLLZ8f6JkQ9hZ2WPN5AFsp4uL0gcAhEqbnHJQFzyVdigbUCVAM6CiXUZYld9doZPobO3M+tL+HqBud2ceGr09CkX2rGI3+ptiotvUnY5m7YPLwWmxYGBwRrsyz9CH+Uv2X66JD9jBYKaUcqPjLLu81lKZ25a21CL4HsT4KVGF8wxo8WtQ6l5FkF0yIsowYYiSzYR4CJKranlswufnbUSUdJyZij7fuYaWRYX2AsKUKcCqRExouxf98SdUYXEH/foJOmnU1nw2MluxPHO8itcAgzilPpzd1zGXLt5d1StPuzlB70RUEhHuI8W3eqWPcLMMTcxg4gdvFbwJVn/uAr5DZO9KX7nGIKmwfD4GI1Ht2AZ7v5udu6KVwlFn0UwKImMd354GL88OqL2NuDtMExmqLSXhJt71dpoeOCzm4UDFRzV3xcvwtvQGTuMToB5KHDc1/ykQJWzQYR+URs3lvObsHibMsP0Tuxg4xro/yl5UqmmmP/rs0MxmYlsaBlmCLgetUdMi7wRmI0ou60dt77Z3sS9ZHnChiWwz2YJAWPZAkuNvHPjZmnNAPS+x+4RiRSoy5OxarH+0fWt+BJq1+BdC5/OGLiPFp0YMoZdL1M9lJblBX1XNcRluH8QUv47yA7a/WehZzDgPCewT/lGUDyuzlDsF1lYm+Q3C1fUFmGXfOMjG0lsRAljYVdQEg70/TxUemn8vqot4lQzWtS+SYFk0JG4KvMaYiF2ebu8rg+DEX7AyclOeROpzGAcEriFEss7+WZG16exwVPFDBOsReEz63Um9E2eJggHzE/gFboU0rKRYiu7k0DG8xDxN2r5GIWHVupkXmZnEaTUuSBNwgU94I8TuG9/fkkg4uiOHjWMmpHpLrh+RhmzCimum8Vay1kZKeTT6/XGEBLIkOL7QJeE6AiqbVmQ8IzFFbaBRvD7WAmpBI+0YGiuMGMKZlWHyjHmA2kBVdIZXC5hUIm7msxEqI8bRGcvgn4EOf4NknxZCABn7B+REJMJi02mJ5Qudd6qckLyWIsZRtMoMibgaUP/cHFHkSc0ZCGOsI+tqnP8mY0LpUh6iijOF7jMUI1kGHoOv3ksK7mDNuhou2FKBPFkOgHHdr6iNPY3a81wDh1xfhqoymWUfVPkNwtsR5RPizHVOQit9wUciakTK6fjOZC4EF5UWeRw8iqxXJR6tU7vf5GgYKhJmHJxolvxjlxsbWr5v8r7V/g1C+HlYykoialOz+YxZjTmOR7ogq98jxflt0Cz+SHXFfr10KZFzLqwtMt06rp7QOrDR0VP5DwnxdrT46a6gH8ZXtxJsvYMC9jVd2SYEVXzjpZck8zY7e97Ujbc2GPC3PstRMu0c3J+Z5oAQ75Y8cyoMCVsY423nHzxTTnisAsrjBlsRMXh2YxBMZekMOovBPDUVINDaDBYE0LD1XOud4Voo3vI4KrIN7iWgof2JVA1Pxy9hFksTf/W7Q/QKQmwzvwCqtCVVPsFpgEZ15ymWWOYJqZ37nwsd5SnaYXLM8VaFulNIaMN5Fz+mRL/7hMLAAdmRKx1fLsyWcor7mJ/B3q5lunkhwEo/oIwdabgpHkLeLtWKMTbXc47aoVWf46BqbchXjVhYB1/ki7igpdLIKFkiXy9/XQJDYSjvjHV6lzZ7Er91gcVAfX4nuU96UoxdwQA6EG/cd3NBCVFZzV9zCFpOPmDATaCoQIRhINCQsjY2iTd5I4oRFLTnM+jrWhd570VDDJIiHglk7qAEAY5lzTLuVZiAwc/B9DYJWiLYwtvIpB6AWXz0NJeCBVAlyV4Tj2g1J5ozgOmnCy0WoYWG17Yd4UwRsxBg5QU9OHAyYkLAiHH29okCYWLzLbXz9CfJ5qScVfKSPVzQ1uyatG0FYB7+tBv6tRZw+00XEGWIvPyo2bzPIq6uLhbJLwSlGO93oBNcVIdGDEPvSSYICRaLwL1Acl85sOPGsGCX+R/NuXJM9iGz+76OyFsG/nQIkDDwg+wOmcl+lFDWSSb7nyHZUK+99Lv8OwGZ4aKsY702rMcuiou7c+dVpJ4tW9JFlIPydHGPIPEksY6XGHBbLTzQD7WMzP5Jm615E6GpvsEX6lVUwRVQvuy55FUXoxkAkPsRrDTNA6Y/PzLbDFQnp3Q60MlviPdhJjcvBeoJgFFtwtCFeUsuZ/xzUGGeg1R2i/hsKdZJcQj7XXpemT4DtCmNpclc4sPq0ib65RS22mPXQ1y1Bk+EXbiFRXoAE1f2nS6/P7Baw0+UrxHYH2KCYhapqtoS3gdsUF3sQoMZICIZ/5gXD58OMa2rFYL/LCS5ExDTw27CTo99yo62Tf0cYeMKlkAwV4+FrOzWQagGpxR2758JlyZUWntdqfMhucn6od8X46Yp6pC72FKN90WN+0crygJqEgyhtXxWeXBg8lDL2TmIRI30WoqWPclKP/sSgeSAfnRMg6sB7grEi5LnsyjoQOWxBoMN0Dri8VymmVUHj5iHXCFntEehezr1JPvJJDqHCX3hlDvkc5JxqcTUXSzgZraIZJSUI2zhsm2MdpQVPXCY1TC7lpKB0d6/kQPrQ7us9Qi1PBixIkkUUuT5Q/GuRGyljJt3/RhJ/ftUdxs2oI579jLxCi0mCc5Ii0CisvtofGsiRc+5UYe+MRyoeRsT7+VKclsC+YQIb2Lqq47ZKeHTTn7s2s4jfeGQkXBswOD0U7f0YfhWQLhPkV0HyEc9BCs4IjIZujJGFCF378l6ySdQLJ1qZA1+/Wvk+mTckS0I7A5jXXJZx7FDUimO577i7FSUhiN0ArM6DsHrkVKbnQniTdkl0rlZgrFBb8Dt07G9jlN+lNZv4dnGw01//UwTmKhV0aVJAQKHybsD6a+ztaHvQBasNNkhuiBo/yCs6MyxMesu/qbkp2MsY/JrK7ymDq6SE22vClwFMiIUiXmtgabHCeZ7JRNL7jsti4U8GU9rwOxLsr7ljyfdXjh923J5eRth0AFYWz3VGGGsHfVwF6T9f0o6bfpHErm2pJuWCCZjJKp9ZvStbHVhgvYpKg8IkaEFIP6zF4p0EHK9OJGGEGJoPN35Zs889g3DFh3On5jneunbSEIKEC672nYBw+bwTMJ1EwquZ/q+LPHCzvpzIoEIEp6E9bnej6hzOEGqovWdOrYeqlo4sey73qjHMjWsoUKuZ9RQFAEGrgxTYmhoBtNMLMjcZsjQ6v4Z2xekOiX+wVhIH3rhvjKq3ZYWOac="/>
  <p:tag name="MEKKOXMLTAGS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XCyrewlnn679fGM8yP3Y1PxCvej9uRDEFdaDSWLmbudO6X+lZjs0jEpy4iJ5hGtOwHaKsxmTfA4YW7/8IdXpNu35wFuLN/yQyntG95yzZJHHj7HW+3kz3fuo3sHyxdTHQnB5rKpiPonnlvig/Ef5HENJQfZjI2GEm6P9KssmvVM8zCUyTf6Fl2d6Ln5l+OOwLGvMrDjSiMxSwdJC9Xnb6H7loCx+qUAAGtNP2SCfMsfPxl8wXZh/JVNj05/GYHYqTTrLBz4osCMH9up4LT2ulk/xZd5z49mNkNq+lfnS/JadLK0Ec/YMsu+j3Z3pVTQBk2VdlTIZMIuFXCd23MYTW77jGWWFhAWTdUBH+iH3hQEMX92a/mfnDogkNrSON025y0zpobOU1gtCg+qohx04K8yTSZqVmi0mLf6LWk8Ebv/VhToYapsIEFe9T7NbNVJIq9gtnVZI59O1XkmKGlGohfTK4J2hOOQ7fhvRoyEWMLqXAk8Zuaki9vPFE3yVCFTpzVC4F794y87oYzpp3dN26p9xSZJO5F2zRSaW+8nq8pJzIv4tibMBGLWvAfjchPQn/T+fxGfs4FZeGDbSdyP7Rv9y6brNlFX1ldXvZjARZk+Gngd85C3RklaZ+u4FuKGOpMhyvU6W+vtsE7r5Rfe4Mnt13Hm8A+sNwA6dXfpHDgWqmlubbU0GSUwGn3WgOw1xaWPcxEE/oeFV9M6wxLeE5ABHuJTcROeZOdE0pUsvSE08XjNQar+GXgG1EKD4mDdaqSCECsfjWXkY5kFCbdGV+agMQWjWJu0v+JxVUOsd5x2OASyWbBQ6oIqQUSlzKJISQ4FXqFRvYVo9EIh+9dXLCUTqJEgNuSmGl0g6DAKXHwQIbQENHGpoEbYZBDRPuNv88zU7duSXlxMV4xbYcJlr81c4tsLwjOepi7io+883PooOl2TZtLU6puRcp2IDoXAgG4mrYpl59lC19CnKm5k5LGfGD6MkWdjjAGRBlDgR0jqjPt1YuBamKPJN5ah/NZB3wFpOHrofUkrwgHw/bizifz+02GOVfw4FTVkzHtUm+t4xNBSgXErb09ye+FKdc+GLXzhBQaJIoTrB0K4zd0fUY8sy1JZsgUZCE6dp6LMT3JSLpmMnY1y7lRRRApW6LOcEv7sxKPzd9EC4OC9zpArgCfyFD9qdDxH0ROXRhFrH19ss8XlNIX9JoyheCgnnJ4R6bajWD/ughCBDN5t73PCx4PYgZRj9P9hhZiuZc7zrX3Q3za3iFbJaeiD0krz7oHjVDlFktkfj/ZMMblL7HgQaSOwdy9frbyEnfzQoTO1gMiSE2JtfV9wteB/u0XMvjy8nujHQLXHWltJu8N8lXfAJr4SiXJzco4n88Cx3rcK1Pbgj4XurRM9FQRw/2NnMm5NvUhScWN9sYas4RAmbAV6qJhv6F/722ej+Gv8L0gUDj+zAgf7viBM48cPy/RcFnXrkoXqD63gGndEze2WsSWypgfTArcmCBnb8cSXSCb68ua0NxBx0cSwJqp3kTstfXQR36ahVCdrpJGSEuQIZ7+9RzNyymwAG1wtERj0Q2Yyfy6uP2TP4jiCfylwOVCzZLv9KtfmLnC2cayjYUVNelicMHnErZvyPFLbYXp4NmzPbaue/O46tV9Ac8vGFmKClxzvklUzE3MykxhFwO/635turJlq/hYZJ98joUBXlG9Gs3CvMxt+ActaEYFHTRH1dIqJL6E0P8XTcVXWyCwfdoX4cpZHxiQA5l7zALmmkWJBgQDgKbfwEydvPMwJySwmoDJgheHQLO52f3LRC4a7EKYtNMn4pd7+6QLmJLtjdjwz858Q++gBfCR5ojQrc7hnGhABjWSFfs555ka4IKSPjm2DBiE2edHktNVrfalc3HJjsxE59+qK6KO8f2dq7G/C4/TP/Yc3yUlpUmdO2/snXaNSn8PDZtipLRFokkQ2ttgghWVxI6vwvKFlVawnZe4u8eQSeq3VzypJuhLTTQ0bbFw+b+drShqTj7Qfz+0CB0iiDISe4dW7G/YevdXMS1gUhOUSR/N70st3UuZyrrO3chzOI9w9KOur7HMUmVApFDpXStE0AnMZW/3mfW/aGWPPz7U60IqtR9TMP8t+8RR7xVGuChT+3HGxdavs7psw/7C14TnexS5BoMa06KOiQD6EgZ5W2tCmMgszRBNTfQ4ss/x++/UTvbPvwSRQj3+Hi9ep7i/Yj9hWrrf9btI6NHXm02/Eod1n3/sJ2RzzK26V+HIyfuWGbxfKJb0OF4DVSukeTG8zvtyNxGR+HlzAOkXctrHVZ9xX/g33pleDLvwrgdiN4nKhAxme5V2JaRPrqvMZi68ALg03ip4ebmW1CVvh05HEUyAYFoALB/NiPKQXbt6EKOd54BYFhcGzMsFhvvfl/ceotk4bt0O23m354He37Wud1iLTBw3H1+Irwf7nBayt4SZpK+GDkXN4PScbX8QB+8Yi+640Tq1N5hXvmldTQLZJc2FxpTfJenChxlY46AerLIjCjh+IS6041H8SGcf+12M/nJEUIKatDqAtse2GxCn8Yz5Zv3uYpbDu6so1G5hagc14At0+PX5NquAJV7O/UXLVoxfOtrBKGr9jAkxermqJ09TBrhMrdsL/1LXPEON4fUVqBAE9bGOW77eDyiEUeZ0AaTj5xFFGLNSvcbnMQdCx6mvNO9QjhW5LYDonsLAeIfCZ49m6lkT97+BDe3KzG+oKaSBPQqn+V4Gzca6WvWcn8rJtrORvegP9yayvps58Zv4qUQ5VgNVGJzrbFFx/gzRCZZ0V81AXkQ7p/7O29E5EncHhLUOvxiII7u+HWhl4dwuqdYeQOMl9lpup3Qa9ntG8Ey0vgcQlAdYGDfyaHbJ1wn3RC3i5h22aS5+VRYDKk7aajOnjwZb9VHMXFSrka9pkzgyVGXlpQdrOjWOEgr3xCdbPMopoD0jYm8046aZWQVio0Aocq82bqYBabDxM23kCH82vDVi0btpzU8pHzZw1/oXIT59RgjAjpDElSaZTbhLorPsNQjzlSwWyTacnBK0YyXudbQ5y6Ktx26oAOXHIYJ7R4+lMZCydjwU7rvwx2IDM84koSdb/2M/iiZzXAoYZ27Zc2D2mj+2rPeeZajB/hg6y4+FCS/sBoW7LfkMYmkE2MyPeBau1BcaoU/6x47eiMoVlkC86BLJboAvRvdSxS280E/Oo+mnGvcuPZ5OlXw8yxYVsOj2iQeT3iZ8+mWnf8S/guTwvXrqtazeD7kt2N7rigqZwEFskfXn6y+XLxIGtnRjTBSf6IVauq1bvxhM8xndpRGY5DAUJGWGwVzF7opP2h9FIcA3X7jr9D1BnGuKOb6OjhRo23uYNKDwzUK0+IgNG1Nhr6cjAL05qxXX/AY5lcHurCfxPi1R2jlz6fSAeNT1iyTVpA9hGNgIXXRfCTKC4c7Ut5OpSR8E2MR7dMn/bMdFxdST3pIT11z4wv4sOYL2YMMeFAOJu0J77DmAjwGMp7w4RUjoWfMO/kDTjjnUD+PIbtjKFQE+nGwawT/bA9IBBDklgiQh8bgdn38+CnQErReqqymU9ZKUmGAoPb9aD/ePRCh545YLAnPiP+AprwbidNVxAPecTSnPwDSdH4mPn0M0C4ac8aI+FwNQ63jw5AeFGCdn8fvKlgXJk7JA+12JKo3ccEpg0StqALvMdq9BaKnf01DQJw3lGz7B2Lg7gUWy3bu4Z4iFC/EYjkMkJCq7tYDRrQ7/aRPNNi2t8vZqC8D1Bw4lmd51k2x6dI/W00ldchRSgbP8slasQP3B2KhseUQezLS/6n9HB2ob7bmqsBr4nCBxpQ5E8H+ehG40Dt7OVvR6rXkh5F8JFwhVagTWKu/QbPbanCRXwFr/LTG4lcyjWEul2uNqRz7hofN6IalrIHKb+0bvKvV2L6z9nw95DVJfcG71GDeHF8yAJxPJy+0Y3aG7I8EFbCDKz6NsHBqf0cN5yolyoCl3sKS9RvzfHq4R3fdNcX2iIzcRjVbEn8c/srxppxlEJd5b9CvNhYIyV2EPNdUzVPxUL34i/whPj1sN7Qt4YL5MV2xCQsbYZXd3OUsUhhSWixyVSdzhRsT5CQkeuVK/qTfhPYWIzN69K69gkg72mDHIPXDDJKRVSIa52mvE99S7InwEZyJ9+9SuwinOl/XML3WJEkv1h0COtXoizwG7EG5PI1AXIOrp6yJ0Ul+bmicTfGc71PD+8MTNcupXp4Zt9wuKjm2Bb9M6mWLne0f+29NBf1UD99owW6Pjsl93BmB3tnMmrzjDgvZLKuI60/eFPVyUqLSCkEyOb4uB76L9RmaI9sN5IdcNKsfW5mxBRxmw8UyhIhL9i88s5/VVbKUWNhBfmY7yddNreHTsRGPjKJhOM5eILdb8zkTxMVaHLxgY3Nv7Djl9fq5hcl8pMUXJttoq7v/4YYIZe+bCCrKpTv3zuZO7wEmW3DYsj0yveET6u0q7NQwjomjnnTwjmZIVVSc5BgOj4ibjNDQrRshOIcdT/emIDm4I23YXzu7jvjP4g2WB9okMlYmeMwRc1N+EEXmnMkpPnmTndwE/ZUCTCCbACuqhHUGKXFHK1dDvbOreNiKjg6pPrlCjZw/Lbd4O8rdiTt7HIPsQjrQFbvKRbuinY+IUc0+2q2ovemm4ZyVtMylU/TxQtKgJmatHkI8pp+m7JXzy2SUxEFOHaDXKW4oei83zSKrX3Kp3kFnXVIZMiDaFZGa0ggaYhYhW0ewtYCk6pf459ZvF9VcpM8mqTcTAmpme19tkrhCquqqMNcOxp1OFvZ9KOw591SIXo7R//nyxOhMpQV44fov266RaeVKQFHQfxlMZV2nCf6KUnBcY6EqjGLsJ04tn56lGIciHKzhv6wiO1hW5tP2PxL/vB5uccTZ+GYkq/fmRgG+ZnYP4kcwGOCC4v9YICT1hdKtuL1lDs+gSsz3oubLJ3pSZUS80UNxcWLJriiKnUWqB6eb7FFKDsEd8YAeyLdvSDva0Dm7A1SxpZGNTZo5CgMaCMbjPV5k7zz+KF6h6Jys24TCCtXk4lkWqdxujVg6Q+LIPa9l0pyOtjnRgflxH/mw8Fb93GEW/dTPrC1diQfHoDjxd5wkrcmDU6mDUIXfXgRh5G+tLZIIRz1UXvb+MOK+UhX8mK4quCkWoKxRppMhqnhMYKUYakFa17QsgcM7cpn1FfiIQogUiFwAhO4sisROm8G5uIjNpIxbqGv5xz8B19HeFicMjDMqdFkfoVGgH62Z1b1spplYC8UW7Rg+yh+y/svtC18tWmT2HcW6779YDADK41PksoXEpcddeYjmKK7TQie2VAmOmRIfEOllXYq7HgxRi89p2l0gTqF3HquNfOC83+D3jp47FOGNqkYbVHXUIQll9uwLK0lceQEQP2haQb7r5ZSr768VKBzPHVarKHZC/V4GPme684dLxz66npUbw4L8AsaLOUck5JRZvGkfnlrZxDlaLI4/QFxRYxJzOhz+ugThoSHUvF9Tczl+o3VOCSJ6cyN5Oq1nPOYuzAZ7Xu5/YPxTJtjVcNxod+oJP/rLscC8bE18EhzreWvTuZR1SM6z9gPYWEqex0DXO1shVohAdY5/jxLiSFdeAIKusQ0fVHMZHpGPBRietT0vm3NScQTaDDP7K3pYmwMY2iayUvTeL+Lm1dxL/AP9KVuk1oMYyACxDi/uVVQ0Ulebu9vf8opcqd1EB/rsuW9kcbxEhkKUtd+sw2TVx34TBgNNnUTceBUAzOenmyMe+OimOuwkbuKFfnust6z7cI1qn3Yn7zoZNnROGhuQD4n+Hs9/p0wuxC5ZBmnhCKEzAx6jlSWph5JgkXEI2M67O/KZiqsJQnSXeFbIxH2MKqF/EHq7Dem2jczJJeCQs3uEM0X5C0ostGLkah0iTjy9zzKuxO/lEGqAS4TDRWuS2j0l2cKhf0Nj2L982Gaulgfk82VlZLABO0HswDLFL2f/nwRR9Pq87dd3rPW/lLE4VU3bR52Jylt+qcFo5dRpGzj5hRlcuV+GnTwskVLJNPkSToVvdqI4nqXK0ywZUeIwdjeRVhX8PHUYzHhvJslEgz1HuGFgIG9TJMqeiswV/VeFqbWSotOxcyK6VERBIZJ8wqVfZn+d4QDrS+CUNTjzRUA8+yeTyWnrLbNDW6wcDdjpX/g2D/UXhRCcEG37c5uaVkf/iJAsxZYWgZHkG0Ia5DQpXpSHJG8yiZkgISOtl9W9HWIiFTfL06XvXNGtI8EL3TqPfZNKdf7/l3q5Xw/cOOFJdRUREWYLLplSHHwUOmc9poBSSOWfof5lxFRM9xe5haOAMhaUoRFjQrA0DQpfAdvM8Ftk3ybysQYt7aqoi7xJSYbxiKdnTe3HZx9V6X6Dda0Rw1vAdcdn+KgoWA3gcC6QuhQJQtItMpOJg1UcXe7kLnp2lLt0Wpp6mURHuiMU6rTNC+j+o2yZziW36bZGCpUQzmsh2UrblwKK+8FozaR32i6nSXysTphPe0prGBRVJVhZEB8tgYBzw2XzfbSKeOz/iSTbyiWcwWYtpDcS7duujEb8/s904bY7DS7VmscIQuvZ3XqSv97jpHlGqhyZuL0Ps7tGy5PCNytY2Al45jOkG4cEKZNFJeeo4Q79vHpj3zZfOOcMeq0PPwt5Vxuj6Hy9jJb2Iat1evrdE+H7XWoRbOGXhCifbqBetWGrQ9Tp1aFhHHUCjzAkOX1Ikez5+H2ZrLwSOdWvwnypvupHK44YO7EC+T26JO38b778vKCwPo8KFDcea+T1ysTlicm5Jqo39h83zsR4+g7H73adBomcrCk4OqIJcEzOHJfnZdcx2uGp6XGI7OROubdZhdPW8vQ1l7PDh6avlF2lx86+xbzqUGzO4QbnHKJSVne1tl+mkMoW9XXGQbtJqC+L8Wjpvop3Jw0SBUabNYkGppwmAOeXMaV/38TH7BbbbzdRbWHd21u8DG1+IIMUW0bkeub2KjLHZ/Jq+8NQ8zyVafBGem1kFZWNXZlzO756+ZJX5W1/0Q5C6WUDhtRIb/DzoIKdLf1/b6a8aSh1Y3c+QaXWvCfI0F818AEk0ds4TkmUX4Xza8Kt7ADrwDCQuQSsuIsXTo2VrAKx2wnlAs4TcfdI/DMhUPApQgsc4XTfEpDUXo3Kcmi11qUOqszTc/oML0JlG4l8ZJ7uGdmx2s0au727ALLhNPJp1mmqcX/ecSr5e5igSmcgl+adDZ/PnaTTOcbC3LVe/GXDkC4pxL9xDqrh5Kqo1DQLhZS6tEiCcShf4awoJU6wJwqCiSV83QucwI95kq00epI3KZQwEpTHDGexNMnC1rhf95Zf5iW+5NznoMauOcIrCUvvzB4SJC7YcdgNjtUYlO8LebfV6I7AU6NA76VeXhOFpJm4KZYDqhN4Co5DVSgFR7ztNZP5yrga+Sn/ZTUtWvxXoIREVHIOvns/a6esPaRlRA31wkSAj4unl6p56zPag/Vp0iU3HpxnAHouSE2SywX9z0gsorbxZxRQyJFwF+U8lQcoXdOkS54//N/o9zMXVf4XZuPuTRtZwiEPaqwyvfZM5D6GE35zqYrbg0N4aYLblcSi8F1Pnwv6c7BwcL9Su7cqKtq+BGfF5jSekimjsoZ3KLfoNLqQCFkTeVsdCOWKhAGrkIGDIoK73/Ot+T2YjXNqzB+Qn8RmlYZuShu2xP5oj7sXXBZPxyOIO0yL/I/rtOSKVsCZvNDXjMPSuFPAEGUIfIptBu/69cpHHqBCWHxhW2JtscE+9UzgOKKaFjeAkOY6IAsyZ4eKhqbk5Wp1/64LGClW+vdUYkcRDLVadxEWy8HpwouynmN7K2p2JyNllJwfDBojNOKR9dnQAIHpFcfbba0j5cqV45uliltCeDc/u5pjzOq37kOfanuMRuq9+62QQnKH+InUI9eKzXjXra2k8dKJ06hZnde7DMILZspojsLSn58z/DfGlTunwgdqxfXgcBTHAtkPOyRpknOa/9Sm2oG2CcIF9nhUa88YavwkwDHvYytnldPROOQi02Z2EyfD6syIpPOK4C9U2D68W/aQl1MN1elkyiWPYbGHwcUqAlkub+PhSt3/PUOfhGNRhbgJw+U1LJrhpb5Ec+wHP1ZEWsN4JA+9XdbEFXCCtqJVfcZSdVYJcUC/u41/kWnStVEP6Av3ZGNKB83X9EAyqtlBnTVHORPrbIOkkZbeV2aOZA7INUGyCFgxMNkS5hgXh6ai1yym6wCxTGUVUg8/6ugMxikrs5Cc9fP8CuE8Prkt6LUKOzYyDq2MwfMqpFkvvPntZoX5a0K8laHqIQw02ge6YKH/4CpFII8ECDadPwsP1xZSJFRql0s3W/DwBc79fCRjEih+jn/WKx87O0SfWpEk11h0XwVdULpNIFz619vRwskW3ND4pA+wV6V88UruDf/1n/Ovn5HErPt95Fnb5nZ4CrCtkcMKEq5Yt4yWDDuQJjMq/ILFhAOyLreHSt1H5NStTpxRr7BI4dIvwJq+b19+t0qZCovm36Z8hOhM9aL3B5k+hlaAiPPakZfhYsKDroqclsnyXXiEseX1YbEIMOh7PX9i8/j97ou/FizOJHYFDC68ZTqv5tbsSITcdL0earTjsECQ1PWQkNHKR9euZ/GNEdV3HdYUfUKOtO262cEqywvnl9XejYfaV7/lWt3rbXOoMtyTJ561ZvvtWmbh1k/jwmRyIvEsNfBJlxS4BXgU/Da/TtpKOJxmUYXTPknnsVcxdW35A1pzdGStW6kUQAQICZAQub1nelQXB+NrVimfhPXE26kQb/kUvBjW4fqLtVonq69E81ncSQDABWdppA+rld4rPEIC1XNAzxsa4x0z4yxieiL8/WPXC9wo32Nnpw+ri2dF1IEg5nSCgpRbul42XqoUikeGnDpndAEu4NFF/XmwF/1K3UCN8G95WdX6E9g3NusjQ50qHuy/48IK8YnuvfOWgm7tYAxe3b0px3MvOzDqVYbNW4Tz9rkixvKYjv7rlMRNW6pcSpStXFP8r5av23g5ZSOWswKIouKPHvpZpsJeyAadvW1XIQMHIwm/V2f9w/zMAKt2TmVVQyqc3J5tqhopToEgUu0fJmZ774Dl0r+KxnSV7aW1QSWsB6mTcgMsozS+urp5x9mfk7ggd7WZKQnKd7VNURf8pSOSKgjJN7ojFeoNjBLelfmY2KA3ivK9F3SnhOsPTAZ+jYen2jz3HYtz/k6Qr6t+mCTASgnOodj5mPsjwt57IVN6b2Rd/I5gguMFSLN7zb9gaV5vMZbDkUNlHWI0Ah2SAvBgtbvjyWr22tWXHfXxa2TdX+0R/Hgiaf1YTQSkdwRdFyY7eDWAo0KbY6mPU0s2KwTn1zmflpRDlQyRjIhZmIRv4LjGxoYSZVLuzpnHfjNmSwbyg3grbOC6xSDFJHArys/dzGfmRIm1d3l8qKJ2Pwsbm2o8/Sck/QGKbjG3vctLV6rqCDqBFUw8UJ15+zW3a6mf6JzXreltNq7ge/6tiqco2KZOqu4H0Yq31GpzobeRMfOEGjFYMA3pp8SspHG6IwXbkyXM0iGsH2u/NGwn1V+4Y8IngYsSy1Bk4LocDqXKtI9U0FdMN3pOCzgnteQYlZ474DIfGdBU4f53OG3wrH1kdrveviMFN1fynm/xjp2tjMiCqVlCFcVnt6yjRamqwnCdPdUlhYND+6PiHCO9+zYtDv/rYxv+6PM3yBQbmFkMiRUOniDM+AaHexRG9282DJfhqma2ohL9G4WUeRT8XrnmGkjkEUTwQi0J+v7JAlH8VRaLLIOo4L5rUZ7nYQ1+nIzdcIZfSF+kZlS/hu5pEHe3qAHkmLVmMBvXFdDdLdBrhCQ6bWlRMnE63wU3seZHhaq6s9io48zSbtAW8hHXbWksa7THJFdoESzoDgq+lzo6JMczDt/wX1upg00sTWuro7bH/hsRjdL9VTwh4D6kVgqRwNRJ8JFJeKvfLENeGO5Hxjwd74e7LxDtj30efXDL1jPX2djLbDf94kvwLj5y49yUD1tsrIqTu99IbuZ2LPYpiBjL0RDqdW7NEsJdfIQAKxKQMkVLyJYeNmk7D1Uy1Wfbe0uwFEFAFcs9KLViHQt7foDU7+7InOqRKvNb+rdngYAyguISVzq8wgKk3nx2qbPDRJ1JsY1yJ4jzCIgmM2UP6De9ARqmQH57ZrnSsxobgJpnkOr02iPyvazJSfx2ixnKvNhFa8TIAZtTwxn9ONtYIQFIWoQpoyCFf1x66mjM9YL1VCiM3RJLphxH2na4Ry+ikANeA3pXAtnyiMdxMeeYp+a9uhp6IzwDOUk7FLnj6PltSybtnhVCgdVXz9jL5ZTX7ouGKJWNE2O6hyN5ZrePVuPmw5MJgxde1vX3AoqpIBsQtRy2iO53hRtZrKPk3M/S0ZeDHOZy8hM9juyGZMs1ukUiGu2VpiDhB3QOzQ5mW4skTsD+lrWMZ7dR1IUm64ollPyfAkpaqfkFjeBPsd3DY6TVA+igRe8JhdR6aK1kkWiKYfFK0cinCWVqzz1puempynPWHlRDWjzim9fUtTVPucW9Ti/TXFTj0cq6Ud2zsxv63Fkt9/AXwWEfYwOdkgHb/s4TFtN9t7L1hRZ18SLt0DiBTxTDS+h232JmVS0hdDg7Rptfso46uTTw1Y4Ngshf9mp8sNx16tp4mKzWZ+moPVfTcXvrG42aJ8FxQH6DxEBM2bYeMr1Y25waLXvAl1DzSCcY33d1LyUv7nI1JRho2iKqutsPze5+G/xdu4VZyaT/XhH06cjrytYSk45XdNnrFBvSb95GV1tSek4ZzZyOZv9ui+NPJgp/Us9Xuj9V6Z8xvTIIyfigVYKs0QmRdpfAv9PUS8A63vIIw1VBiQsoGvxhNp3FUYR3BwpbY8jXhf4iH72PLei6s9igCKY5qY+wQucSmmJveYDpNs1RQjCznbj0Zl3AR0d7/eaE5VsscxI/W9zz0fvH49T0dy7q7A1M6Bz8CgJP7mhqNR2+wrwXzj7am2e1bjLeTPxKnHgAtL7mjlWLtSq3rQfake9PW7ZyCj1+DOG3RaZmPFaLJo9HNAfshPLc19LVl+XW45CHhfF4CixytmPm/YO3+yDEkZLJ8QglHcGkMnQ0IJdvpm/2q1kgCwpVF5JD8m4M/uJdEZhFzGYFt/ZJkT5F1Iw0ayZM5cyYhigJEup9vOL++viBYzDDvlQZC60ePhYl2rmZ17Prwd1LDH2Fl4eMq/AAOdyr/74eCSWHpdf/0KU0u2d4lGM02DxVcco4dTe4xvkgxDrtiEh/BjGA5GQEKl2otjn/WAQxT9FSBNAfaTwHCbOY7COVOZa6kQLmqJsIVPBvdoxORBy3445W6JzIvYBvdtxxXgfr1tfrJ0CBIkVA7Ey0YzjZUuJdE1q5UQeckZmzjzNPATRiW2jik1R3d7BBw1DzN5i0p2OriASb+xfsCD7nfXAxYhmFe25Q8bujjbAFzgwU3MElWKgZ4OkeBTxQwqqaH7GdabDRb16Q6ivjn3J2hD0RbShEDKHccCyBzzmX7gjDrN1dRq68gTSkOaxJUhzA52KhxmlGYua76WwaDTy9lNWrfvmKJB7bPk2ljgc+EDrPgHGWfREIUdHfkW0cQNLvKn4UfyOxB+3l2HoNbFX46bSc1s809tbsgwhqbuzyLirtUTyszeuXb3LqgYZAfw2+NXkvdRcv3eIc7FwyKl06tRn/wzpa/p2OKCbLRRlLJHjqGocu1hn3k+CRpjFZDo4q9fOQLRfuag9zCK1C9otf/fj9gnYzurDdIekQTX41ZwbIj3vdyrphjOoAIa6Sohqu+ac0kZx7z+8Od78NRV+mJ3o/am6FTa5FQVI2U5Ei9qV7PvTbLgVFy7KZoUvGCcE/p1Xo/CczZiUEUeeZigliPUQNwz7aj1g+73lbTxfB5RKZIlqVfP4bAbBwBkV4Zx20tUTk92B24gAW6WVeajjslqxIhdVilWC6QayO3PUbwsXyAPP+W1Fhz/7vivLLLrwSm4JoXeLUScWDgvrjT1Jr8tfMevW6YEr/MwfSdXkpB/hqUFixslDBWJ0WYseXgmZIMUGA65dbayWISc87muDYcgwFDPdzYuUYR3bkq5ftLT77ZsuqILdLPWfakz8G4UZ8A3CoG9PaOSAKOlFx1ahFZGjePn+OfwARwbBuX+2p5g++QNQn5DMhhFVvcyZQaIyYt4ChVEjGnr+OAGQoyLNrhEXU4FGuShUGs2j1TB9TzWiOmOlKL73G/ENwNQ3wYDX0J7YUZN2jAWIEBAcYhGf1Yd+M/YXCyWdEO6pb8gBaAGDeN4+/bS+MZ/dEqqRNbSqWng207ToavB2AxeI0eO/trn4LV5fOMdt19+le59ALs3zohK7Han0CkPD13avLHypprwe/uvznkhFk+lQHs5JihtfuYwTWHh7m6Pc0UKZLh5SE3gIEvlFqu7WBcfiUuCOOIb1Znd46Bui/ft1aldqStDHz3ZKRpVi/MHFheZrqbpyZgDhhuP2NErClIF3w895kkdaWGsjkjkmQOE2BELDAxsV8nyqcGg5CLOWYuKHMLl19H8W+9e5yQoVkjoZPwrJKAVVKzoMSlPb2WjrEbquwIirsqerFFXzlgAXDmt1eN2UQts2l8A1PetpahJ6QrCtuGDv21kF0ASW4dF/bXcyxA0yY+EX77oNK3h8phbD69aEB87lFXB4eAsDvMlcyiJ39QkrB95ghZrq5jYX01SkjZRUC/tU4duOSu9Cgu7RA3dggfKnAyELjpv/awRHPE2mj6vZnRWEv5dVOfy8l8T6HMCLZgk93tfO+ZrcBeQ1gmHGtN8ayK21PN0iIpqqI/XQImtFkfpsamIEVcW8/3jMMyMaAnczgtHajdTH0WY4/AkN5qaubQFMVTnlAJUzradAGi+YUcFZ9k9f+fG58W9Us2cKL8oRNEkKGDkEl2PcSP0aHX2g4+VkuGVpyAb1fF5cck27UAlUwqTqHOb5cE5ZBM/9/BjayXC0xiE1CER1453mTs7LxEhv2VGElUQfjHIxQMFuyUZu3e52Qpxk9FFy6ms77XC+rkxQKT93RCNaqW57+C5PLFh1YicRrlr0sCw8wNGSqdgjBegsZp7Dvz/yl9pKqSTQ62P3EqRq/PjSimKNizi74MYbnuu+8izX4XhWLYISkqL6xXRkUIBdJWI+dkw3IE7Zcp++eh7W0wyxomWL5XL4Qi4WXAbpGWagI/x/DRMpYbPDcAbU3DJVw6g7RriznCarF0IXIFaNsOQ8KtzzJStua4MWJ00rzHmJd4c2ivpLyU69zWF4NWrleqR2BjLE/AijQiiFjWa++T6oPki6nwcDxLfOzEEh/RdmarM3lTKL5qe+plxVfvTRPWMgmP7/7Ak8sskrkb25xMzowh08kSv3zypvUpLLDVEmt+zgJvzK5Nd2cixP1IMQAp6zxn7hicj9uhT4mLZP8jLK9WFQmxtwp0XyZusk/krBufViBV+SeEt5s/+wdhWGogZuey6jUWTf39ZBZ9tRE1VadvUVZEfq0Sj/s9qFr1Cj74/HXJAnchWWEDyESiyOqeKwA5zC2SUYOhuxVbfRPRbEdyRehJWY7OkswFuIU2iLao8WflBFDQvy6c1ygx0WKOUIN3XeHhU0POr1rSjBgor7ia609R8IKkOlfHZPheAw+BiQyKbxphKD2lITEyj/oLgjFe4PLvQ3GXtP1bt5pM6PCE8T2G48PQ/m9jpekBsWfOTWn6JizZHgpccA8tbrtkOqbYiIfVDmThqnutTU1ncHVPhRUNY/fh4DFaFk2eCXlLfqM6QPokPN+RQTXZb8XDa4Lv0dPJyZ1OaMYldqP+7E+kSztRt9pnauE4nmt6l9XO4I8jJfmUsr/X/c+hZZ6cq8puFOi8T32ov5wNAtOxHSEwXc2geCgIeH79ALom0BdywpdM1emjlq75gTlT2wRWTEFgVtzTnDrO+kdMtXy0fOvylxXqcD/cQZ8d/GyukgH5HRYbgzjUEqdKOrbyBaa9uBB75CC5FZtM5VxItqOe7dUVO0rzcMMyUQTBJA6FW4Ewk+C0CGewWHFQSs/FnqXpbC/CYnP8YTDqiCJa5wr8lY0efssZ2THD49ehb20W5pypcB3i+PucjriXSJYRKd50sRAnCddZ+bLJr//c0qxucRtaziTNSF3axQZRVoGiTyAbAXyoKacfFQuk6lOXwLEP9FfhFN+RHhy0MCLQ5XEA/mZ0ZLJhCxYJ5VEBfTUvFyBvgO0saWNRi88y+SATweSPXVZ46XI/8VOVAniPB4cunCYj6fSA3dQlGHpDg9RVevIoqtBFnvr0ryxpFEBHnYbb24FsHqAQvUy+XjqcIGiGPAAjMVbIwct+d6i4XJl9IwyvG7OfHcv5bf218T305ideIAvOGm/3gdxhGmh3DBdFKghM9eE7l5xqOfmjoAREWy7bNkK0HDQ5DquwlUhJF5mJamyq+xIMDnEEoC3RX4prAp8vEAlGtOwJu1ELCz2ZyghEZh8zon8OD+14QCSJPXIGn7OSEjgSivwE2omT2YLamerYSUEelnPFzsRb64GRX24JtYwi0knYnp1hcEXNBtckAKEfu8aKrCP65+PZs6EHZkSeHzirw8BvnTxgxXptryuWgNootpc+1umKxco3irPx0Bh5oRkV8n4qKeQ4+kAAC39TjmKuyFgPuSHnjaS4PY/ALlHhwxcWlTKOuuNJdsTolG3UJdO52UMIFnGIQaYURtyr52u3Uj5kuAl/QhYYDg82l1xXcDltAZUSG5n5q3UKgKMUGr6neHeuJYMoJmFuviGPGZClCzIstQg/4gXEMAgYyAgXtBeOGS2Id0qTWz6k1VDw15eYkguLLsJt8dryeqE/uAUVOoLPd6GGeVOWFJuCmLPojge7KDndOb18b2ynV+fLa6Thd89GJz2nO6Fm/QIMyOkjGGlkLYPBnK0+E/0AgF7Ddy6LN4je5jftRhNWU1XwNluWhYJ/+eFosxz9yzYpHeC21OlrSPJSIODPZusak3D+qt713SiEw96VozOn0BMrsjXHW+UVugHYztDHL1TStm2Ydx6npqooS+84EfUNGvHDd2ty1eOuNkz9+H2RzCGGkSuk++TcDGYyWejPbvBHzPTEIhIz+AdRDDtHFvnaJA90HPC506VaP3HnMEbsIAmwLmexPa7d/Ac9hSw/PnJD8N7J/A03mRZrjOfM0FcWKHMJEcXD2yIHSGsI6MMOhXCufX1ici+WW8fKA53P8sFkcyQtY/HrH+EIBWS83CNCyMR0E9sfC96cTf/2HNOCSylh+ybrt1ugmPVFX4jCgFGIFDuHqBmKQJUGn6QicR5yWPfsdguL8WATZZ/qv3rQ5fQfSHk+77O63It94koRa51NEWlMDmRvNN3/4mth3S9JC1K3sQKkzxs0kWj61z1WnzracLC+e5kAKlYsJeHC8W4T05PFUVkICz5xDBYNaYH5gCz1whf5nzjqMNfbz8yZEW4AJft+Y/d4/4Cy5MW9lQ7m+y3tMgeleKHAnWHdNWKWl0iRIqzmCp1f7yQDRjzXVbzwcHyfiwnKSG603eIoESWef6ca0d+xw3g+haW9dhSO3IY6fSu68DD0bYyMOXpbaSTf93Ob50rS7qBe3AYIi4v6brn75/WmTUu3apMJ4JE6bc89KoLeyU1ya0uKS5TFF1EPq7FGbeL1UNwgf2kVSb7vzk0osmOU9Br1CtXGPObPbpOJ/7y4DqQOwOAGN1ohmWuwhXvGJ2VfOnZsG3JFk/A3kHgO5ekv4XqLotLdwCFonP1vi9+DdGuaMr3i7viHuF5vF4afKbkfTlMV7cqSTHVFwBvhHw4CksEOsAain90sWePYqEvOXZU9UGxlTzEsNP1mFdW7d3Ju/K35ltyhYgTq0Vc4JYpJ18t8U2ph2/VhPJCBOwEEmxyAc82dtTvWRS/8ZwKZOzAPmZG0iI6RlgcasDunD2Wgmtr+2S29AnxsMN1O+QRb77i2KC3E4tlW7q8mvT/EkusQEALxsSeqVJjt/vgnel/7Mf4d5oQZ43KG9RJjZAyESc6OZrFi1ShDGG984vAt4lQAxxfeD9GOLwM2EcGiG4ZpAhKxvpx1Lx3GfdlMj+Xs8nw8DXJfhF+QB/Kvg8/0VgyY0lQ3iRe96+z9/OLeSwXnhzX7bqQQFHyHpJjhvkQfaSngskG4vsMWKnR7QoVOllrWZI7xNyJ0mobBmzV7VZpUmnc7pCOx7/ERRpHDGWaQy/d63iRJ+upakjs9o+GFrOS1B0wqDCdYUrXkF3rPTMWufdUBtP6Z+wXt5zri8Zpw6RMmahKbVr9jyYsQK/PR9DBCRf+7AcWHAi296PU2OirRqCPdyvGGoorXvlomcKbqMqAnvZz6/RexOy0BLce63t9pz5j7TXnQqE1i/Rbyf9jq+jph4/GOLMRcmaHJjZetEjyRRxl616QRNDzjbEVpTw3b0b/oIUJkVGGyMMO4jzxeGlb+3BSZrly4GhjfbyQabBoRkF+b6XPrZVyptNNytcCXdv5NtFLrHjVv1aTyPXudXp4ENRWaXu+bvoVLsdAqfrZR68VttqoDPId77+VXFYk6k277THgSjqCyW1xWRtqwociNMfOLAEtngDSeV6ZGRAxB7g55EmTONri0NOIhaISPDPOv4ob7EoEKUFu34Csg9EA/teP+0clnQka6ITdSfRI2N5iVxuqHRcMG75Ez8PxUXPoCLQrcxMIB9h1ilgrB74/fyS68YFOzpLkMJJ3vr2JvxX6YERTGEIPScGxfMQEkPWVmuD1CerGw17pM0r6xHmbQjF5F+GvWpKRGZ0g1CFcolNCqyL3iXKCkltt4wd+Q0h4w9y+UiNPWO1/Cw8xHSJDdnxxoM9LWY4UXAC5d/5S+TSMIzIVqK/BKmqUmGhXVejp3mvLE7KgUheG+CeQXv2F9uunXVqk59DZ61lYanz5zbYv3s79LyQx8LQrxmdhIX5y+7ak/vviswKuV/G+Pfyb9dzUUMY9qH7jAbRLw7br6P2LDyESYU/Efz5oxRlyICQEOwn+8amhtX4f13oAQDQ/3xg5bjwrR7brNW3hW/lACYnYVBs614kcManmOpSvtbNC3IARL8SZ8zyYagAiOwOuMPVG2OV5kWfEiwwL5jrKm10AiglroH/phIz5FsSLNZQrVYyQRQ/kZKAPLPqwXItPOEIFWotYXiiisK7jNej/jFPoe1Kfb2NA/PtpnXl3x7DFsKyAeQzeOt5AzpxSdbNxaGWJirKfa0095PEnUGtTLRxHW69glR2h27Okfi2wYk+0Wyghkub1O/Yek35e7kWLZwbLXFaYiD1MwgfFgEwYLIEDCOzuxfWyJ3W6QGVSpenIOQwItpLp/4w6j3rULmhXG2ojt66Hcu1q9Ildr4+SCnsLdAvxGFTIuESqQsv0fryRFP9czBeRdK/uMl8Qt5UnjaB4NK5Nx3TTCgJHsi6H8s5el5Hs9Nc2To8dz3wL/1qvMBtWwCOtf8tm72NYUG9HTJZxg2jNanckfT3T1BR2vBGHqwL+iCOHrZu56DSp2pncb967Eznmuji+v81y+MiCHvNiEasicP45pxDz9zk2NhjuiJ4ZWRpXIiMnVypMCVmOZZWdYxcg9gvsN0Xr2RPAkLtJLiFGmIBfqlmGFRaAKcZbJlGQQTvMs+C1nVygwGPFJpEt+gxWknZz91333TsY9lu99HGgxlKr7gtnninEv+LAuMw2q1Wltcdt3jdmh803G+NzydGXeHHD3E0ofTv1phQ8lnN7yVtvuStqJr7IDzL7dS1fhidhme0EMKM24bDhRvKsHXW7lcu3PJe4dI1KsmQRmAYBp27ijDQsvw3U7Hh/Kt2eQbW2ghX8Uk/vmJGdQxyElH38/nagwIhw8dBozONgRevrAX0xuSVxhvsCOmUiAK1ytTkBdiM5MhKZ4xH/4PONZeAn/04fw6eHpZldOe9btOL6IEyoMEXzTRtKPvTaN7VbuYbyVYoUhgKJYt8WI0IZKNAwRG9f3SPfbXaLshMtzSYpR9X/qiUUXRcObbcLk48mN0VUpynmNWDOwvCiEIIe+FhM3BzRBSiYfWIj9p7nDbgyBjGWUjOHMgYxJuGfEwBL9HBYjOV35ZDB77IE7igdSoKOKp6iKu4yayREFt0h9qlWhHF1SOnvPqyJQQUTB85cUQKIi1bqdcXTGxwTV8sVw4/yyGJF2okDsTI4etvGA8WxO4k4TDbiNCLXlKuCEyfONVwwW3VzzrQmKGjfTHyMtstQKJB0e7uQfNfKXVIQndCzgnPesv2enFeoAVgKrR02xKCMkF0oTrQfQRUh5Wtco4tk7p/UJoQufggAeO4Beks0F9pZEjW0jhSGXtrBzgk4pObXZVMokOZ2G2Wt1QhKJaDo0E9S7dOGRvDQzcgLy+OXEHVPnRTHDTkQPK94Iw2W0ZZaf2X2EHgqq+BZeIzAzjtV5O/UMrSb4zwhDngbmYrnTHDNsAS5+lZl7zp88Du462/MNKjvUgDwzZ1j6hCEQVartti0gUdyK/70NTpZEbRJ0R8WhT7jGoN2IVEiIO2h2CuHfcWZ00J90HUTPO39wWAayU5lRmHnZEpZGLQOMaFgH8PAIwelhXd1Fh++AFShU6+wSQOzldWx9QZCASt4Xtypk9im5JUHnTXupxnb11WvIrQmBWXUxHdvUyj/STZJPTsQ3GEcEd5Q7/bbuP2trTlPex5wNm/+3M+g1zD0B8CDmHoEBDP0nmxKXXyYfaNwOG8KuWYztXwVddlEt0CT7LXRQQO1Uxl51scJzN40hQXQOqwPogTRaoyBo+6h9C3qYkG8NIPCVROcw5H69+8GujTwAjhZSkNmtqE2+VZBSruy+dfuLl+v/xCviEoWZqpeGYdBUBIk+HDE180X5HoBrHt6eOYjYdY81CnmNhynoICD9spkK96xSKgPia7au/toOFV8hQoqLjsAdet9vklhkrzniMIHMWc8Sr80EvOVbthafqMwofiB7jS0U2YfwM+qzBbpbPVWFd3+RURpoEDPBmWw6jYP7Tkn6TjOSrQcvRatUmK3QuH52nlSTjy4MnzsDSPJZyQWfMOIc0Vb7kQtIsaYclp2LV/OrxgTYmnkOzyxdASJbCKbjKYpF41AvLgJM1/0p4mapK3C2cNmMyoKfpoNPnaMTVU/EdS7EjFMI/tM3+CYYtwjusVT3gSIpHbFYcUUqpcCY6tnleCF94QkAC+L+Rm6Hk1xlLPR8EfEp2ZysRTA+q6wTM7EwlKXjy/rTS6f/ABcOvU5/96G+rsno8Icdm3RBhex911RidNimC728FbJ43dFWM5enkEZqPYaZ2cIUvtajebc481oYX/jLs1qeMfcKL4Ks5rLgAtbnuyPz7a4L1LwvKY2LUnqR6nlFIMAoUMgUVHQQRiBktNU2xETC/vJEer4DWhvlnakGUy3e8PdsDuEYM1BC+9+eptzbZVpAcXZcOKaV5XpJgfLNCmNW2edUCdlkVHw7QFl9NX8n/9i1NAUb8Rvr94ClcVnSciY3qB9RQaZ0bOQBlaWObhzEZ42F+7Rua36uip0ogRaWn/mwTWn/2YAtO+UkJEgn7DOiwsS8vx/vV5yP2oF69PSXpeP+K5bttS0Vv/9HUtw8obB5rjZHDUm/LshbCOkE2qo3fAheqoqtVH0si2e66mA8UKAHYt+8NHmLZ1BF2OeqIjk9dxsWdovD5XiAxUtvXxwWcqQ7NvF1H0wkeiq5nx3XCx7xWq6mw8O+0dXHAPVpDkKGGvPAHXBAvcVIxc+DNzVvcVFY7ws0G37m19GjVHiJ2+cc1ZOlXJJOd0LsY8Z35OX4c55OtZ7BLuNpvARAbCikgje0oBeUCcMVxMAkKFzmZU5jkx2zf+dO9AMVtcojxvjiUx6goPysI3VJc1Fz3xutKYC1LbRId/gAb1tEVh+Y8fDA4xxcKYSDgWq+6sTbWrf1lKKaBgvYanJuuh9i8cKSL1CJmCFJQlSgPNijJgIrFpisaiPDBpK8WdWNySJrgqVzz47dKpcR+PSsy42JYyVRibTwT5eRZ/nDkgxTT/QcdMLMpFcc493d2Cs4jv+uAN1mGttHeBFuYeC1GGU9lmcs7gSHNI/NT+EHJloaomH2C4fGd6rtzYP7yrvZjgt14XoBg3ozNexArWStVv+xKkaoAVxdn5W5Aweufi3sQSJlgeHoemrcRpvzUJobT8bC4G+TM9YCHXtDbaWRUuec7I/3zq+dhBBLhO9kxDAPKfZojRHgaRtIbAVm+CTMbDGJsh8vCKP0WQfh1Q2PNpZk47ouySNS91tHoRoY++GinbbkZ1vPh7nXdRv31iDJPH8WwuiLvhhP/Wbol9sid77CivA0ROSFAvdgpo73rC3DcSloL5PA+pLYSrA5ymwlpyB2aw7P9m8Wwuc/pOuoun4upClo64/yqbj12VCSwEUkpmeLcKz0WezVdbNJyVqO/tyqvlq7EOE1YGA3288pLL27dKlUoUk115wKWBBpdtlULv6xk1xju9s3BWJZ3MKBPKCt/cdH1Xu07PN+G3QQitEDZttBVhzH7zhuID18e4D6ZVpGQB+kwJbmmtuxbm7CxktZRQtv7IhO7DN2dQjdGEiQZ5tPOFBI/HIIdGAASib+Sp2zH4DvdCoqx9oSdBKJSREUaOorC0Od7icH4lFPnCbKH+uW/cLJnTzo2leipIyYcfmwiYjVDKVGvCOawPohX8S7dovN6OCHS1EpMuKpQk+gnWOU+kfuuCdbE37qonC4ys7cC+w6mamNN0YtjXNjs/U0r+ZtRihurUiOFqwYtXH05WanEcPjsMYGAAVcgMTcfOZP4JT6YsUHMswphuOI9BTbmaE0glrtNrkLsDTWl1l7DC9dQMDsRagNs9z+Vs2dmWyUMj241Q1GqWQBr5d+6SbUzWZn9QeQezF6UrnrtvK3nqgSEblZJB0NfwPDufMrVjhPmRjtmBAy/5OS5rGrF3PBBzwhZr7g7kXY1Gd+khFOQ6bOgm8q3EfRy8Fkcgsi3JOU/LZLXPadc90cVvgXYlcWrsCO1d3v9dl8mu6b497mj4QbyFCycUDVX8qmcZnkML91iVxXhc45UsADCa3fw+B8H/CRymtqFtIyAz56go8945VAroJ2fu+AVr9r8lO/THKYa4NT5RD/MOVYhD3ajw4ep6kikdH6WU3jY8G6IXE4TRVuq8N9vRF1uP/4aO9rJLO7RgH0Ptan9Z6XNVlA83IEhy3oQIPwOStnzQ+X3tYCl638Er3FpEfO1oGcyWrSqrN+GYW+btncGw/dYKXnqZ6WXZTtTRtsib879Gsm02PymJNCLXeGvrmq+Dlvf7iadC6pUmm3wkxy6+BTraKU04CJF0LHTCGefEoHr8923J2cs22TDLmTiFUDk3uQTlEDlLkFCWWTgrg1Ies0DEUoC2ayS7HT6vs9TFIY9CyzHZt3vupHlFw7BzAo03y4jdapjT2T0lfZmvrOwK0RxzpFJ+wu/cu8ct+uHP/7d0D+4MGDtf8xS3gxWLS7+waBL4nEjAizBihz63mM3qRofpYwMhRQ93YYPgZa4nfI78YzSNJRwCCScKAhWscRh7CYAvEGOnpM47iWHsjvRiiNBzjx0ZQ8Skqnnhg56TtQumHdgO5wO0cfK/uY6rGEXrzkVO/LNPV5gPCGtyyFyraqMOhJD8DPiUU+FKXs/A/eapXoY4TiJ4WcxhxdmV2KYiGIcQyuYUJHIHeSmEoTvel8n6Qw7uCD2b+nYFXk1oqkQINaJDMUZ0GwqrddaR/NJqsyHiyfdsHjhuMIvHoQKuREZMw78BgPusF+XGGEdPDElhoFDXKnfUGbvaeoufY08BBxyj8H3iiiqDvtIvjBUwTKB5DzVwJuEY96gHKXGdqgfcFeRNbvEB0r9LGgOElXRhsochUUe3ZWr/n9AII6VB3MVPRxhSDX8xDAgFw6xzxSSIlHFP5fznZeJ2n1u3W9v6R2L/yGZoazGtRuti7Mwc7Nrv9zEWqkaWljuD3AGF12Og1TjQUYz8f3/HUEgeYE2V0mcKWjuVf0d7Rzkt8czY8WMptQiryhy0eS/V9D/eH80diy3uN1FZO5SUD97iY1GZ+4M840mb1bq50tlp4MbyVBqTQTbwoW8zl1fA1Zp8RISwh6JUHX7aP69eap7XYAdnTi7R5rC2cQPXXcjSfzaqoZTiZeLLuWOw7k+80Z++PfFL3Vt+tM/ni1xxoSS9Iq0akGPgbm0WvVevH88OvZczt716i6rdp87q3k2bhih+4MtyLUEbzSBxpRQgBd+uABwdKHtRbFmwGqgV5an9BVdDIIxfb6phECt9IJZuqMbic9ZBxCsUkYiErWr8bRrp3oaZL7GGLG1eL1DaH5CPQNvbmzWkBmBLe6SsVwAANs5lnKmTILquQtx/qzgBngnFUuPQiDp7P/zPCCe4dU5vRS7uLc+YflgWK1DP3v8E/aVceoM9GaVK09/1ky69GyuUExAGrSFh3G0ADRntA48YK8ArBCr+Dr6FgtOnDmBs0KsnP3cVlE8Nyx0TK5oBiFSom+7sd8RqH40LikYHnxVTLAyzsj+mTBjh8pJhzE3+FJ5nwrw/aDySDCuwgfIaAi4FzZpTOumkAfxlNyqm3HiIQivaXRqiFu29CVzqLQMa2kUnJQsOMQMjGNI1htFCMEbL5wvlpuSYs8Tv/Bhi8w/IEkl8unC3rhz4V0QuhtGanr/MmHyR3ffvpeI5MJiidsEZ85/1aG+93DVyjSMNe6JVTN/h79xf3D/He0hYOF5xOed/hTYXKYJMezZaddJtFBf6YGawgX6xdoJqgk8TXze4ewnUR0rXa05OxTY2cjDxKOvYO9mJ4u7SqngRNaU7ZdIEnZTZ0M2c6mX/0o271/ai8zoA+HALthdBxSdTnjqDjkk3Dbj9EGGVMj36tFsnoQG8FB/cNAe3LxkYNket0Vbl/nFO59d3nsHK0nW5jHFJRTV7aDOa93ytftTF9JZF4hMrWgGoXRMC4SLeVhNSFHvrkdUajGHD4cS1+119vUr6gYkjcKOUEcD0OUKUMxK7WrrbvjSjto385XKbdK6eXNtc+H7FY2wEBYfijvl+fZ9xi2BmE8bk7/ixYVY9xaMJ8+x7KeGYlHbjK8migSujLcKIWI2mRhRSE5MvdQ8JxT+p0fnZXuEFcxY9KfPuqF4vI4C2FshAuU+Ny0oq4wdmKOlRn9Scu73F1yptOCEGmueCVlPN1wmJl6gmmW+qG8/PXXFOomOmuY1HzhteZ5rU/cePKQU+F8u2HI8JQj2201A8kiKJAN2EywB3WYkO83iHZcWfDmDs+tBIJ3VsQPtGjPmhp268oEibmmBYsBiVH3/eKxfONzSbpWhojBDArIod25U6CUVHD4iKiF/M84yo50e9A9o/s+V1eB4XVUV05j4uF9pznOlwJX0goCypWFGunN4Rm9+reMLtSYZV6+JlKzvebMv9RfcP3KfU9GiQoeHY+2Wi27YuUHvQUqFwFerIekrwEEM8SR8sMNW+8uyQr+OiL4NbJGwZ2QOUydVoavUUKDWg2xoLz7TLQxEUfWS1nMghASzbLqiA+8OCmwTr6oenpgdAN7PlUnzdj1dT0JM723NRtJKCTZKWVJZJ8ofzmd/naOi7usBjUDk2+w+JddNQs1V+c9R0vYcfJ3vNI0pNNbEH8pISM7P2f0W8Sy5XAahvW4j5DAXBZvT6qEaveVIJkOkiLm6rAFqITHfpYulvjy0pp7hLxDMnsP942uzBbi/IXxvu7SpHntnlsHRahJ3Yd1eVFuC7uI3k5PVsBNNEKBW7fQiH6NQBYZhY4likYgET5g1mLmCw731kDr9wa7D7qihzLYrorL7sqn92G9I1lJYRO9V+oBozxUQ8GXTRiKow9b4bZZ/+sQW4ENG8+j3eJIjBztUa+Xrk9Q97FJtqBH6x09tJqD2Kmk7Z5hHyXwoy3gJrMVbBJnz5tIEIkLuLtYrdCRXCoav2teOWXARQBMyXZZH14jdLz09GEjETE5qY7LFzhMv/+z9Hddn0w1d3w/6AsJ0GWURDuhPJtJOQVIhDXQXULKOqdcvZ1HbzTZwS4iM4JJ3n3F+X/r53oz223AsToJ4ZntyrhQ66nakHklfQhah7jP8utMVAVI4G4C4LVTeepB1fSSChY7ZYau6XbVDmnBCmMRRMkNrjkRwg0yU4DQAIVg4nitzv4HZ2mVT59sEAzDaWxhwLmdvb4SbADCiJH+5tgocQRkW4Ui0p3gCB5RasNUXzHLkCFt9DIHbSlEGBsfyQ6/flFJF+Mf4VdFPQjGXIm3dIYlDdthxSvpxRrh9kkNNC5SOmstFkUpaM0AuulUVqfXeFZmzt0kTwiHijgjP5i2RpL5WCDYc2okiWVUjzex1p1lsRTmnBeK2aRS8mD0jTdD/ZYuayu+nR1MNzho6wASbxYw/dQe+6Lcd1eztdfNN5H77lYU3qUiU8VUbh43gkob6M3R9Acp9zBJzHUEr1WHUpuCL5kF7ejly4VlNhUESyEFVLrE+P00+5KK6jUvc7F5MSFyS/WlkBAbbwvfH26BafbQw5xQHJ1IItrvUf7grMNLOY+VAMVen9cCj9TAvvw89J457D4rsSceqvzhFTmbxoElJ5msy8rNepkIfnjy/ZM3apFxUChbYbYVWd4epKI4gYz+1gfuMTIrWnB7FEA7Vb8qqmymSkIkzB0A0McTeOkIzVpb6A8X3b4S24Hzta8bvwrBpAk7Rjs71YdlN0S7JmG78PT6qtWkShwooSoSUSayBgrHln0qLAbiHD0Re0/UvWMM5nyDfHy0xc/98uq/TlCJc0Bm8EI8uN6Yk8onVSY9yMwkl76w4dKhFM7Qohx15s2gVKgRZ6LXMsW/urfZwT9F1f6JyvaJ87dZD8VXkpEzQGCGgzlRs4WR1Vq7E+UEPYL+kBwCYr8kLeDW8i0sVMVwDcVflkFo10TGXYGjZ6dUSt7Wl4bPfrYHkcWhMOoXo50FQlBtNSFMJspFO+8qFRqkt+Kak1YWYd+DuOBvjg7Mh22EX3vpz2sHqjhMyyRFTGLdA64Hc3jkDQWlBBVzI20B5cxbHRgM5g+lUzgLaxqcODfgoY7hynDMtvIAqJ1BOu9pBlUUXTfbBbiiG8uc6WDowrkawvj6H/MDSmAW4JxTixUG6L7E4Um7TUa+dstSwBrZWDPH+kbhxsCRnfDFHASTtsO+qgcFXIAZRp8q2Yi1IjKVZSvHi28V2n2cT7kv6kIcZEdqIjlaOpHh1ZmIlhmv1wAepgy/Z3cCwtul8eSHoxCn6cr8rF7r3GDTzNvHx5t35hE2v4ao6/aD0H/qgkx1FxNwDp8AxGTzlb+VqG/escmEU7ln4Gt7fKvMGla0vVjXw+abhkjffFtyCGQxN4SWfXQHBLJ9qChTd0yXLT9GP5vDVALr/ARHFyT0G3KY5DBnfhsC+6B58IkR/CiB2Fzk5oXLMR6mzMbC+YwQeGEUpFpFTk+6f+qC7Gi3RdCuEdztIssRXRw3QUs2VMiNCpHY9qxi7baj85d32Gf0DxVsI6+uhEyWswKBaEcFW2WRXxTcCfNfY1pOU0baPwUA/hMPnmyYXuKrCoejfWi2vhEOnUKabtXDUeaKZVGlYFrgZGMf+NCSnCeuz9zjqHlKthG2Ckphiz5oqVP2k+pAdvt409WVLkFrLGJhdk4Vs5Xd87UNFpV1cr8/8PNHUAgpChieekFVoavKf/pD7yzH0+XDgSOyeQUXaXKEq+G50eWkfmzLw0hdJ9X6sQKg6bcz7IzLIkeogkqtmII8npabol4tbhzFVdYOkR/7Wp1FzwJwn7JOrRfRfzMqO/rtCIyBN+gFEx7ySly8mG6BzibIBgyQQZ1wemkgSJFlMxymVLk4uJ7yoksftQAsnEb4fYOPyLYRhuWbbyQdlsBj99OuPQCR5PdHm1B8L45fAa8XKH3K5Me7fpKOSVG2EVB2sFmCYS2Q3Lth3lmCjXom730pbHeLq1yy5JP6NF4a01yvoqcCKcKxNOAenS9OJLxG3Vh6o1ywXO07qhCo0LBcyrD0q7DQZpZthZVobd8348WyMBtnPr6hIz4EfIK5VM3C62Vo3KjdVrFfX9M2Z0lOqvUmhBglNVa48V3aMsVS4beAxUUWdnTQJS4V//zlXZVgOqaDzwUKitmlFaMOWdbSvgBQsfbNrCO2JoOq7iAkwjSrm/o8NqeepyFRTU44Jw9mAvE/AtpL2pH54Biknyl5nNZsP7w74AGIIherffVy20n65xaDcH5taOOrJiYMKSevyqot7T/DgFWd935rYIk0Ui80SkwCv1UqAeLtXZ8AApMRwiy3MZ68u83eb5OHQTmK+iYNLl7JECzhh9h4C2mqMYGIlAZuVEYYe3oHGbUG5DJrcBGvvNZTArxVC8d840JneSjc0cDJUwTAat0c9qaRDWIc/UCZ7Yk1noqzBu9e472RTfMcfevVd/HPo7xzNUznRhPLAq3sxPcIQ8FIX/yfYSTD8Os/xvJ0A+QCEcm83EwYFLMo/oDTjdb1i2HB3icAqcsMsQpnIqkvRVHDPqb3Ibi3D1BnPrHF30vYqvxxA/+wdinNZsJoPC9WHsLeruxtD8nX95BnksRVOomq3/ojJV1QKtMXn5iCiy21R8YqKr+BVCLUahcBMRFF61/wSFkl6k/OFyI3+ZhI6/HhRMX1gJv6XwjhEuznO88EUwbEmO0nO9Cyu4+U+13rb/tnj9DBK28rxS7+tXEGgQc4DklbffVj/kSCVXuoCY6bD3ctgNeY3Sx7BX6PLh8kS2Ow+FOuzh4JK+LAfrLz8qeC4AjAMsARk0PvRHyQDfJWzc7YAcpbIfg8RuPPQaobVqMccfZsPEM98938pZOlqu6rgtwmGG4Ssx6op3EgSLO0QkDHoDcQMcO/n8zk+VrGkRYa3L4NHM7VeWhgPlbEktq6YIkg3nP72173+dClv/LoUmyeXgtAFj/Vlh6Wpq/lEB8wREX3xUpyBiUMUT3tCp7gQXoZ15DyJxSt3INaVtg9rxIIi4GmBmSuf/f3a5sbLqhxlBCxWi2H/yj334fmQ4Ou/6K2Z7CX7EmmeItNzDyXYPqJSxbiizvX5WadQbV6kWJpF+Cv3shpOPf0yGcJqd5IjfwqFUA9hRUJRnNwsuaT1KF+t91APDRrgIp1QD9KkV7MJEgNhY4WSmQGD0tm9WAo4m/5JaicQPWGWO1VZ/oAcY/tOndNByr7b/FKFVzTRPQMMWvVzgIliGuZdGlqXZjNA8Mbd8yBKJTMNXr/J2mzt1BGAvZtHPXbx6n0IU6pU8X5M1Oyh+ZBy2hkOZc22QJF/lR3AbxUWPTqOJX1iATyPQyjzAEeh7jNJzi66TlHqM7K+x5GM5P9AGYGhgKdzMBpJkBfeYGZvQYLt4ObZXo7tkfnmCJqqEZ7nDhtzU5VmOSqFcPCYmw0dYHA5qUQoxSUAI/CSVMxA5HG5xfpgeNU6R8Qg2E2XbcHBnlRnuQfMO0X1Nxt9MdlwoeHnlRZkSvloHrHVa0mV2ov3BG4KaTPjAH58F+A+nxzaZE5tgCorHEPzazYA6wyF3lBonW6JiXGYq+B1cQYNBDNIFTRBMobKfsMB0qPaOIdeog99I94COpgypjNvYAl3bhrURBf109wEXfSGiwaCoaPwrwLpduZ+9wm38EiDyk6l6Oxi4r5h9iTMnBT864oEmAceAkXf+TTIcLLgzicv9ss6XuhdXVMKidqlZOh2CN4dEhEAo9HrdPhjAmcrIwlpaBM52quZQKUVjP08qSCYd51G/iv0GVFBDTL+6ZQRe8NC9jH2slGmCjxR1zSst/EGvMuZpWfFeAM6BTuUCs+i3Pl/rciE4iu3ggnU9i6lAxfNwqXoA/dbF6teTCUC6Sfb1+/RItQFQrlbGL7ypf4LgGUJMcmjippUjXrluatfYokUexVyBhgT9YFUagVB7CBpGj8Zl0c22i4wc3lVdFZ1yUnKIAyOyllttMzVVo5KzqE/HgQ3zGhz1Tx+9QBTOmRgo3tsVjk4MYaMaweFlxrvxkyV7n1A4uf/JX4TE7WlIfWDXRsUvwfr+4q+rcq3SpKv2Ug8fr0q4OidhFLXgPbxGjLGNls+8gGKgMyCNgaOEayfqyt561MQE8S8gJq6t1KeLqmkD336XozXUzoeLOY8pXDZf/R8lZdlmvHBMxVWsXafek6OeGT4gvsdxKzFCsQDCPB6a8SDoFEvdo+OG3sFlkfIQK1z7jEQBaGkyYlFT9zsyVOL5/uTLenS7QK9qQRL0JNuRXalUrpU3AZrMDNK1hdGoMwWftKd+ijrZ4DzIHwmdBJhHt4m5vcEHJKrK3ynrBSQbsG+hpdL0T5GqMK4VYA3vO+mYRaYDEJJhDmR79ziBnuHyMTRkkMLh4MldA+mqgzqq/PswdMvUIgmaiEeak9G/oIHTVhSzQLD1JNGYOM+9MO/4nocx4adstOAXzHFxteFcGbNhK0yjoPGSuwpNyufQLEklTbd5BrTGstvPmzvnrjGGqhXQhRAQPKQvnpI7yuitFbMNbMqVnNXKtOptGSoFYNA7gw1A2ubYOYCops8b8iaUdxduWjv5uLX74okCIYrtHgHbQra4bvwiKB7AwA3ZpMr4XKcpom0LpjKJekFrVpsyY0vLxfHulGAek57ECK5Xopjc/rAkCWWSyFcoKUeCxwMuE58dvely63eG0jWBL8S1kc9LUM9SbpadEi9MG/15EGL9DcXd3VGWZP+TonExUWpEvk1gEXQZCeus9uvCTBCrKOKSjUfE2xD6EDpLmKfnsAJy6me28vaR1siaz+vKLTges+QoSOWDZ7SOFqGSJCRssBBY69Vbzl9iB1UEubcSB5XfUXQoGzcY9Q+sJl42SVf6SUDjvp28q2gk/jyVywwEfHnk4hBTEYJY0cEpo/P1nJU4BuNNS7ygIaO90N7fNj/lDubvoK9WtJFcBE7I08cD8/kzktlX5cX/WZxKxEopwgf13zsx/z2WF2UlT9J8xEfu7GhpoHMMiKwh2LP1Ao47dBRHzfZfxr9pfQyc0/wRRoFL/iiyNgbUjg/LnSbH98jI+EDfqgHLP/4EVxtKmZ9yTwPBVXVbMHJLCm1+x3ubQwa931aaEJ9GlpbYcg2RPN3BJJqEat/Y77qVaJfh0K5EiQXj4PMWfb74HaCN2UcAuqJuQxu69nnB/kimWHPDeQ+vzeOWrI8fRW1wvkezJ58N3iC1XUgoKns+uGHqZ2lZs1adZ302NUiZXFawuduZKdWYcicKDhwZTktBQhEE4UHl0ZacGbJi6x87oCPY80SUZRQOPgj3nWKGMBQEQfzrzu96LVXZ4uViToEJxnUgJY3rNRuwJQk2xfnHcIEMR2LwFF0kkZWo1BBdH1tK/FClAXtPFoknainNsjhzzqKu+meM67kdQwBu+9Jtgmbid6dm/MJrnHe1U8+SI9LzJeHzDQku9UJpuU9SS848dkRUDT8HLIW3kgW0TUnDtWZBKTdsLm879eGUJ97iVuHE+15xVGMdegn2jqpJz2RDfGjOJ8sXTB7QCZ23w5LF9sbeBUcwhJKDF6JiL4v539NeQ0GhQiRO64v5nxcGegrR5JgUq0uVq400A8TRcTRYwX5etksdmIs50T2YJUYBXtAyarkZJCwLeU/5IJXYgXiJKVB2FoS66hoBN1quMG3Tz8TzKtwt6nxNgVk0kFpUcKNXCeAMxc8zYtz3Nq3HWKJzUfP0Wlb5Rjci8g+7mABFyjAKuSbqJt9DiFgDdn8NHSF91JcIGT0SH/5FsaVXsoMNjMQNsleE5yBbv5X6kBvunuzJ1kNbJEF1d47gXrN+3/AybRhzlbCpLxTpBwNf6R6Sm16r/ICxdk53OQt/gC37lb/ITrz2MZKyewLWk75HoZKgY6ggjllUbtBgmDY5vF0cL976X0g+hOIQJNavFrS4HaSSCXXNdH8gZR0E/UWYSGhKVzfHkoZPMQbbeFc8lOWtJfGySDxYk7kqPfMC1jjklW/XNAsQxTCj3fE/nIXfJcJ3gCauLMnCCkHxi2D97gRt5EFQpFrxdxEX8uk/lxqJg6fwrv6bweKEWl0pZ9C/pH50ziUS5qJosAKvJnu4fvUE8JlyaIuhcGDTSrNyMeNYVh3j5GBABneBrVkgpFHaRilqwwU2ilD6KfIACmKB9CDhRpXwrkX5PxchkeOQOx5/TXxVgBLrmzlqcUx1qgYFEGDlLZ4c8F87EhsTnx4cLN20d/lIue8zTl185k7n8LRN71jj7gAOn4fVh9BUpA2+QsfstcYepWQNOPz4BnX95Y5t0Tcn4jZ26CurtHzAYAAwuQE7i4BEsVsO4LxvLxw7XplIsSQAwBpm2p0cdpHNYbObP4Kiu5DiLAT4y4NT+DRu2zcMX2IPvu8eWuiTAydYKxbKwuXJ6k0niLVXQVvy4eGmv7Q4Ei38ihuFzLNTygWHLI9874wxYFaGxfLhu3dAntOByxS8XH+TfEJx97oCH+jHiBq/oWce1U/UPPAdlf+C42E6cxf/QG5DKs9g/V5QdNe65nRPgLEWqhKnqktQcSb8WHji+qIg1ctHQ4uhuc/JUEEuIS2zXHuc1Czsc/IQCRBHsIjH0fCEgo606fn3bddAIg5CnilGrYQxdR8kILfqlJ6oBXsXrbJDfcmkODmocVJRiGwbhvpfexGdoEvgqpQINRUu22WfXw7k78SlRhYFOFzn9Pd7MMOE8mHmvsbRL2WwYGczls2fXwf1aRZ7ENKqrBD4ZI9GJvB/dajyq1ZuoGpjU3ZHBKuU13dknWuwtToBL0vyootWhJoOq/G+JWtXHdoUisz6AaLkeLTPQJJeS7Yeehklmit1A7gJ7ce4HQSoLeI7FUvcixOPAbS6jS6KgDfShV+Ai70g2mkL721wSAInRxBZ/k8wO5U2zk0565QWYDEgjmHB/T7XQ8kz9aHCdGswbg80ThsakLY4De5QD1fyfl8y8d1F2xoqdNUf/R9JVnTjrIwLl+InFNatGoV+F/escQY8YaxLJuvEkJ0NaxGKjps7qZy3BuhlDQfZ/cmmsH8XZtNG8vu6bNrFLqvRpzn/DTeRUBWp97iNHYh2Oy9Q0NttFLZ18+K0/0V6ovsKo4gYavDvtnzLLgGOn/YzpLGX7pSJAEk8cqMu8fTLPXdDxWX5BlpdXK4K5YP1+G87RzVijdhCrVIblh6XVfJ3V9IfGiK2CW2vw8EeT2WLfjxbxhkPoXW+rqMfbECpGqlzJPW3OR8aHSTXAAFgRCDBxnhmI7VRQxSJPw1bULRwa6722oLYvw3+dOExA5vdnOwp0bBTekGv1Mwxb31rhacZISatOlJ4Gw2s4A+Ow7JhXn9Y5P8y6PPr3dPxFYjOvRgi8VCfKnsrbldVY5QAT6OxJNvFwgUbwko9j8imH5UTCsWS0KX/wCEUtmxQTkrQD+72vVgrN/r5e4g+iXIzFOFXn+uK6xRuVCvlXR349fzzNVzAi8NmMudBhLKV6/vhavEjxUU15y/u13ga4Dj2uU8HcflfLIal7mvBJJTpEF5B8INX1DZdgNnsS+DO2YJnMlnehT9SDpyod5qDSyy1tB1l1OMKsvCYgRHrVn9gl3hfeUU6SkN7W9Z6xSZ5bYAvAkpEzAEk1+h8Chxi9P6VkNDyEh1GGLTfou8KMtoIhpY+mwwUq5WutiA2vCZo4oDLwiIgizk7C5XCxJGire9PMUx5Efg7/YVAgMSAVqEZ3qIntHQmmHMnzn08McIlSDFZarHEl4sG8iwggJPf23tnGrB9JaLtSeD5l05Rm33Mcnvyvrm/64/455VSwfgyzlMi3ZhQtuYNAcKpRmfDAjQ/6NUJH0nP75B0DcFNS8oB4EDOQEIPeY9ipR0hMl6sGeBy5BCAdngP54jJfLzjUKBwQSSMhMb4+YIwM3WTGpMCtdLoSpSvD4MhBL2qbRUuWrkFcwLp+fGirvOSJR8JtwQjEyLPHmatcFFXXAH8Zg/nDDyiv8atu1H2eLoirhOw6JlsHMKycEygClr0XT5ZMsuK4hws0F+29lyVTppOwi8F5x3qhbdO2wyPuKC6+HTQB+OGaUVqmTiVYLmJ1kkneEF9DdBbnoD1pIU56TAPI04Mcstbgk5GWVm6/u+KtrcgugZj26CC/lx8SOYJdamNJbU9u3OVmPhNrlz2j+LtXtc9MkLJSfOC6QA/jsDacr8F8Fa91+4tiUa1pb5FrsHwSiRMqjS/oDtv4xguGp9lhxkg7i+c9/bFXwivit33okoEIq0gF0b7PZIj6Kkg06eJ/IBDY5zZUuatqexlbHKsSH40kF1V8wxPBSF2CKhh0+BLPdI6s/YbH/OhuZOKWi5NGbMcrzicAHfskcwhWZAw7zJ6DV+U+Wk8n0qFAj9gOPq30L6qR4UzAmzi4TZXC3yUlaOYf6OaI2QX1e33VyYY5v8iXaceZbD+P++Nz9I6anDMCPQFKXsJqNNa+KFJpJCGwQP0ecWdW5SHXa/Q3/xS6m3+HxPH4syU/dBLMWBEF9OZCjGTO7obw0LR5UqFn+HrsevVUofIzUU1pAvQ6BcMwXm/4qGqmZciXvMEZlwCmYDjpkMcEyKFziVgHSBfjQDgKBV3K3WwByFn+lk/WGdlRDqVa+rF0KBCGUnn3uvMlLCb4nz5XMVGk2b8qejxleKEYC2X+fcaOdJOvYRHV4BtdoDTtIfgbFBjyV9He63iGe9lhuRYB2YS7Zlf6DLqWrOZWu+XfwQ9Ofpx+7WtfgV2gB8z/nKNlrufs8JCEIC3iVM2ZLbM8lTcaGxW/2l49WvK42U2Ykj+tR5RQAAln8l3d6k1145hjGoGYUJj+MabIzo0Jtabob2T3b33b7xbO1rz+z6rC1fGooUURltLfHBE2qKfblKAetrdBbRi579Tw6AEFW5Fz7Gi0n0WCYDX/EvzRjYiuzxGYJhVKt5OPMbbSK5WHPoB1K+Lk4DnDVR0qL9Obkar176TF4MAH6LaRyOBDgDlqfzVPiuCujvrPacuhLViznAd7h4X5ypig3DegPbMVRaZZPicpXcj15vfggwIvFE29Vo7rEBmq0iAfC5WOBcXySc0rPx624mRjrjkzxAploBQTP40z8c1cDOTAH58B07FiTDM8PTU/lToUmb19rybQuXDLvIMO1RKrZ0JisbuJgbUJ67yJh4fxq9Ulv2ZbqYEp7Lb1ajNeywwLGdOVc6NRQdgdTlWteeUIiwJ4WIwDYBRPq90uiSKL70EY7hd1TQNCsq7UYTNyvmSqf+dqrQf7XlXmXGxUQuTFcAWlyapF9WquXsH5quz/zufT3kw+AVg4yJMMNOzeZNFeFMY1ylnQty2uGLYzZL1r0Myw+gdtsiN2EjgnReAN/35HyZENNSo7iYivP3sD8o9ano9CpWUl6QOCPfwMPVsxJtVgaVx7ipjMheb0aEpTelM1hHGYPv/Ozk2ZdfZTBLtqFRSkafDpqmXpEYpuHcESIFgukYGZzaSwirCdNi7njwU5kagq+ysbGdljryNZFS3U0dZdsjad52nw6rdke7DFQg05osXoNIEpo1n2RYVa/y72w0ezPUkw4L3KaBf3ct6Bt8gnPbMF5IOO8uTHTkvwBaHHxTSSi5ZqDAUxhU7BymDVkqxxGN6sTybGEfox3jHPWz2HSdNX4SqAL00jLsoShiNewtcV2K3MfQfuEf3rlBZjeJ4yibSLBZMxjyvTAy73WgSrQfYJTriV2JUCWhYn58EAdXkcgGHFvgUhid1pA3Gw2Ngr04OE/WlBqXiz+rzRLjnGDezhFz6d8nUicuvWQNm1RvOcoJeTpJ06xUNtfOtrO9+NJe8xRfKGqC4ZrIPIq9EQeh/P+a3kJDl8EHF3OxNLGmy8Wq50wiGOFV2pfSOVXilYbjt8cIlGLZI+fgBSfgSeVPQbV2++P9/0tOGYCkQWRps4HFop35tVztliR6vrYG0knCqWrMH8GZ7KD+0flgALmnshJFNv3vEOYrwzaIzI/f16SpIdcbRG74NVCY5hgxcWgugAUnDt6d8IUPuS7kODjxV8VsvLuKxvEomSGG58fPQUxcrz211oykh36/hBJIz7LW/7wJsfWU8qe8be+guBalGqKTQ7A8Skd3OY8O3buxowZMOm2Wtvco1tDCyxxwRRD18H58PzfO3y87+DLLXtRnk36h+mVuCbwoCCGkrtgqlakbqDyIXS6JjGNGYXfzsJQzUXA+Aarc5uL1dX404ax9iOMwv3DvXJWpcDas0H4/VzmNe++yMeZoDI3KpUmt01pcZuyC+sRze/tl1+uajk5yujJHCloy+fwbcYdc+mxOY5eKBXDZHDg0p6kTGIgnhQCT5xWggYPO8yAy793Fbs5yFMwJMQ9If+uVuAlF++XJZoJU+Wanb1g10Pc4sD8/LC/agjii50MQW9F/mxki2to8qUS/35a65YgZ8stSSOB+f+0kkfZ8uXqKS0UhMxCvwyaSw3/MTZKqkJ3l05BXdgfe2TjZT5EvZp/Y/6TEX3flUX/tT1bEx+BTdX8TcJOw2GogospSxP7CdHKQv0thnpQN5X4ksFUOfKHsxMOPvp/fnzQd92QE3pZrDFQ0YaTuIdPi82ezM2LnxzLmhGrGwblJDTxPRjfRgYrYs2IaKuvQNNmP2fwU+wAid8FR5KyXVB4q80vkLgc7yiwifbosyOTxNur1m0f2juQ3dhMcszhYUiAuZh14PVUEb75T364YRFLx9o3sjHLLNYVnjDZoM+BJ/UBKVYzk6xzyBfinTrgnrsH3mMnYt6rx4LK8AOaIcCqTqjm9Xeu1giMqwA+MYh60pVxIrqjWTtk9S0y+gnP+WNlDr2g9JJLpfzHWDQ/MpdTv/ScNUMrDQ14i9977w30qGMk2NREE0KwOEILwDEAhYn5O8AmyPeCvEnuzfaGmVgI+uwSkoXI6apnmdlnT2LqTLld87JtZeLowMhxhl4oPPiP4+ElKaszq5oFjCAVN9SxXT6kVi1UJObqGw/vYHDEQdJi9bc2p0F58o52YVnTV8ovshI9VaN+Vl0UYnneVjQnADBtwex7K5wZZtwexE/tnPL/MLkN06fhEToP4JmsBir7XY4gtg1owExayPaHshj2kxw7SOJBEP6efKuXKD61yHTw4ovQUtt6PWh6J7DLq+Jgu1Ki/+1pLhUzEvE770LemBGEb2VmzmOTV+6RUQkOqzDS1bXv3LTMgE+LA7XHE+TsXJg/JnFJse+ZakcdZ3nJtyCkRC5wnZT0Ljx/aEHljcsDgGz1bRz+ozuBs1SnAaQAJhONv7uBCUPfKQDE30hKYrOatIVbyVpZcvrU8MbWE2LIy04DL9IH5xd/QUBBHf65DL7ARwgRUxtZbdTHFiz//G9uwMI5kQLesTNCdQdrGHmaKBTgw3XMUTcGBjXoHZSR6rVRXgLoHnnBz7j+HquFZYAHwHiZwJVlkWmLZdWzRzkcmUyq9/3Jl5pwrjSFv4NU6NdyJyBLEHicsKcE0m8uXaAcgMr+emgX2wMYW4ooUsUnQpmV8SlUQ2K6vB4RMN6iY+eBWxL/UhbA3xXl/rlboPxwNhvjAQC1waln390sj1tLE+JvHD1CKOJg7smENXw3Ent38gwk7/UxzkMo9OAcLw26fVrZyOw4Fzh+PA2s3caBmmtqYExOdZT2oJqpxTTKP5xP0YVATk0RzZK2PEyE9+7a0xmnyrzk2znUxmT8EEe83FGJe+6O9npjC22ZM/N6U2+EUyfsm5wGGuayLOzKqq7DNNB03ik9T+iRV0TFSkJb/YMLofPstInJTuL7YCcRcytDA5FtQPm+4Fm55b0TOrc0zQmIqykjCuzw+BG5EWLf2DyjrHPLvGJjxHLzBhR8d7qlFUg0/sFk3m24jZip1tK3+kJX/nySCgNlQ2EVz8YtB51qBPlUB1ntoUPRPKuLDw9KWO965YR7WWzDRoxKidjn2+Xfc9s6i5ERaRjMibUQgOg3sbSW17omq3l96YhXo/v0oQLhTKc7d997CfHUuDUaYol8wbgI3/vojBmExTeQXPnMfeLM09n19Iu0SiDBuIEqyJfpDvM5aR1B3nXbaeHHbURPd1QKA4vnJs5JyD5KRyWW4j5nvF8xBZfiDcOWRICtUJFLUQ+uSi9NeyAtREWfblYoTtTrvl4TlAD+UXD3udiVg76BAlh0V+4HVENCGkJaFUzfLnc7HmWwTu5YFUpoFDcHdfmKcH3mIZI1SafAjPWKC7Fhj8Fr/MB1xVVPuw3J0tOsCf52FjlK6+KqVUUwTGg4gS+o4zdBEXfFIGiQzPz6+ajIxsE9xmo1+INCLGjtCo41PTooXwkkDyTAgEOd8XvhUYELH3r34afoMCXbsTyZ1Nahnw6gkxdhh/lkEh11bZ7kxaH8rbaS8z5LbvJErZj9DPgM541xJC4p4gy9/nEgQiU9Hp+qK81za+Tc2iJKDjoWfwV9DIHQXE+8zGzSNQqTQpG3dC2DpMObdjYo8FaJxkoNktDNwJ2bCY66dJO+Gg1PPOMJ99w3rnhHGQ4MphSLjxJgrEuthOcc7vTEZTxqKujxcUn2l6qSHjYpJlvPVALOjGcYbi6LrgXoDBMRr5/zlgIdli/QCfThWZ25llYM45QS+EKu0+aUZ6AiH8z2JOjjjjUMBhWuGu+5iP+NH/5KU/p1YENvt11uRwQtqTni/ntmP9A619NbIHLs1iTDVrYaBzSpKEYRAbttj3/uxvGcJGlqHGLsM7s6ejRNhyL1qBQGXCjFln80twJDcjQ0xSiQUUhVdLHRsMWtXpmku8vF1OlxKp3roTxsEKZyviXL8x/Hs3sbA1nvEsTuiJh7v8A7wH1Uk/ZGgfpLC8C8evRJ2IwBLub73OIA6g9SOXDcxqI7zD9UCfiyiqi28ZG+8MW5x4fWrX+AyZj/B5iWKcedr/LwJ7oSTjsnmuyAy19xhL1q8jOWdNeKg3DaWFduOM6mCljh0vEZWcqlB31KssFIqg8tgDSwyObgUxRWjOXgHaWE05/AYAwMH3YDs+xpP/THrvHPV7lSphPHNADgBoSQnC/uNJvLfc4vUauCtma5iphqWM08tNOrHoq/D4w8mRuPzBYZ6GTMbmN4e4z1Xd81nIQ1tU0N8/hFCyIkinthNeHzUV/JPM1bVukNlxE1schXbbxZhZjB7SspBD75zwed9h1CIj1Aqnjq7BH8IkKYEUkQ=="/>
  <p:tag name="MEKKOXMLTAGS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Y5bwR3kgmVV3/xb78SUguvWSJTyZkAVhT14Kj+NMhVBG1pcdT+xSAwqS8Q4A8F867dOoFcDLiDCdsOGe5axexQ899cWI6Kk9/LQ7uapNISc3u6F5uZaxGz9B1nu0pcMwr6ie/jA8yiVvMUpfzNMLpL5TcsymchaftmLUmCPmJY9DUyXfOy2fzhH9VbwcxjuV4tORILMk8wBenOcKyXXkFvKN6bdnlMjBi5UJyFbVmWIx2HSRabAxcW1uXrbpITI46tQj1xjoD0qG8jAG7ozQlEQbyTdBxT0nfYbiRhjKpHE8bHofxdnnxpPrZ0xGLSVeqnEIfRAC8L/QOvA4louBY0vOBHJe+F9VTjU2zL/71C/V7g2qF9MgtCXZekdseNCDDtaFzMJPC+TLRTkRvBS/NhzInAne6m8I4GaSYFfJXYAl40X+9yqgIUhXsv/4tTkFCFgqXlrrpI/j9AmI9GylKC2gzJoMzDof+KuaeWHv2Xf71qOdq5Vfe1mBTWDA9DNVoVZ7OQHt/nPz12OGvMNkN6CfBFftcI2CximMn36ee2KR8LQQMGDtX7EENxM36jqiuJak2ZtkwwD+OmWSmpx5N9tPZ88VSbvujgBqAKp2mHf8pIn8L+D6z2AJC1pnq1iCO8uMOHglThueqc4F8c0ft3pND1St8tSZXc2JtD/WvGQQoKf9TmRiyAzmgnzssr8aniBGh6lv+JoyixzUcTNr7mqEca3pSw6HG0k3wbtMFNirVxLZKx2uuGZtIyaAXJcVg6lI912nskOL4ErtjpI2vQj/ERyHwb9kWvtTp9eZIgxYkXuIU8ou55ahoeTsSv+kCNlIEOGF/8tw3+Fm0iCCOoqVLJB3aMZhBcmGlfEnVVIAHJblt88LCXHSc6Ky6MNzpznNWh2uFDX0pi0ZDxtJ4KTyclPKLdD9qFaE0aqI2W6Hgxz7TnD/AJKMLzkwsWKYnDHd4Llp5bIOV+7wsOJErWxUTohio/CPpYD8f85ydAZjKkc/J7nuhfAIR3ZNvXlVY/0OozeVd5VvnNNicf3o1O1FewbJrroQQThSZAVO5InwjunT1NMWbLCtNm+hdChO39bANI0F/nvoMtw2cSJ1ftRiqEBd4cB1wTSidb7Mk8n4NlR7Kr/bRHq5e/YLmiUphdIFFfV7FyI6vjaXG7YZmhkh/WimV9MUzekFYLBtElz/IkoFZAi5jD7E3jujfcHTCc1+H2w9AYx55wqwZtGs4cKDW8YbmRRyBXbDXzcE1XWMcA988+ChMyxE1pqP0wd+hjWsgr2Qnt0NjdWAHxMyJpkL8zj9oLJ61Kp3Qjm7XTaGpZ96P8vVHfknIha4EPLdzoy3QF22F+NNzcAn0+61RWMHuvv88DfICRoRob6jSG8MFKzNiNcjNzMJszApr5SmuWsjUwVX9IN5mo52Kic3hYWhBazVWWWfN1ymZS2hwaRJ06FoBtgF8ej5GAJTjCLw3fhukL/Rzm8QIMPfM0GDN0pmQtgzv9RMYHFa4lwIX0+clZCvQvU7Pu1RE6g2pVWgdCrM9ZUyRIgolaHoWnmBsWxKxLOhy7sTulUM7QsGX5lgtriC8fsHd4S/TvMOd41rhhnLFwtPaNDuWXZF/DZCtyYaWRVG1jxsDa+EWbTJdKQSPwbX6Ys6uavfRImR7MzKMpjVZWUzgqbxiHG6eGulIb4caUbdR9vwdgBg2FMqznfByaUHWSF1jSipAMcAqCL59iz3Qeha5AFmzBr1BVDImRrYzrYlpBA/ID2ac3x9eg+XOh4QcV0EN382Ekfb4dWN7taBVjp6vl1/yGoc14xTJjph1MQLvFEp7IxborO72vykMzpJ7+VYauVoquLnMqbaxm3WfV2RQA5hIRrGTMY5vhnGLout5y4rCboMKuN9bv6ZKxJkE2Oga7jzjdfe9U6r7Gmhi583x0wcu2fgyjW2gHOFffZyS7SkvKIBpv+PC8jESEPYcmu//K3CKW3b9XrPtgq/USZe98er9tYzI8hijg/3l8CHLog7Aowfw5dMA/zzNHa4rqVh8Q225lBqsmoFfnP8KSWEhaN179Y/lznvwdXSNXOdrLbv7bviZKHtHg5uYg+jnX2HvnAKyCF94QsS3HyQtZl7L7U61KyiP7sWzTEcfiyNJWNuQwSgEE64kKUIcc7HxHy2+asfxyB7Hq+bpvoXhWLYdAOtt6MRi5zyoZbsycpud6Egp6iXUmYvkkHnU2RiPp+apLzmEat0Qttkwkxtii6/Opqv3CLJ+a4nFt9x4659MHz04pHjt8cfo7+A6yzG9tZc+Ykyu++6kA6EbOxUP76prFOo6SKuzkeGhy1xOWR+/2/lL6Zg1Ylr7TtpiMMGM6q0Je1nsIzbZTTpksv79RSTWrUC82TOJFwTN5s46PVUjC7Y7Zp+rUnXxf/CX+7DmfWZ/EpbtCUKe+e312WDRdfczqDW8dtX0bYR1n9bMhbE3TXUgxd/To+N9dwHGzbnlpagh1z5RN+5q5wWu+CiVH2lrGm+vrxpX7govwTsiVuHjMH/pnDQndqPRJdU0YuSHMZdOWhTuuBZdBKBlSrdlYttRWrKHTVZ416rONJBUvJTJNKVVDCEgoiLl7JwcF7Qsb0xwg7WdYDnm/HHEvNEQwpBfcyolC/kuTPzhhCx5Fv6DoeOgC035Q+/NgO9Isv9Snwx/LptlW2qtGAKxhuEG3TGSBnWXRfy/e5trNQ7gr7ihJEkHE9mdHrsjVEKCLJMXJPpB/bnndAbSJLci1A+DfIa4NRw5IVas1+ewAQPIRIthbxPtdllf2YwZ7lRSfXlJJeSs7/Hb5+8ddCOKzDPvZstbKOs91yF04ZLaLDLQpwBXgHnF/lgyGv1rnw3htautkJt2xh/Tgn4KY7zmFrmXTXsbQrscPVRWGba3EzxuoTIl9S343HbGrq8LNZi2XhWxqL/SEVST5dlF/5pMB9Vw+jfMUPNgKrGKmxMFNfKKc1gIaQXmBUrew8AB7sbMIBdMHqF/MXZbWcdSb9Q0ej5ZRJyidBWcpTpRhxtwX1BMrZFtv7sUM4/0vIo+A1ybf6VPSIl7PwBLc93TbXQM+AW5u0/MZgfsySxbj1u9Q4746q8eW7VrDgSeNwygjPvORT3RJtpuaAf8ZOI/FHkSrP0p8scVmGaPNBJDZ3ILqFhP1FcbMRhCF3R+7dcDhzqStEkrJfhdsVUpQwWliOurxoMIpg7/te9x3mmI9/nIMLV+Cv2ZOXjT04xN6eDowuf7QZxlD7S2u3TAjgDJ70Y5w/OEt6OxKecN2EH052et0a2vyX08itpfXrJoeeI75dSlOuX9lR8Gk2J3Wo2x1rrnG6Wu0UdbaT71KS1zv51qasp62IYhyPLBTXFb8mJg1XfkO5SeH/iPlD86o6GmsLigh1OG0BgrfMVlkK4Guxz07nTu+6NJlz+r+8u73Y5bIruD+7cHTbkJEAL/d9k9KifN8jgqpzPCyaDRvr9dXqDSnp9jODbNCM0UAFZ8hPkrSa4GkR7PhGzJPYNVkAA1xAWIjLkQwuxmXrSOR9CYygeM+SRS3VhG1I4D638/U44FDZe3AhnCfv/Ug44L9/+dZ1zHar6AB4Jtfg7Yld0Z3OIg5PaS22MOrC6job4GsvfAh2Hm2Fko84hZ1srS07hiWOlc8zp0b5ETrr1vmKFBQLT/Y51Xj7feApGeTuFKtLVOe1tNAq8xmgsXblytPchrRajZYtJIZ/Zd8VzFI/1hHTo8nIc4XPs6faLazW6Yaie29Q2WOuanr0Dj4R1ET2KO0Vh9A9A5qsA0D2m3c4kPWiHsjr3IXaRF7I+kzTtl1+nNfRjgQKRQVhbOSzKSIk6yX2cE2zlNBQSRket8fHDK9WcsGSsvVjh4x+HWpMX7H5QDepDXuakYVtwkmNXW/yWJqiqBh2tQ8mfQsbR1lqaTXtOG19MfLveRIM3XiEwLqO3IrVMo0k0HG2FM6t0Iuy50MfBCP/T9WlDSaLFUb+mdYpmsssPkfy5uA0D/b8O//ac/FU8/GaR8rAx/0uN0VwEUf+7Q2nklDmYNPzU3aGu5RnYX3ZUid4SQDJeINiZ0UvpufIbS9RGu/1uQSxWsTm/RfLLWHLnpU6bwUAr28JFd3uLxwivHwtFN8E7w95oYwzNHajObZ8QhO574Kl3Iud2NM0Wsr6aK/KmIDMfZOXbiHjI/lfwIHgwPKzcwErdZIFaBDMBEjx+mHQ5nxGMJdfTCJzZM8hxKSBqVS/E8GWeWDg/dg/qbzPQbRIonAD0tV80rnuWien7s+bujVPep8edCjB6EGnC45T3VgVi5a/LINwq4eo3v7/WOQDsvXIYZNW5GDyiFlDXI1uYsLyyelenjsb99VhaEY545xHimkmjWQy4fklkyeHUU3pr4kGY5JIsFdV3+LodZ+N+MYVBXqo1m93Zs5q+k10KIo3yMUZ7WbRxCBaXU7J47V2+f9g3JOQuByEbvSEce0e3gMmztT4o5fyN3DjM7GijyXl0BcFHlSpGEJ5Cz2TPhjYA6alTPJVKv79YLQ034/qgUytfSMmTtmYKhmnQrjD1CzC6d4KKbx9uqW18efvP2XBggfZQYaMzfT1Ghmk0ivQM5cn5NC1H1qm5Ni+L9JRtLWF9ijoyrA8wG4L+U5W3UYHEPWV3IJJwdQFyyVhRGK0ArQjSVTGdilS7aWy1XSqTSueSIIkfuf4ZonxvSFBGN3dmSPJ0lESR9iZio7HihRe/6LVNub6PFbZfTLzHPhImEZD3ZAxyAwjssmabYj+ovmS3K+/GRv/sdKUhBNoE1P4oK0adc2osjecBWvk3KX/UEMhSfp9Z8Aq6H0gTP8fLQ/vp5gnVuEtP1q7PgNjgm4xctb5rB/N22R+XvreMiQDtOJsvpp8IQY1c3bS6lGZyHhhU6z+pLswxYbF9mda3oMR4UtJG8tIjLA/NMsw/BpAX8jxWqK093a99YY/z0lzDD4BGpxOgNIE4BWZPrg5J85nErmgTR7UC/PePa9254BmwiSUL/G5ev0/TgnAoPk2vVTvLQ/gJnP5tE+yqiADoRBmIINCt790JyzuNDDo9Z0Qj115MPJdrf8jn2KdNQ1y/siTbYx5eW5RqH0uwCyDJ0yBg22qxyS8HM1BtQCk3DO6Jbb6ODOELc4vPCSvgEaqy5av8Kn2TQ2jNjUEVw2uj/uOR+egWjKAp8tOuDRS6jPeWYshUdaHDHUQ6sVM6ZOeJxRz+8y7oGWrLNFLoOwJD7NQZZBephp4BZvSMdFunsLFGH4GPD8qTY5/PfAislzbz5FrNduYAhtzuTIWfXsVcy2tgiJYwSG0a2ly/Rr6AI9B5OVfyjEtpPhEVY8lo/zHRQgynXwqUrrWu/iUTXUFpVX/WlsGGn44/dlwV8UZESOt3n0yzbgiLeD+RyYZpG7Ev1hfDRq14Zd9yiCR2RQ176dhY5DaMepv7YQCHOXbt6noTut3i+Tspc/ggAGkpksEV02O1sbBymXD0qt3W3j56JjEW9d3/1NYAR+7wlxn1hI5cjZB4yWHzDrQHkRbq5GtHUvqv3YMIktUo4ZjVaP2S/xvO0eCQMoYRz5KTfNZWIaHb7egEPNfkOZIapD7slsjSooXloa3FhaKI2Wo/1duRUpHNvfFs8ruERj4YA8aOsbQ4zeP4vkDFKWqavJ0iPlKHr/h4dbLKcCZXGPIJ+u9VfhD5lnpHjseJehqtfD3wC9iniW7FcXAYn6cwv5mY1uiZYkvZA7ZUrNHaFlFHq1X2Bf64I5nZHoCCF+b4UgexO0svVyuQn6csTLsBajZQFDNxrXnbFFO5kwsMdVZU3ZOQHXRL0xPJR6THzk16P0QPkDH5fzjDSEPhnppNrkvZf2W+Z7bsfSwqo4vd0Nrgy0Lq2D51eagyOAdtUBAgZzEx2CNxWf2PSx4i7QAg3JgAsqfNlBp4ddkL0TV2NlcUaBOetyFS3ZGVb8RWCrbhxYC1etjPzWAktSD0SxHMGHCTZ0CfPEmAoyOBLaKUvmo4xPWvqYHwK+7pSSmHXUi9Kpa5zKYzeGj/DbDHexFNUOXKFQV8dvVApCyBI3O5ts4TXL5GZV9+rrL1ErGLHwUbnkrIBQGi7UXp5olgpm9AzJXQODV7h6bpjNhbNUiiEK6Ta81Tju/2ZF+uO5imcTLJW85vjKyAJXWWo0cLyPeAW4GQX35eat4zOhc+2mzc4loPHYt3syWslt/td0M50sC++pin0b+NeKkogSsNd/JyMVrIsNCqukuQibr1vy3yV4SU1bpUqlE/oxKD/Q6u63i7Res+IEVv5P/zfovgWsmXXHYSC8EKkKZgBUx+dmJcyd67ZeyKPoipgCLhG9CymsWdOFTEdGCrza87NSXER3lEpGVYywXMjIEedLITH1/k+beUz4t+gSYtzJ/VB3U1uojzvriLSiWyQt94ThVTGhBKZrmyd9RPHhKxRMM8fZyDYZS60jQL5JG7PO0mq6RmGJccYG/4VFE9tkgemVloLbQriNwS2mu4XVZ1YmB3KuZE8DJe+k/p6/piDXcs4GX7aE7lPYa5GW6Kg4Fs8depZ4BUlsiw16BceDmNlxFhu8rTbR+Yxlb2kIMhVTHIQaHL08CGEBUIq7X0ZE9CXSvXQSSykKx3Bs/BHFJrhqz/kRvufEptiDWf/MTRrDoi1OmPPiKA0pHmYMZbK+O5PNdqYiYmP6n9veNaPUshMi5m56UsWJPEThh8zPBtkZv7kQMOP3F7H5ftNd/q1YjPtOnAcvKRGSudATsNn53MvFNJqodOHFsrb6ZD7gNsXEA/v4O2QBmDrQwm38+M/+YXfhpEbiC449hGs79aioSSVkq3wbMuZR+Jf4XVvrd8duudL+5hIdeSDeWGkti9foePvVP4E+K7sYYZGk+31AnqhDPXUStFbMFQ5K2Lu3AONIWithVobU02PqljShu8JRw6SHdz7rsXz3k88ikJykJV19+xGSvFe8Lwbe/Ljv0zxkFF9WT3eeY7UJVxuGpDWUDFI/Da5QEj1GtrPulWQ8IuZvhxCzhQqymVJIiIwTB5aNtIW+fUijAjbYENpjQ8Es/JPwK+a8jGtlDSMlzbDiStIk8m7H/mx7Nx9JVtCLgHwXFczkOAgDa3/avVQuBWRChDwtjeK0ssiiEHM5M0ZoalGqtqSRPkmwAB/F7A2FSiwg8f6O5WamAM7XKMku1uzlCQrd0FtGjPgyDyVOd4aJ697FnkUQfqIIBhqJOnqd1loB3C1ozKARVjhNiWdJZcXYgmvGHfWpT4cxReZpTeeLeDjpOyzHSyuyoqPrtWsUdfa8IYC9DUqUm3L+FzAimV1kPx46I0nP+ejwwN23iRKAo49FDyubJHfjN3hPMaeaxqyZNIfI4k6+sIuCyOIz5WPYBrh22w8IfAh9OIVRH6C59n3lKifI3FlDRuPpFlh6FJrZfknBOkMGnqJ8gDq1DZns9yjVDqxcgRGz5ilFyDYJnGvNRIOmmLlhBc+i/MOjmOnzGLCaKoR2yy6qn0yrgWOJeR0enkyH/9dDSMmu+Ng4YsmpgcKKZvdR9Q3KWThgRX85qh+9vOsmQ918nl2BMG5/QDhp4SKDH2iCXsuqDv2s6r28YyV55D3dAijOcMLCmnv9ByD8T3n31IHl9pw1wuCj28YdqYPUgWP6PMwmodP2X420LDeAyRYZWePj/fEYvNcOMxScmW9UtKVKfLhEYzREqzHkMWJVkH79xW1hpkXF6AbPDiuPjPSjaw15YmRLgrJFGMuebk2qLVwBCy/GOE1xHUxcgaC394wwvwb//5S1fB5qBfigrZZRekXQngWbFCrf9i4jns//+7ST/m9A7Tw8M2TKHJPbaH651+bfWJUR/+UPlLNmIgaYMYWCKedxuEWYd8/SgZUhX8ufPgvuaxmWuw1ff/Nu80cBbohknFdR5WisZ3J7XWHMf5kW6VXy7cKSwCO2aZLCuKp0QVaSFqJ09vU14hKm5DKqgBvKEVlfEJyN8N58T9wqjhtoTDctDGfUIGfY0OHqcK7FEYfopZfku477P1UW7RVnf/FQqVhpy34Nq6szkAmCIb5JcjMT1bG5AWZvJ68i99NhhBHOMTP/Zygtk9xVk4sjCQziJM8zozc3zwJq+IaZPRVEHLUuK+7kPexRRADcDSCDxbK0U6gi0lpmzKbBBHL5rfHhnB28fdOUy4xwCEsMW7HUWeVlLRa2BhMmMOAfMdh287E7K/r/a/D1s9O8sQk0K5ZsOZLzZaWVK6DVMIuXNknE9X5zG9m2c4AVMzOeAfyfIpejvuqDKbboOCqpK/vnfDRqYFXvDIS59XPFTXMculKyc4gZPKDH4vxu1cm72gQEMmrg5jKnzYU+NnGhjGU3/Hh+VZyXucxI5rrtyLZSpD511bM3+P+RPDn/Y39ID8BJYtL5Q2mDNKq0LnThW0gIUc7s//28niH/g8yKj2UOmxhkoXdv2ubMAnOwQf0kNbrS5f/LlBnXASVHrFTQfQ8sUjKl7zW7I0LIn7rz+qu2pKNzgg6zoQKtu8ryV7HCeeQiFwNNuN26wFVWGq8G3P4gHNlAY0338MdYOrtNSREvRQM4KRw0ea6iEaU9Z+DTfLryoFHT0J4Dzq1LYRPy8/5FWr5NzIWtF8s7ZHSI4HaQT5HdTcCG6exwV5/rdJp3pOkKoMSZl8i6JaQldrKRdFRz9yY5fheWAPHbTNdoQT+6o4dCTF7K8QrzWSoeTeoyFLLjmFwD8pjOb4AU3nb904VeKhEm+CzF1rVI6ZXm5D023qC7bOimyqiG16G1vF7agRt05WyxEtg/PEgF3SwHLgG7HT1ns5Xa8ekCk3et1p2MgLQZuRfTdyJEuC7dcpBbvLGFLK5F7NU2r9kbn4r7RhfM+tNUwv55nZMmzBnVAYUbJeMuk9krnPPZRIXU4LDmZcWRQygYkFMyge46wffUEvgfOap45uRtxXCQGv/LWJ5R2KoVelY5my419/i7jBfAo+WcdlJhJuhpwCrZEnp6Zcf72EMhqCF3r1YChuL33S4vXVCjlvjhlvTiJYKYqCauU+iyX8DsR+dCtfgmTL3stt9xIMT768mMLCjUITP997e9sgN6WDoiY1P9SbNjsgiP+l+SRBUyeZt0naTbV262v7PtkOMYg29UzL3U2DqYDLlk9dWq1BZmZ7+1+DmCotLShBO6hsYfMr6KCM1eCZ+AEWgJv+hR2nKA9pzM6GBFcSjBFsEy79IF1delNQMV0HwMEIqJDkUiWBpirf6RUNa8Wikukp4lA3E5ERCwOWd4hSGYUKd5xZk+Ss/gTGoMd8YF4NrPAmjgICOWMsvE2RtmymEHfuIg6jLgU9RII/2i85d5PyLGQxknzofOTUQaHblCZwtW83OA0zwTrnmAo7i457Y+dkpSu2InZbkpITcIJbBShRTInBvO3EcA3irh3fAMQTizty2EgFEOlpx5xH7muEtP5LIJ/jkTSPtzZkQtPOK/jW825uWJQBN+h0f8uRykzIbLnnbRQpxl4m1li4CBKJ0Si9rS/c02pO3MBdDcndBxcWQbdKR1kitRVfefvuY0cw4jSFXyhyAaPL0CnBjMZJaf6va9X8uZv0F56+WKYkc6XQWmJs1rVkOnCFP7fpwwx9f6GxjxLlFTsSG699Iu+htLJa+mWjCB9wkPQ/AcxSKPZZzWR2OJD7z5i9Nb+bV5Gyf4Ih+//yxd3LAUDAs6tGjfe9zlwXf8Hq2ltlvSOS3uyWz2IZnqcU2XJM90On8jtfSUsCWKPmHtmY68Zvq0RttRbJZSstZ8skFb6TQeLQwovRJx6x8Q+0gvYu5LiHFSZ/fHNKYyzI5aUYlBvusEif3K2LPER6Fa45JXV+bzp1GUxDSMMpazXh3x5qgEHBF0sw9eMvR7JUNNbc6uylBIYRgRpgYehLyWkuFgH0/uXzV1QbQ0kWLEJ5/SV5CoBIN6MTS7Cs04Xj9CtGhIAPsDqYaUYkKCeO8hD0InZ2+icm/W2SDDrZkaF7qso+xKwJ6zYx+IezV2IAqdzWjM4otv60MJZnmRVTesd6wOfzItV3d/qaF4W4xG6iIpVnh3c020UKzYAz13rZJUNDa3R1fT4HXNHiJgB64YywJbvnkPgxm2taH/ZqOdw6Dly2UA+XiVM/5KqI170OFj9XkJABIqU6pGv6jbDLizi+p0F0Qt0yl+KtWmVoSvXKf96bhlkxh/aNxHZuZ15yS4JhpUvoy5B6ao2AKl1veRZvssmo58jOYjN9DK8kDmgOxt549xMj4A7iGu76DObZ3Vkvuv1vHz/0a5JtKdGZtkOfATMteDZ2mvcMsqnMoCbUDwR1r/6iA6Zal14axCGWAIo9X2aC8x8MVccbxLgUSAqyApSvbVOl9gI6Bn7YwKbMOqtnR0PiXD28AkbWUnFU47o/dcNVgXkUqLrchl+pPluO+tNpsCKMh8IMLYgjUYrwdxkO8z34O9zoahZcpyAuYSoFdAhgTr5/43OVfUum48zUmgPnLVixTC4Yr7ZOXWG81jgYfwJquIUNBqAVVROceDOvm3NAgLPEQoAUhLVYo/9j7Z0fqXE9v9ubOas3tZr+tSaF3F7pQNguKEEK9PZxenEueNBNP1C5RyYqxc/9TNT1QDt4S9kYzeyv7r06k9I7G6cwvhY66wgjlRQbgUa0J0m9LjR3NyT6nhdk8hgQ3vjbHfS/vRpuvsA+j/Hh/IOuaDmgmqpcsBdzYnKq2qDgqU0PkbyL3M+VcPSvqYz4fMYGru+IBUZeO1fnQjqMWo2dNtWtCeC8rWaj/GFyspDtvZ1V6msjeD7D1a8zhvNMu0EsVN3AyyNxyO7OOj0kty8SLrIvLx1lPCOXJpkCmxNOucVV5MXoP6ZWe0eFL3tyV4EwTEXqYsil9Vzb4g/x4gtSh8mHwSUdQ8KWb+DAB+NUabSjvpfN0c2L35gS40B14Tr3hKWi7rFrOMJlQbsahMCYrW+Xw80ME+H1n4SKxsUj/bDgnBlkOelfVLfGhZjBhfkL0X+Ly6Lk47OW/qxFP1/8jAuIPOKjg3GAdQU5ctC5q+B/yFsNwhCNpkNchN0EY/1qjhQRu5uJ2TlCF2ybR8I5hcVKFOakOQzNK2sZRKrhKF8EGDDVW5EOnaxmF4sFfsGLFlllofZcIywTSPqLktbWDCXp9xrGHsG4TWfVJ8UXOYaTHUqq1hFsGxp4VkW1E434n619KtXT2jXw/u8gCTlRaLBpyh77UyrgwKKggMzCc9ublTpWH0AE2W3XnPOGY2ghY/wgP+tQtnXRJrX+t8lViQG+NZD3oyqXBlCQjsAB4lr9r7+cMzERxs5FIIa9O1v0WzrQfix2HbE7z5iqLqZymFR1FrOutWkS8sbecfUoXZCc35ItEkOZkKhcMADLUul/t9PtQBgjRvXwwoDwYIihL8lM9kzijHMMIf6M1cIM9T859mFzhmP9w/XWqdxRJhSke8ixe1D4RIPwSyTV4kZF8pp/yEzo9aN3NbJyDcxqqxV9gpH+BQnNSOIrAStKlpHg+ZhVylwNdgG2JVKIi31JVgE81Sq6SPYySGahkTANRE1DPejLb/efwlTLPNFCtYG44Ki7sSdz6OJ8qpcs4gwUGvPQtYBJYI3WwRokFwYqoR63HGzUW2Ew533+XDUp4kwDI98o8jQ9bLj3IzMzkdkqvboVeviiRCyNq8iwg+zdvlvrJZA23eSkC8x44GzPuT9d4611s+IVDAK5vwGcheyFaq3oVsJDtv3UWafRstOslW0ZzVe1v43LQSMV2jGlPyAM+gXugEk6+VurqMbP16nZDqW3KFsMtvzDUqC4fUeB6eG467755YkemFuaI9rNDIHz47R/HA5u3BZPvWOVfxiAo3dOP6fXAAH8W30n19XTxPUGRaku5XROxfTVlyhbU3EwfsNs4yz/5F5vfnywR9zUJmFzufyxpWJjHJxg3JKF7q+J1TaB5KDS6r+nxrmB2tckT2rEMRmQ6utVpxLUMDhQUf0mvRG/rLUL0UwmwqmjHJ2l6J0EC2cMdT0WrUTh0unWVmMIp7UV4/45lK6F3tRu07OWMWV/579OhNMuJ5IMmQGDZ0vNN0jEaqcyqdWdFNJ6QbyYIFdbBrSZFnWmL+RFRjYRWgJQKOYiHli1q80YMSxZfPAHet8/gCEUXpF3Yhh+mL7XkZVkuhgSU7jwwzpiY8PmWARH+V+v9M7twdcdzXZ3N3pCmio0f7JMdK/oqFxelkbHrocMtxVblDEW0jbC6g3oAdG6j0Yv9Ny5C+p4gotw9Kdx3oG62Vg4Re7PfXys2TAtCFnxAQhLhMXteOAdg55SjgXMqum2o5i4PnvS1SQUXqShlT0FLvig2KkKCvIvCUfJbKKHFb9bIRSMBPWgQ03OC04VRg2Y7QGM+w+pH3Xlkb1aw9TFWFfT4hSR28Nn71tXV05eLTCphuAeFDC+umlD+YhbDTTPRfHq4u4j19WRL//mh7HAMv1e6GohO4db3rRM7Ke7cP6w9lO74Y/6aDHv3016TYBIGYWH+jVNCfMt2AZgnfVfMzs7tB60RAF/gwubFVUZ4Bsj94mWISTZ90qJTWwPOXZm6EHfWGePuWDuHzcKZpf84tzHNdlS+u0A0eB9TJAwX1FTQy/1V81NLJ8on/cPMq4nqVHSitzaCCDnQAcq+rWMXFelUxcVIHDJ2nqzYNdlC8ESA0azTPXR6ni7SZSz6NdF22W3LloiCU9JEiqjX/SFIQQ4bm24cXao0B8dbHwGupOE0B22ZolWDqh7CxRrWSVukTNdqCQMJ8oDPIp1r6GU9+8bNAQqtbgYe04ADA2I/dBR7OnkAAueWsdb6eBP7ggIzclQ9GfPUbFvEdSzCFQEGEdLMVjkqMWQXTupOIgyObys9+8fJ3Vok6TB+RVmrz3XeDockVlL7SWmYKM/en+De6Qw0PJGRQLvfeFv3/AaVC2sNf+8kT+QmewoaXgDH4PuxbZ5sglyniupmIpPxZVZUJX2zlW2W29+imERidXV0DEoEHOF9G0Ub/JtRvbSMUKv4GPWIK5Z5fN7v6XtBAzN9JRe6GJvn3SGWAQAqhaqj9w73cz+A48FRi1s4iDvAmyPcg3xceY6K2YWPBKShxch2G/xHHLLY1JMAvk1PyILNpVp3btJBBgtchcNThAuzUvc7ofb4T2K5ihmvItLpU9LpGrEQva9Ob6EW7QL5K6jlm4MLWffMqyNQcev6kJUIEquqTVV/ZqdlY5cmqEgbisQdOMomUStOYjmRq1hQoqSLhoYgI9/8F10HZmp4POLxzZDj23MwCT7azpFiufqzsip6IZXDsocIkVcNTbOcCpz1xcKJLQ9kZewXxBWmNkWqwHVGvjchPWIRSSoHllY7vvg9KA/2nhfzB4VXO050nymUpZahOyjHSIi+PY2u2uVDmDZpvzqHBnX9/p7QL/vt6BAvAZP8z6xRxY1s8ssvvBsCrsq89PZP/ohJ9t6L+2PTD2ydbWbTiwpeFSbjBOhmWt09Fq1DQzS87EgGquQaZQyLCeIAOH1FOw7LPO48qzH4S2IympO28KBpwhSTKusOIAmLJEf0sIj+VwjYsqJQa3i/P1a8QN/6lkzaC51n3GFHUgXleYGFOUzqG40y5nKMf++DVKA5RK9WjuY6M7RTS2EmpRPnZ1EcgcCuhl0hFtGqBtmf1ZMToHhUA9v8DIqJAXnA+Pf5JnVprnEw8kya8hoj7rrGiplpRUbzxll2g/E3axXBYDL/IsAfaGSdaA2Of9orGB1w/HNke+NIRzAYNhpTHrKmdRNhKw5z8yvjO79k88y5IEgIAflMgku+sqoD9IB02uPeUbXe+yaomYRiT0BuTTb02a91uHWRdsmnxlOfgZmdKeA/DIWJlHI3AqaKYBlursNQ7IcbBSvJb3rb5EHBqzo6EOUzzvf77kfcNoRuXTzI9bFdBxJk87goYEaFLJ11/+48d4L2YDSqZCG+2/ru4k9hDe3OAhwy6917P5/dIv5sVfIzVk6qZj2Ij8q4mLZKGyuZxx6VH5ry/0fFKw5LODrOgxFXVGVaxLGHd+NZnbow8kh2HI1gKGxiVIaYF7sknXRIyVcUyt/wl3rLzGdIS7/I/W01NpjOHckmoBav/4v15YucGHGCrxXHQMYtPirSvUcLcTlgdYDu0yNDyRR2QAligZnJWR6EDl3J/sdXy1i3P+P5jDuwp2u7o2n4f7ahCMd3Fs8vyltQwV5ID4IC7ypAwfd3uZoqOlkj7Z1+YGykdLCBdLolVnI1HsYmwMDODdZ9GpVOAwWNoPEcfG4NTLiULZpnCoGsbg/2Qokd/5cOVQ+NRLP80LE2riPFF4euVba5WdlfES+zj2PKH7SfwK0bTDWIwtgqaojl0PidzODxKdcDgoCYI5ZBDpTVtW5b4P16TutI+4qAo0Af2/U0qnrHOLTeQsWIu29+S7vA9mvHC70krvO0W/GM2KDQ1LtClId95Y/Y73EqkCQ+ZmQZFhW7T2UA1OKBijyGkExmoaxb2RG/jRx0nc39wtg/kcfbMBPTdFaC0QdjlH0gz3NAdNfPa0E/CsLX+uIt8/u7ZWXCtbjDuZyJCHLvJdX5359/ZoZfjqzv3v4GbEnpyds/oP/GpfLYsT7APUNrUEmoP/VH+HorVf0EwTq9My2/IZNqFHy+oIROeLZdroyYTrWsEQZF4EH+XxkgT9VK4bU4ReRGtubQuA0vdFjV2QLS7OdKAu7tVtFNejkk1k0ATK/nZUjNbyj5hiR8P75e8v1ot93txTcngnrX76i21gkhWXu1/3iX0g6o6ULl2NfFMuZEDJsL2P6XzTZjOBaE1p+LZblJltQGqDoaYWNMMBIqghdPRt/fGOmMNlEVLTBokNgiHoHY1zm2OvgaHorM2UBLQPJdzD7qd0DFuZX7dODV+IFXj6/qhzAd/TMMKN0EaVHVompbvF+k5HfPtpQzEHX1U47WQZnkm3mehT/tTk18BI6NQHwbqxh1wYsgWfGHV4Zrg4UPIyelgbXB+wwKnEPtfx6itAxMsPgFM91SCiCp0WXHbDaQrWAeuyRA/4nwdiHrx+wnI86ezveBBhpXvyqBQUYwblqFSrit2ReKrZ8yHFjXd3WIWZx+/4cNoV4n1iixvl6kIWJNAFnRrGYmHYpsRZ5Oi2m0Tf9yZCL73AbUWnEZbjoMwf1Tz7UOu0kpcykCaDC1M00H/wF5h9df/TShTeHo92yj1ckqlBtR79UAaKV4u9hSr5nkw3VFJXC1Z/b/zwZu7AuQ5MO/Va9ilS73wXzRLoQoDfMzW0eQy+l+FXSJSOuwGOytR5WG5gDzQWPEZ6GoM2oEzXdnPDfzWXh+KLW7VXbBNd7HciEMPw/zvxznZZvpjshj0i3e5JUAGK0s5js5UdGDHyOfWC2If/Cq8qvcDohl4Uj45TthQdphsdGInqGW1O7Htwrigf4RLXXqPbc6ycGdiMHhRlSEQ8v4LXsCEAqPnAC9TeEAv6Aui1amJN4SHqtnrWsZuZZAWt0MRPwSLTrP0d+vdKMezqRHFMdeXZA0UULvlunCTbhGJZYdy257bP6HIegObNufuBGU/b8YLwH8IxglG0Ngi+0c9oGEEkPvnmTZnkKQ1xg9FI0c8VGTHAUnHuMKEOVC81rC/5LsW0ScN3rYFTZLZmqCBlxW1PztAu/EfTuTRlNU83tXzTVZar9ALLMjjMfKmNnG0Xt4qvSZRiz1EMTRTmxJ6x1GeASi3DMYR89yV+Oew9IP5ciHknirHAhvDdDpKhBAH9yQ8y2ClBfAAKlOj3SqI3lIh/a9oCc1nNmphZzaXZr3EOVZlE1kVquOqYtsziaGJuJuML/Cfj4tj2kra9PtcqXw4Kj+G4JmjMRvyXQuFPGw3mRPdo0YnO2TV3w8/lKbyqN+hff5pEgTqtkjFhMuAN1pA2i8Q+r4ioSrSJ3rimW8QeJvQgGiYubj+fBajOYoM/6+7K7NqfS9rsflMqCTyvLLIEji+5ybHb5uLZprJ6TS67wU2u4ISERZ/XHLi8kl7Ro7qKy+1h2+7yW2lk2kdfgxejElGfY5QFxaDr9/DCDGGF92WYExW9nofWB+S+AN2ZGlbEUketTu3zCab4zjdewQA5+9YttlQbaNrzxgxQK1F1z/0BAqDK9AqdFcm5ZMrNDOl9tDQC9Rz+MyjPMeELE2Q5hRiyD+17r264YUsA0Cm0NYWyt1PxjfrKEhjDCLat84iNixT7Y1bwJY7druqiqn0EEnNSF6RUsc+Qw1h1hR4rONC7XOf9gxm0OHw24HFx/WuKhvBDs/GFOP+xUJ13ZAk7CrbBRPhmxppCy+I3SGGGSv9nkSWKLRNJs4DmsMqIb4VCHeOIhr+PFPDUy/xPDlui8VBe1gTZhtMNiUkdKDu+WfXwG3iOyCPAItLCS0zZaXFndc79koI090LtSA26rGDd3lX6zqXFeTF89JeLb0cF3U+qiz35g4I+wJMSn2Fgl9KbJIk8cafhFplKn9qdLxe0vnoQ9NzZLBLsRK44BwcdyVt7jKczC5dV3iX3Pmi+vSkivtGGvPhy1+XuiZlQh31qUGUEN6H0Lo6kiDvX1PZZamhe2j4/0rBfsLFcPqrj8/UEHyvaMACWPd83i8lbhVH7EY+4Oi0yulaRbqSka64o23lLKTdaK1Wgg462k9zPXbps8Oo0PwKGp+dplvLMATh0JXIfKiezmFrYwF6/9oH9fvBN9kuH7PcQ08htLB1dmfrLWBlywuN4bgJ2hBcVFHmqCZFj9efY+XSvGraPWk3i1s3NlRO3DHWpbglBi3KS0SiGjlfscOxUU3q1nVG7vmiIk+j+eclK4Q2hpgl09rHInCUnz/4deed+Nm9df3KMO3UmAxK2hXkFlbecRdkP6yLpxTCvUq5d+YrPLFEJUXqqCU0BQDpb4FQC7z8qQqhxKwLaBHvvU8JNIuqX6iAUT0d9f1revLXJyjK809CddT6h/WvDw2KCBXJfWx1X7osnuutkL2YZ4RonQb/KUL2XGOqOWSBGnFQcdQimfgCMyoEr7Yd+UpbrtnBDid+B9NHW6VcqP4tABDquKaLE3csMYJEFLDgBhRQRGJ4NiWhdDskO3p5aWdSzgMzOOFe46wwkCOFEN4svScI9bIEYXB2XqklxUmlTvuGCI3HfMTp5Bo/KXFmZkFhtqNE8tSic7ReDePCHOz797Xc9Xx5I6QtCMgqLHX4nPz8uojQ3H4+jshtSe8Z1y2Cbf8cNLS5UuaY+AKWx8SguRjTxmdc1Yg/e3ivtOZGbxovepOq2G8FLp/9UHrPCgRzwIqC5sdrFmE90dmJnXl9nveEsvam/XGlxyp5QtEFVyIxfP9n65eHaxGV0pBTK27ybn+NWVgYu5eyQ5POSlisVPpL06ZfopLIOsduKD8V1IwKvXvHPHJxCqcQTImGFmCIhJJuyDyOOJ4fKy7E1tV76mrEIVwjCuOVqyYx56Zr42Qsah5tbyEyss8M3hCRXNwe1zitYoStts6ZtZJEW7Ctsxi8sPJRPbBeMN/Ljav3wNPy1w3Cn45u2vo+pFHTrtpIJvMVLTDNl4iaVYt3lk4+7ljDlI1bDYoTUJjUTJQwsfkIJtYLn0ghDIXJxixK3tCyUoQN26c2atVoVCIfgg1KEHau8z5zszZJ4TL1fpCjZ+lFMWgOjK09Kc/yIhZjSK1hwjB025VdC6rZ3cvcnbGLa2UDsaeFbMa3MtqWzADMZQWUhebMnzqdRULlQL7ROANZYPowwSV0JDjIiUYmPPaI+2ycJ4ZEAJhljP/+GFnuaBtG8T0xjNI9NIPlvuaFtDJNFl4KO2GXuLBxThz7Uh2ywBe8ie+c6MMDR8TFeexZSwQME9UcSI1lKzYpQ/jzmhZrczhguxn888nrElf+J8Q3uRhk/L4toHlexkT6EUcLXuNIy2p+SCnLBn3zNjoGyGGlUHds5NGq7P+XjmWDk2604jS/5mk7FRpelOXqa6PSTqs+rC8xle8y4Vlus6PjmuHAVVJ/h3xkTKjEfyZUfu0Pn1phlDAB6Hly0USDd2qQWWbqxo9aOC15S0H2uM22/V0TSxrOMmbH7VLsVlLtYzj/BeMMdK3t250bOf9HfTWtfan4Gu1xOEiKQg1SBvQqggByTowCJe8qWpxSw9R377zE444Fp0Qlk0Ry6exm3O9ie+O1v6mpy1ga5h37CuH0yH5UxbmB0kNOHzsw2jF3mBiaNH9xrVDdZOuvil3rmfRvYEZb48MobXcMiSZyudEQfZP2yCxrcQn3bhQdbJ+HGZav7riRQz/h7kogijA88OgTPFxrZFMRm2wp6XqThhwhcvqziO8llE2elGnXYw6YmGViKYp8Ldk2R8CipLfOCtK/K+zqUeXP7nnD4gUnlrQgOa9MYQ88Qh/a2P4JDU1u3helAPr7oRWcQqZQYXJgWWzGzOsaUw+4+U51uP/gXBkmAc3YiIo2QP2MZ6Wa/pQ7Y4Y3AJfQznRouiAQwnJhULfNSDJixQq4qPE9X366XxZgIFTEV7S7d5IfhB0mmQ52QUCMORP52XGTtbgQwNnQb3fdeAAYRKFgIC90QhJ9qE9xjOXyiBQLHoeqVkGIKOfHnYjI+BjYtMBlfXjk5arzHGO2/Rnq7wUjovwRUIdQkObRqF/xyUDXqItyhyTLsVNU705yBpavBw7F7z+gC+jQmUzQVb+fWvJQLuSGHjKYhXTNTH80wEyP3xC3z0Z1pS4l/dNzwnIK+F9UFABtQ0Srg3DZNFxC1rs2U7lah009e6tzt40grwb28uWzZAGmMCur0bscImwsHLyzvCKqOAByqUr3x2zH19Ssbgf4AgsqrZhIBj75qdvJk2ccYthbQRL8gPAC1wvNCMvFTv/CRiYP7VW7mTaYB5t409Y9wPy0heYMqx/cYRon6dowXOE829F92UNuQNqLaBlXAQ7UvBoMu62dhY5zmHK/WIjVSbd3Xy1fHZ+UHcAum5cABoAyrE7TpQImdmVVFFAmzXiyCcowG4S7iZKK8XjZZtw4g3ATJkmEhVLg3Hp9CZimDxzwDTFs+aUPwP0cBba96tBEOGcxQrRzMXTlXHLCOlVM45aN9hTdGdvfr2DY5WOeGeP1rbT1fXmZ44p2On/V0dY/+3hqkSWvJnFkzewIsb6OCa9oaLLDinSAnRetCKo95hDwO8ztuKwgrgndlix9X1PJNQeQei0KjQxq3B67hY9zDN6+H4uO/HwQOm+/deqL5rjrqC9bHJoNJxm7ARrsC88yLVqiwfbUkuPLbZd0r3HKp158O0D9sCSRhjrApByP3sJuiPwXH5vM7zznZdgTO4XhtZeo+yKKiOC4N5PHTGv3K34/sc5U8S6NF1bERYa+tbQBbxTwln1y/oQdJiz5FZ96yYdE3peVHIdsTutJZWJxOXgnEDBcoL2teBiCRtrBcdRtodnqjFDt2I3Uahpu8FOBvzmg4meehZed3Ew7OIVpz9YUjsIG0/i4+lBfDpC/tKAyFZzbZcoVpAX6WhRjO+7xdN8G6zTu/efzzDoV1vHWEw0O/MAxN6pD9YMzq0493PIpNs+9MAuN9xFRViWjwlc9AvXusScYZQl13Q3TaXmLLF7bwVHgefVQ4Ji3HN+UmTaBdeqnsF2FtHR1L+9FZwnuerNcqU97eghWsFf4vucs8ewx6hv8v6WKMVNemBxDENt24jCbVyFWpN5UqoF2JIfLsuhFQp8v4ISRkLZKWkqbdMH6qUSlYWKPDA6pmw/XVm5Gg4/dRYy4xSF8lixETriutDqBi0m/X9IEySFg061lkQziYOgQ4rgB3YcZYZuJo+ToTrq7DmbSaGISnMOhIUpkt/bcZkb8SA5X3+YxFj3WtGe7Q3jx5HNRsBa+YxIrI3/RnftKhT3J+rWXRjYjRDWA85qsHM0jqVgWh+81PESJ9+jmBkP1caSN/7PUhyRF2LLhk0JhicyDFgkeyR6FTeREhqZfNeynIZf5leDb6Kw7RU/RPZdDLleLofyQVQXeTjeeveg2io1RSv5nKfaJuHF8QLsd+W89usCsF3/LZO49Hbu0VBB5ZsN26YKbWDgBfVi/fehfNbR2/X4WMku3RPhgqst/bssxwOtuef+jde0AsIbWteXpBRz3HGREBkNf4fnZEHMwUTT427jZdom5TAcuTKBzJM2cLiQYaSQWe+gzfFgkTFXK/PPNh36ZoRt5cK/ETGQmMpw7F/8pYQsI/LcRvdZwW4AYy9ESe0yLNjKIunFMEG98sRgpSQCYWlf18mjFwd/45KQ2v4KSnC0QtAkEMUjK3pOtaw+FiyinDsr7YhyGQ1L7+KrQhMJZOxYgL28OBRTmoD+3Oh6tInWm8y8wexXdYMyl/3vLn6auW27bEgRQ7tvYlfeBVjaMvqm1qcnPqLO7fMo1ZzQ4E+/8p3c+WXqfaizHCoC9zwM9pXOwWcNaA2UyrcxrWvw9dojh/hwSbRcRNR2YsIjKRIWHR8OU4rxji4M2UiTgM5V2XSIvq1+a7L4MwnQzVyiDS2eSoVHdGC6ws+hUIm1kAfGbzUSolkKSFTcggR/kEA0k03PajL1peB9+mIAAE17KTctYFLwMejjXMxo0snjcmTVLdR26zfH94tQjV2N22nVYrrptgD4bHjw+agR7yb72hsJyIl7/qLnepur9Dmg6hv78UDmlePDHxeLOOiK00KdUxN4cqtdjuylkIZ5Bbir47jgteAizIWr/gSqYlTyRsgP84c/7kknddUWVaBnHKMTTfq52sCN1tD8wp4hN3ZUTE+AUe06opj0WozjD/9x9QjuZkDSdfjgiBvXX4RE4+MAEhq5jP0wIw8WDSNekUHtFbWsG8M4x8t5Mq9QachVTtKPMjX/Rju1IabMivKW0MuV6qyaA1jWXe2gIhleZnRzCAd7w0/BqKlYu7mzkYeu3uNC42YeQBEKlXnQT9WKDTqj/yoiby0wI+157Tlbt6X/3xZQ/J4bjdiSaIfPp9dLnROnef1hATp062EpDEL6B8gHx3ohOEPWbLpQ1OATSIxMkurk5NO90+mY2TQNrD80Qcj80aUaP7jBBhgPunzEL3d/6aIUOy7JPPAreqEVkjUg0Le87KRTh+FNxvpXARc/Iiped6CVA93dgyEzh4vV4udp/JKFLTE/opyej9W2rUfDc9CdY2dWod/CtDUzXWrqghZO8CwvEGV+XkeTbDMrlXJnWgV42J1sK4cAEhUieuk4xsDjOBjxwdA4Y7IDVE/fR76o5xVwJOjRvTK++BwQcoYyMDdDdZN9E6+bVD1dfYYmPeilGmL7EmK3+Ye/40ZlU1M06U2oRvMQxlwaP7s8sRND7hoQ36BuX83s4hCEBHDknQKeIyX7xOECA1cLcj96ftyfmfI+ariaLRYOBKujM7GS1bXMo0e+YiVDGFBSapdCHcJXOia1HYMvm+gBZB+Bm5KWILJT5MeUnADlhAAPGyeM8TIbN5HihghkxexsFEXOX+HJUx+oDZA31/E91iePK3B9dKW0Gz8c2z4u6xYY26uUGr8J/iRptePFXnMai1AtRM2lbMmZhoPvAP9G6mhhCVtMOECcBFO2/q3IZuQUZRKnNiMvjFgy5qv4NYMEojJFt0hEd7zzPvSWsG/dq5tc33h3ZDgWfKB8D1/cp9mGHnlucqSLzqulybwpArAcYsE0HTlv2AoHAuMy0sGpUHqIvegKrEFjiJF21w5qBxg+ef98v2kR/qLDVT2gU4btWR7UWpEqmyJNOtM1RTginWFHIswcn1N+DFa774KA/Di7QP0DxUUE7PEOSRDdSPl0I/X8s8NT6C+OMV9mI0olG5NwwJevW3mwt7Xe0CfOHuxmO+/LcibVBdtYaFQszBPgLLB5fluX1FfVYhliZH6fqsj8JhyQyeSnydeNlqznyueypwSEKATCmhUkwviM+V4bYcR7a8Yz+Sy+EK6U4z5Y8FssjxFcU7oF7Z/uiLac0PGW7uJZBr2tyyB2ue47nN5gbe5/Uc/uFg2rWDHB1whZuHbrUOZnj0xrQHZdHmzsG1j2IOLT8StZjJUbQfA8aRwUB3FbVPbL9+yp7ctPNxEWonqmpovvuOd5HMyONkeiX9OjKGrd2H/Rn3gM+cBRhgCNQJDhQ4yd+sai1OyCRT7uKNrEBgQYfz0R0HVn6h1b8HefQzjj65nXdX5/Z+josbjVTMVXO7bMZoZecAyZ/Bcr0k2xpweonJAH1o/HY4LWVLTh5O5l1gwrFZYxZu6ZPrHxppOnWWtpwK4Pe2REd1iprWuaprlHtUOmu+oThxcKpQko6rpI1bynLbK63qCIdZ7vlQXqOzQjfNLY7w6Q6foYnLeM/PNCvhFr7d635u+ZAUILEgf3pw25BoBgWwwOqEN0zhiIMMwt06X4RiAF+hEb8yMOw35s0PHqUgWQx+B5/gwbChPIOgpv6GOa6gFCUdV6KVZOemvV8noy3OX+oRNg+xoaUY8QQ+JWh0CffquCv0PPHc/ZGPDrlaqsSG6orIUWmXHn19up3pdfP4rz0GGPmhUE0fQiIwixHo97uxm4n0cXh2Pm8+MByVH56HbJG6LcJ7UtYzS2aXQc49+u420tF/XMAveu5bn5uffbg8aZrh5n7Fn+mXdW2K1HFaGhsdg3sfOwoRYbvcMbx2cLXeziIXHjLtlJtCmJNj1pFJnotUBJ+NnYHPUANDC+lycpTAtNWgVd5w82/Bys+71ed/MXqPFcZlzvv+2hGygDzFtS04cv/7ZiqLehlhj3IMoVXY436F3zDhtFNcTKvKn0XCrkQS7uVHKw9G6uHqyo0kuyf5nHyAvQCVl1TGJOvXu0wIMNWhByx1bYfFoh4O4aUp1bjrCNFGgkUKd7j1JN+hLx1lBDn1/He2fc9pUfg8+yBc2Sw/yxKe4/GWGAnNqRNoh64o+fc5kyyNiNBP88CNN3V1PMm5w5NwoaaGBoaKu/FPulSubcV4TmGk5y5Srn+th0ekm2SbJoWJWvw5XAJT2Mnpsbu56BTLf4i1NT8mftFitvh0Pe8QSPF8lm/kdPrThbFcrsNjsgkjONscQ2kRL0bxiX6CHiCbUg7ErvqD9Vb1400gz5FNNTg8uz0bHfUxZkX46r+rhSRVpABQiub7WntIy1sZfwWXvwM9YdF9BQyvTKb8ZomRK6bzjWkQCAVstkyh8HgehiL6XDQGBcb32ph0f+RSEFoWO677hA9MvHwtQ8a01d633UIzeB1w9eBC7899pwUwTErSiBzWOhl2qKT7ljUy/Svidq3KRkF9JV8qlcb+5uOpPpk+Zi6Ejx4Tm21TK5KWQJSb2ZgV4fQEjBeM6fpQXMjCvFG7L/s4ujq1eNNtPxgFfjNY/OGqZMSm9Mir1YSWbSocI+klmPl+9yAHQgOg5aA1zpCOty/zmFEIpPz7IMbj3T9UoV1JWEStoJnJ8IPsB1/cnDFWVxQf7/nTaHNGJr4/2EpR2ESGczOJXSoilcO6sMs15QKNE2NLOpcqPqEmoD4gP5PtyE+njoPX8pTbEDHP5bMMAHzrq4LKCuE/iqKcE7ghgKSBoZT05cqSaC9fvv7AeWHafFiB0R4pZh26fI4F/M+I+HnwhIjgOdYNlgFHXvVyaojxj0J61vfJwPXLoy6X7FuiPrRoUPd8WiWde/PyJgUW5O5mdOL3gS5WQb87175bAOZlp+t8xXKkutek5e9dfINai/3ZDN1MZ5bKYr1FX8sPsciIvO6BHuc+7qt7kBmMSUvZ9bkOHwsNbg7XYYqDYxZ0mwlJgB99E58x4ibbStutoSXgWRaEIVzSKtvkXATnJjRUTfZ0czpBZzkGhzrObp3xSLtm/Zz10Tq2zcDoa0AKqcHeBWBcOImdRRinGCwG0kg9Reo3i8CR7c1H4KjpeuAqu932HBltoWzcfLGykUoMMSp0D02C+Nx2dHM65VvWUPh+ovcr5TGZpWFTdMjzI1vBYp9iIu3amjE0QTPiDvByLSmrIOyrajhwI9lxdDRbCZDkdCsgoYex06HjHteMmRWk4Lrz4Uc4JACpGXP044U3zQaraLoMzIVr3nnrAKi60QykP7tglISxg/pj6M/F+CdamYMYlKx+pFCEj2PzhxFVOnD5VBUoPHStmR9uRPlT6VoIAdywmortkTK8QHxosYNqVO3vpz2b+0yCWr3U0byY/8ax7rPV0p3oi3WSFCg5n3/8nqQp36v/Jel+swpnW5i/9IQbsbTC3RKTPSUblIvMtYOS7O29uv49Zh5VhYknexuu9dkUOkwQQRF7BXtA3iHBX8GK215kRmwXR2nebjqp+b0dU7dF91uz2v7DvDA+2K5zsg8YfWJMqawr/3e0wf+8FigjWWq9Gkc3pvt5Dk7Q4jgPSrtycp4rCNKvEZnHbAzoH1YE4sT30dWhInI3/brgInpcvrcf2CdQ2bRHcvcTDjeqoypOQ4W/HK/XmmE1lnGzNeirCdiB/UcxOKnUKx8PBUQVJKo89rgdabR1xQW5DuBAeOo84xaj3FdszvFEwmLMZEbtLgrVJ3NLpaAMyEukbl8Xhp950JzwKTz5ODmYNWUkkBlgAMm0zuv9QFE88wEjsHlOTx2IfJf2mcK5+t3o+TwgyZOAbK5ZDdqGxsjsO/+8T8oYsh5CZJyM5HwbFSQ4ECYyk0tqMKsQz3COfAscpkyDaBeTNjuSY1V9sZaokeqilFaBkChOV/hM1/fswUFhvDK4SMHmEAcJq54NLPQfHXsG3zZwA0J2fhtGX03g0y7B64fvHih3JKSUifdHPlNbsbCUXHCrAoiofQUO6iMR61bcdDqIFaM2GhOsdq3s9YhqPungLfkZgbOH+9zsw7Fl6dA2M5CqKnH4TsiLVTJ1g9dMFzAhFMOfd5mIJTYGai2dO0XxEABcVdcPClU6Jk44q26DFQ1P8x29JCI5FCm8qVZK4vFRN8tIa7kcFJ1i8UatlvoBkSbkGqaDFB5SFAB+AxftDNKm/6cdccNrDTkNXOJ+9c0ct3YtK4TlXh11N+yLceyY4GCyGu1FBLdPjZqa4eoruBPBeM45UpzAwERDRXM5Xa7mRPJsEg4qHmlg9HIEjn5QhI4Nb1/IbLNUQrWecRDO7AMPkWbYMYhe2tJ5Emlb2LqLrssYTAKKWpvgLyz+cQoeXOmusoTXR7XQ/ctCG1rATTdaDVTEJYsr1wmUZKlqY/gp8Z6HatKF8/+3dTJuJr9UK+ixoSNE1bEY37DKezQzzqtb2U069+U73eW4fgvKuwelknmCXvfAQfomcB5a02p86NDojAcvItuv5p3l2Zck7mnI8rSPP2P6DwUalzxeCoKHekUZEiLE/rWwjp4tqh22kToopTPhAzHcOCySrG+8ytY3qiD7tjtGMkM6UhMy4qpOA2/zdzW8Nyn4kxGFx5PDKNBkbfq2Cq+p+1qkAZ1uXj7KlvoiNmax7Vw5FGV1Nps2AiK/ti75aAmW5aeDy5Asf4rvxpBWqPF1bZUPxcHWX9z81DjMN8XEDS4XqcQ2fOuOX44W9FymNE6x3UKajNIiWbmxSAucGXmFC6G0NbHOEHZXsGM5LqvkXpSLFBCke1k1Lh8cuZhyBHoVw6E+6vWG2uap5YtUXxhm+vSK/ie3WbrNH7MPdLWDDrZv2tk+IpuBP5N6Nwg1NAZ5v+vVYK2YeZiLiihvvpBJy9xmIK4T9hOgqzhArusvy8j3k0EfRK3b/PSWjsNAmUrfPa7/0Cvopfh2FKNScY7q8fbvCRNmw7KHU5b+/TtBVwKpO3xbo6yTCV3a1Ifq4NgCa3vhkY2F8ABhcIasIywsTzpZbwGSauj46bhuEyMshEKKUpQMcuWb8DnFAIY9Fi8u+7Ryb95wLWFT5rwqz+qtxKTX8ZMkgxed+dNavMBw6r7JG+1SlCo5HWxD2rFJcEbi51//XThNKiB9K4nw5vBgWU+onxBfYnkinMKEn7Nl84VxjF+Ja+ibI7qUYJb3nvnf1sEtPodrjhKQJmGNVi/t/Z/VQemVAbX8PhmezDf34lwazfibFDyozsnfH6NIau8zu4wYtzAy/GrkdKtJq9Apg2AzjlonZrIha7w9RdXLOrL14zGK1Er+ke68+ZrtiTU68254JTPS08VFdO1hwk2EYgavahS9G76F+0lwXD4ORs160bDV0XYnsTuzuXVHiDDHdjHytZqPHs9Jak+TXUqMboL9MHQTi/z1obXLKnDr9F2ZLF9jk6LufKZ20KpPiULiHHe/vtZ5qYJTTVMXq/qu52GJRb/LXLKxIvzs345l9UPUz3w0NYDkKUPK67B6Dz2V+GTyUbhdjibido7ZXIdsYwX9TL4wkkQB7y/CIk01e+Xz+FE84sppsv243vM2jHNTT1SwVT+5PxDfeeOkFcCneBaxYp0x6JAf88vx13RQ23EWkJrKR0Hv0xksIybMcHo8dUZU0eWPesyTZcqjfRMyJbWR+BsxLq2s6CMrbVQbn8CdJ4Y5aycD8yJnvkz97ottXd9gcZduX0Dui9IyWTmUUCOFuAmEM7IBdINx71JGynHPYmJRPo49NH+TPvFaQ/DbzxJqSpm4osq4O3QLQcN1nZTMhQzagY65lZ7rjJlc3F68PPBWbj8ClBH3MGluBB0j+Kz1xkq6USZq94TTcFQppyPTtPT5HRxl7Rls1BzzCT+FS5ZkMSNzzMq9MXByHEFSZkERIhlblvc5Qvys/iBWIbbwcMEXqagGdm270xETZWqxY9IfWMniOG76iTpnIhDIOERjxza0p24XxbbIN8FlajeeIRupmWCCtcf4acb8SgvyzU1WFwq0tgdS2t5yxjyT/IJQhX8ezDEXsGXGqLNQ/QREicYM/0UL/qWwDqJn2jgvo/ObTO3eF72qINXexsWfWXo5NOVEpj9yzNdD/LeKqdWB+stw76iqzQExAfHxrxxPA5Tm6JJ1cVHHANccO95OVTgo3a2w0vWjKLmA4WA6TbZJUftMvQmKphCFm92j2KoKpN67/pT7WNFAAVUNjT499fgqBB762cZ4P73se+74p6h6cBeL7tCPIOKdnrcSoEK3OPAVc3Zxlh8XvfBrMm+t5DGeX/KCDtOX+kLvz8yA0FKrWWlLOdYDRLCAXNEJHFyFRQF0M4L8ckRAoZVAUbMUqOHb+1HXFtXp8ktnK8QW+ZZug7yQfQryaelGhwqpnC+WMJHXfSWu5lIfPyuyT+GfIZIq8TKn4DHlhCiyh1zR+EtOZ0XPYoAY3gThJdhbdv8422uPpkHSGd2FWcHF58Qop2gaDRSInFMO3UDFmvc530a8f08f/Y2g9Y9uwFrsh6gAjmDDHx/tJIsoTb9jhvoAIIr/jY4OIfvF6uHe780o2gb7cS9DP/ot7BgCb0KRZGcCSeGDZp7dDEX0l+atQPL/E9wLD0/60uC/B4z2q6/dkTsoUTnfq3EY3TImpXJ55Vax0Re7Zqp5pGS+5XSsRHTc0IvTZ4o+dXCU/4dWRbH7KMa/XiWrNo/cBtEoCVlTcrJH6WV8VWTIiQcr6pX1U96RG570nP1y8U7Ca1gm2zgcdRYj3D9lQyorJb90H68WyXO7TvDByIWXoHU/8AT7iUsZxDdvryhLEvj8WIk1Sx6leULJK3aoBylBNaO9wxrMmTgDKs9Kq/VpMMkHoOjE1mXeCXz2Nj/TDxHPd64+jel0dZV9C8oh1uJ+CkMrKPCki66UO4ywDc+yhD4sHYJYzZ/CEERuEceYtdazpiA0ntRt08r+EWaaV+RDHyVtWLSRRDLeqzALHCcl0GI2Bdx1Y+OL24F3MNFHEc8mFyldd20s14rRzCJcgpaZfbfEuGZ4bi4mnM93py2D4hAQuxzf2ketucl5ooQbD/YxnhdRBrftxlZUAnODSiQpaPL0jWkjI6m5OS1x8l4OdhlgfNnEBI5Y0VjZ9HEazrxMlnaOYxEhxuRZATjYFeeVEuF0GUdKa/+PMHUQ1/oFhY+q5NQuaeuje0J+CH0RFQWU0igq4xDqHTcOV0iHo5xDUgRwdlYrzzAPYjwAnuKqRrfaG0t81vGx8zxmANikdxC3tzqCmmwLZUWLBnLBbaxgKGjNnu99MkLxu/zO+dZRvLngFaIYNAkwRaX9eWtSzwgLLIwyC2GmaT7EJVVL0W/UU62UXG8nGBDIHtSz8SE7fkLbRVouqgoMUZnNKVgGkXGYrCCoNDw5Huk9y88ViLaQCliQrtRdjVnbGhdYMzz4ReIrAi7j4dM0LTG2vv4D3LMbhuYoJ2bMtd+r6oEqg9J1R+cGAI6D8nOHp2hKSiblwyMYIe1oEsttFKXNQNSPWoStHnR9L3eXPf3Bd2mF8iEkV3IqDHIcYq8FqHcDHZSi7Qfe6JMqQYuz1xA0q36OjRecK9IedEuZyLsQRAXdGw1zj0jpAx2HFe/ntkSUVcfKAG/Kw4OhjLyJuJtQAT0uv9Y8ShFKYDsrdCDF2vMmXIF5lT8rzD3esh1AlPoBfSXw4wLVQ69j1j9Q9V9rd3rpjIA8D7eULbPplAktX9CWZOB4NNk2dp4hGKiEnxN69Gm7YQnTqGEbl9bebcqdXOjZwsRQdHJZnt5L0xzc+vCkRcHLK6sfysnzQDzv5rHPBx/cMUPQox/var926bHkkDDHAuJq2/ScV4oT0i7+IOnV9QE7j8M82ht9g7U8SsOfsOm+jhPb1TkQO5VCWRyULQxz4ZxEW4iz28mxtZUL5BHNuvkbtw1Lojwope1jL2kcvJH3LLsYnIeDReb6yjz6jqs2/uwyeOii783MvQejeiSa+bu7OVYnyVSfFuwhXhlu9AyuyeNiq5d2sR4m7aW2xJB2QQKfkMxKt1LPlSimypU4LED8s5d46C9GGLJswO/guMoYN67qO2OgfXVnvkNXbE43g1sfym/x9qZ0LGTphI2f11bYGV35B8SjsvI04UhTk+dBL8AeatsijjUSa0XtmEQWehRnE55kihMxc/xbpGyay+9HKpBNhGrpU9eqlJG6dQV5njYQgt9Ko9yaDwa+PBKYObF1yUgsFiJKAHCGcopTL7fUMDH684T/XXTBFJY95NLO00rsUxYOu/e7XantFHPy/c6d3W5svSGunxHOQA5eMgVS/xGBZzfOo8HEMoTeA6AN5d6O1AsMC/J2UJ7I5y2BO+Ydc4wyX5wLFa4SeDwOCUcsNDnAlsupV+TVqK+7DrwImHYFF2AlQsrlgw6p7NpOF7s1T5cmqUybqkCxNRL7koQoBRYyu+7tZRrLdbGqr9TBh+yz3F/ed55EU58YY4bhiTiBd8Gr7TlU7BC8/4gHLClqPd6SMlQDXvLG8uSv9EPhGp1RzVxcmM/x/HuQVDzPhW1wdh98dcXtqF686W3PKOhG6EkbR7pqNLK7RsHxi3JWpZEX6LTaJyApbWuXjhFamLZslCM+C9mtEZGamVhSRjWKhGR7yz0DsOszv7pJXEGEaFP3OE1gxKuIw3HvcznpCNrJMUy9PXMS9/VvyOdUuEGijg5VFYrHvYAKnFg7upma1PCxt2laNzGV/+ifUTQp6x1W4UUaUQvXca9ZrYbh9OXwEckiKiL2rCxy5pn3Rzwzto/Z2dTxN8DYPs9PLB85KofIVmK1N8EjrqSRCaoho6Ugb0tMhgKjPRxJVHcQLy3GNqoF0bpyJTB74tVvE60ujcy7/e0Z8TmFnrsKgI3SaeONn7eajv5AlzPS6/iFERnkIM0rsa3K6ChbgUekx3cqavm2vm0QMRVZBmsx/ewgccHs4TASR6ea6lR0OjezZvvXJKRz4larHhu4RjdPtvf3Zi/THZuSeOzRpo34OT17/mRGjAegOxbJuGfJbULLxXqprdtdekBs7QQxvv6iNGNLClJuht1CMnTK7pfKXxCx7bs5COjrUuYTH5nDNq77odURcASA23BiiX/yhMV+PeSSmoGxKdQfYJ/+Svv3mb8hA/2ADK7WS3AA9dFEJweL96zm2WmxPUQv06fYdwxI60Adk9m+Og7glgETpvJdhjF8vSdXpOfRXwFVv0WHI4JvBKpDCtwGJnYZ8wTYcCjaq3i4Ifx/Hz4v70sIdoh90s4QOMUWQVH3UvgJEhYDKaxizsjj9e6ISiet8t45sioKrqZKTVJnirzOfb0gT8llaIlcVZMyj25pUdNB/1mk8rXA++dyOih4pvybl5MZElHLR3VApUW/fMWb+/nbPzU3AGNaqd9CGNaSwgs/Ad01XvYD1lW7eM6HmK4M9R9X8kSrk0uPdTD0/4S6/ZDPVPT0wAsCTExnwAkCKtR7E0LVnSWpZQjW1xXXeoJsDUXGIpWG4/WYcT0UCLeY4qbHqodZdUePlA0d8NVqiOqj+1syuTXuZV7hZeXgQBqvWQMJgYmzSiVUieTQ32FN1f0fOTjPFNlHvVMLHy2SVzf9ZyIfy30MWZIBJCE2MgD70/v9RVsbEecR4BnoVKn66P88HqiO7i19DYx+3Bfu1HrbEe6+fB4o5YaMdPHcY4wpldK2xZNpIj06FRGB01F40XDODBE+Fkuo087Rge3/zgpMjx1d64YTUtGSBP6Yc2m0gNgtxRUmBGyI5PytM5EPLZeKtVv/al1O7TRi8+J/AQt6ip8b3Jced+3iGypF5BQWtDGK5FK0zq8Uk02bjS6ePmtu73RibPypzHCH/Obt7pDQQHVJKOkiiBWzH5UMo4curqv5WiBKCsvJmhaHvDyqmvn+Lzi+x2bf1RJrnQuwqSd7DbZiQcbov///UR5ypNdA69NCff1nTF7eQ7KGvFGpwyWCYTbulaaSsHTWLt1XWTVCakMKGQWVOHUL+dh973M3Oi8hBwryA0ncONt+niJIXk+QiDoK880bdgmBPlOWYYFnD6H70oyMBM5PuE5zWv+OBGm4+qtftlqdHOUMsr7T+bjKCYG8vr2OPwSgxATAKZzQ49zIM8TQUTB/vXVyqfg58OmzBxjg0j2OgYZMu9kn3anLyVRhHwnD2b9wsppgfy5zkxpPjFXE9sscp1RaI31+gYRIFkjoHr+SiU4Y0I1bGbqHR0jVJKTLZdPsFWk3XKU6C0Ifo7GVrb91BNFjm61lng2kP2Vjct2PAQwydpOG6VlKTg/pgtjdzNki+CO0160atmZPETUtAI/wax2EKHUWMZS4/Hn/bKw7C5pZOSvZltQX/lVgPEpqs/I/fpSNO3f7g1jzW5RX2tbfLuJUJZSfVF9RU4knjb4dXVOLgyXrHYKQB+9V52A/nE8a16qajaldoLxxU65KbsjK6sqqIJLXzQLeNvKydnDcoDrbTH+bwT26HBDmL8PH7oNyM/ysgWR2ADX9d7zpItJjCwjndjJdwtrTnqbUnso7A2KT0g9h3agjMgKi9DEEYoHNWO2r+VGmwSYoNwHG+pmZ4D79Dv8tkDDbx5SlFEKj4ktBQ8zA6PDuT5HKwzkZuN5Hc0T+QZFtdjAVbtSyb+UXpx63HIpwpitjI8RtdYasPVRtHk2/STC7LykheYUgAavsdhXKBn3PL5LWsc+ahYciTupeVCwX6OCiDpPbJ4kUBNNBvzr35+cFaI4ZcPL4K+WL+3Dt0uZZAb6GnGnqaN3tuC4ET8qUHkr3bTHCLy1v7ccY4fRogKkKJE9n9PFumZrKbCJnEp8otiziKZm5w+mtUwD5/BHQERjadPGPYChKrB/zZDMImtpg3lK0KvN/B3E8fm1rNc0GzKUMeHWa0JtPmbf8v7kFcXp1MIjV36SIK1BqOut1PkG9GQ1UAAbg2r6wrECHXuH4H/JLE/x3n0RuER7l+GLBmhhTA7asERp20UZTRqfT8uAFtf53ODaL5pZufW8px5IE5CtCAqoZIZKunJWoz//qEM+Y4cFrnmvthGEmEsU6+PbPVPV6dCewOTh9dU5GoenvZJ9LPOughMINKt4lJT9ZU6lJG+j9z0uJ0bDOE21PIXMFMB9mGqhjPiKHoxYUxI8FJRCNQ9GGEyXrfYOHL4m1HbbZ6SQjOtVYdj5kMZdNPaLmLhlaMXEO0H28nNVOqO+rui//pqtgB5zoGjIfiEOUloAubpAJF1yd1cRQafP0cLW1tJskgC/pR0igKKjaFLglhUNWN+7GtTQ10fa1B1AIKfgPguk7GHYIXNfmqUAR/A8QrdDD3E3vPhJj0OVUymGWifI2zhI+fFEWrPnc2rtoJ0odhtu1sdpwbw4Eg7Q1X/R73HITaDjXwA2kgjvOnLgIbY3TO2C4hpnl2YpvEKfZwaZjEuu+8VytIsiT8hkX/RsfoyBw9zjEGBzjpJUA3wfc8cvGmrj31xKT2xYY2P8x1S+rTCSnOleP47OfwTFW8jbguDNAlg+z8iFgFw8vCk8kw19DiGDO2wrEqVfia72GDdWL7RUlnb58rJBoUCRscdpx+mr9eV7G6LRzPZwH8XSFWk36l/Uqhd0/blJRZvKBXOxD9f7+5XyLi6G65LkJzviaBXMSDTKQNEJHP21qVKk/p8oMlZC6GA+FJV1T0OCSlZw0ACS4rot7dDZqEbpdmPG8trOOPu9ZxLiZBBYEnOd1ytJYmjy7RRRYzpNkwyA9ktsDdUHN577wlu7ujRaL4ludzyJJgs/1LUm9za82uDxr5eTny6mD2juiSsjMpZKFZ6RTW4gvWWqVUGqZVPOD1eJYUVKUHjf47ZU0w3urKm/LLPDO7A/pE/rvDrBjkcthcSw/Y5bfsQaJoX5cPU/LxvZr280+WinhA/nCREWGGStZob1prZV/XPrqY/EanTtH2dFIPum5jDS6xmuW1WFN3SyQFOjLB1ZnX4LyEjwFRanIKUA7eO6h8GH45hEV17r+Pl5MWUxHOE+bP2EF+5oOs8Dl92TXvwkfnrWkUutzwU7E0mHH1YC2+Id8BGZFNgfvQEAQuQBKrSr1nFvCA2hq5leCArYritz9zX4B9V4PHI5Dy7kWPTAOVfpRM5hAuRUzAh3eNR83IzWG1V1aiXY/WWY4nkKrnf7mY2Lx3kj8p9KvxHuLpLbOSSSSeqzOwddHowBCI2SgxJZvsXXgn6xCkBkX5x8VziS4F12lQILSWGzF37qKkcXEIKzPsIz7w5zfli5iqKHcf15TnLfTPtR27+3Jon/33BXSQyR8lkJ0LE+0o6JcUzcWUTp9IhRYWuwyCLjY/VuH0souBPFNMkbRBeWlYVFJyGH3sD8IbTYpRI7/R5HCLGDd0FtAYZDlUZiS88ZkWa1AOPB+3k45oUB6YnVe0ib5NKw1XLhaL5jF1FOQuG0AZJALi+Erz+eY3jPXsCzl5WmN89zHPumHwB69dHqwUxa7GUszjZ/e7skKXVHfJ71pGhQjMm7DAKJU7VYW3vTWrolp3KJlSWaEUWmbWAkcKU5VLnJD4cNTlEiGBCnNPQsiOg9sXgi3U00MJegl3zogyamXKUM7wEM8I8N1Dcs4AJIsq0NCDHfNWYBKm2JvIdVhlMS1TSt5I5YHiJXCRJ+oFiOFljT4xUWYLSmiJv6UU9yeeIZSGPV+w2dWmxX8296TQWIpTXaFxrEyR8XhYNCgTfwh5cLCIyys5jdIKifMHI7AFMYh2VrPqU0o8Hpx0B7Rlb3vKUmRI65Qs9CfhJHZR4xt5mCIDHZyGuk+lU6rPgK4XmsirCgm4Llo73WdIC4U7AY7BcKblqYo9tasouPVG6IkthlnZZTdpt4C+VXDvhrX+0NmOKPSe/8OAehRax77uO8xA/f3KBEpz1YWYCaX3ki+3vLz/oYbxC0VzS75X9Ka9rbUPARbqjmp44nlkpCP1UFztl7FNZol7EoZ/lk2+X62V+RUAG/0OKt0UPWAFXRfE0Tln6dbqfEDsxJ7It2g+U9Z1LK1h278fOsDFQPFVFEjP3IwWXgMRVMozQswzIx+f4kdUijkGRFjz1q5XrvZc4VpeXLq8nVFEU+DMyaDI/OxhwOyzBu6IL6p+WB1x5AJLBz8BQyTQYAqKqrgUI03s3QPQo/W+6xtmOqBrNwFjTVVJc2MCUp9+5yqZsuq03as5e5ddBKnpnN5CoGqGyFxYuOmS7hc+EZFsrsaQhUDBBN21vZYRFn46kwTKNegjkcBhnCxJcc+CrtiSoGJspc8BGl6Xrx9bfu/ke6pdl6Gt6iXDyBHw0eqMuTSCmp6uCZCV2lSXL7ICETQXu7Qq2b921UQGlraZE1VB6a3ILqpEWoZgTm9acii3RE+tMxJ8v8PRkbYv1SAB4t4IVvxothz0wqTX8RnWLo4j6SLvPNnxnpMF4Pt7V08Kl4wAoT80qdu+6Cv3cEFh80u7E/5aLdAz+DRDFdIHKz5gzc1DwsCcmIhmdj4gsBDloN615JEXuqAMf6StQBJFe6RDx4f7rAuRuMl0xL10PQ4TU1dBZ78H2HrjngcyXT13Kjld3Kx5JB/b7TXCBBav/k9AF1eFPdgHZy+4tbxhgwxxfaM2js5tWXHHJR2hCUjT2EQb5tCzgKBJr7HG8s9kmigY7U7yZE8uvForFutF+zC3kgiNwObRpRCC1w3MjJr4YWz0fu+UD2qZ/G2UZiteFxJA9KerdVXTXO4kxvzrsDpPSX+4mwq8VeK++wpugBmevpULl+oxX6M5bcIe+GxjpzFBnU3uUX14CQ+8Jqf6tkIf8R1L6VL8IUODiqJLby1Wvx1u2Vy2sI95hoJVdG1L9qvsQgD9rGdb+nO/AH2AJ5lOlPAqkCQO6RgtlGOy+S9Fbiacm60L8lqkCWe2us/oiop4Mh+dY0IcTfcbnVL4DL+4oFqlVIyi58hdNcf+Q3DpySB7PJ5eHkAZtxf2+VqGJVV84m9cObhcgzCiZnvtU2n+y4PsPs4RR3Qz1+cmHusgBaDSdyXppG70TUXI3ArBhL8eDoQ2biwoaw+jYStEVDTUjrs8S6PFn77PQkAMeyuTcTMwAhLgtNymlJjX0hnDIFwOTmNqcp2o4RNHAKaRi0vAQBQBaADuUI/afPHP2Jk97TBiyLUXcki2g8eHmtTcKuing4WYS7/BKqsP2tC7QjDQZSziqKjb8p10O/7GXW4UmICIRlPWY16teQK6ym8syk1e9caQml3Qk6d/82BVKwXP+DfnGqkthjVcsYhF/4r/tgirIthD/NI="/>
  <p:tag name="MEKKOXMLTAGS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Y5bwR3kgmVV3/xb78SUguvWSJTyZkAVhT14Kj+NMhVBG1pcdT+xSAwqS8Q4A8F867dOoFcDLiDCdsOGe5axexdjr7uO+KQFz9iwC27HHLPFoCBI8vHn3lHq+T2gC37dZIrVerypknrged/wDT3Vn2jReF6sxivYlKZ+kE1N9/kjdASmJuNy8Ps7OG7kZId5lN4taBvQiMIZ8AbjXUjk4BSX+BERZcAufM2xUDe14q0MFkpzWqqg2uCBiVNkDwHcnINms+fdkwfj884M97VDHExTyeIVmqEV7L+vzgX7ZCCvUvTwBXUOPNr1tAtRmmKtfnvVVRwElTb4mnpJcARMBHEFteRmCn0xasz5fWSR91vkMzz+9UMeMgin8rtsaEEgNfAZotmTEVZTWAVO08hrYZvcRrF6LFUvJNcERdZdMm1seeJ7GXhWhsgcaeMgb8vBgwulosxB7D3eeNFeKwoE3TqS4DIe1SHQm5r3sBntYFRdqmUUuAMS1BsCBobZm9ZVMS+/yESPjkE7vk7WU4WdThGnh1ZhNJJ9IN3Rm8kMW0BO6KgryG3EkJWRm7dUe17YCizl2I4Y6U/2PbLA8CW/dMsdJndaw1GsV4KS5LzY5UMc8QrfoPzz8qYqKuXJ5dbLnaEjvHtAgCFN+yh7AWsy5PbrNiKEfHUVBhvX+nRRAeQika+wm42sVSp+v/w8ZOeiU8w5KvKSQUBDf9wR7I1qxuOmZlf16SwZvMU6OqvVADIVUziqFnkKV1B2ER2dAPsUhG69jyXl1JGFQ93ktbHhlcKRZqHWO1praz5RhhvmSb4v34oj17jz2qoQ54VKEV5FJgdhiO9O7yd06BirSh9viv1NuspFM6qr6uw66W0K9U4mYcigb8mXmOCQlxgAwH3HeXABpmszd8BOayEGEcataYbUEPv19AI0bk9a2fiTL1++4iBfZ2u1B/NTE0IlUHX6rzkPRsGnhACr8/nJn9BkBiqXAOO0XS8naZizn/x+UFW1ooVmhyquTF2OCtlzeYuTO1daGC5tVwhkulAMDmGE9SNa+QENyrCH63QtHFnCeVCYk1KnfIg82UsJH69/DgUckLMskb+Et2jJpURPD1LWthT26Ijlbj+OWGWpms6znCqX8wpPtME+gp9MR81jjGo2qxA7i+0bp0nuXAR438tn/htDva91A7dVR3JkYNd8BTS829DPPu/s8s44L8OLAgM9OEmDU+DztroyyKAUtEhuWMvNnJ9k1P5+g73JDwZfPzwJAEINzuseflBrkdW76iQOCtLN6bePt7YD6GHUejy2nA33Qmt31TD4/+A76B5WPVOatpdgeHaDqf163JhIwSkAogxHpntaqBFUhU88Dq4tXg0XYgQ5EDTh0vuRTtPxuu7dt5SLIQjFUgmI7/ulN7H69UezyfP4OVNx41G0gdT+yLGchlI8/59JFsib/yTHz9eDfE7TABkEuIzsN9oigY4/0QXkuX1MW1cnkUdT9xG+3EK+ggjFv0ovovAyurJLQhjar28ML2tvfxFVUSx+YU5Oz/iGcOas5JUTEgP/9SfrT/zZOvL39covDYO/PJvUnwcIpyhhkIsHoX/ozSTYkoRsIb2r1KSNDM3fmRWxdRLP9oi3JM+h15eRQVfkaTetv+G8XSB8iEKODkVeQFyRYf8GrljEC4Ypc7Q4yyUA/qhdojiEVASzj1DRW3ikSbmIvxUTaSH02uUhjtAzbTq5H7/Aqd03+aRLdvJzniqTx56m5mAYAnKky2xjzm7UH1M8XSLyZEVJeDE7bh5BIlmpj3USDgDrstxqMxlVxZmMfb4sfDVoKxoCcCpFOP7hDkDCJdDqUClFymbOWTftgRFdxMdQwGRtnfYiy6Ywo+2OYTRolx0d5Q13UvcAILZkMSElBWyxAdN1v7h4vdy0J1Wwy/564nwU6ObFW/DToRg4v3mR97qixbUA0k+AMI7J/h99UAS1k1mGhZpsq+KTLsTO96nS2n1Y/UsDqBtaUEAt13xuDzLs59ixyyuXmnTKo3Sg6+TuyDV7+09zXi2yQqbupBIovvamEc0qwjjRm5zNJKH1ffuksY2LNxlNU7khguYH3GgvUv1y21qJxpaHeEDCA7ob+I8zz/ddrOupNmovGAkqR0hLlNT04ti17olUvE3wuVhWrh/t2O2b2LNi+UY4BibMycNYOWLN/HGCGhDXGpqFloK/602IafZyOLhtitBULcE+ws39kVkT6XZ3rcqjQa+7cGOUdg53UU+W1aX8sPGjjX/89LY16P/OkeOX4aj1LusaaESz8JP0+k5p8bN50fkS1Tbm1uJr1djSVCjnlz/IC8jtYeAOCHXysxVbcTWwNjfMhYSecF5YZhaZrFRHWOYS2WhY9+faPweOJwksuoWKhOQlY6fdccZ1aVwCSe2fazEYOk+XlhuiUrRoL8qlhC7EOVDSbmKALSvGF4fAEwwwiap1esOgLdi15VhEIu1N4Wu9/EG/s1yqmmlfrK9uJbRaqkVvqyyE0lud640VJj43FRos2YLAr1jsKAGBUHXcsscv81AIw8EKZGZGMoswx0XqHXVeRK5KIQ/eDwsrCgpZNzJwCOe2iDVPBGzCFhSKUNCm4G+tvDlyeyMMh+gT6p4n49xjvLPPNGZ+6r/QmkSACZhQIxCOR0mQYVsq1l7QMWGYoWmNVJox073PCs59ajMqGdQTHCjJgTgqELbLg9KUNKm/hcT2h6G3AOvRyOKUDz2T2FTs/XECA4WHzNLjDSnkDxodtYJW4k9CEbbYBMibaiCthYUi8a6k9iQc3cShXm9/BNMzmGbTAyBkgkpVGTZWnoUi0mSfN/knO37tQMCuRbTVHrhaI1YrS4aN/Io9nsjntw6WdQ5MrHPtZNZQJrgjHnoFlDmakxwWADErs55ZApTUj/uMOw73HmBRc40XuAm0jSKqrsyilQVNPOjNYS4BW82otPXFhi9jsGN/zCgL+s7LTWJtsJTgC/EJsLJ7ph0nMG+6HE5BUguRv1AB5BxNtocGjck6fvGwJGU6cZFt5FUFiXMF52t2V7tZuT0xL3vmdmwpsYV1rdoeTEQPy+psNJhQun2wXPA9d0A5ie/2rRMlj4dAftmCEJiTyq06ylPmz+rJt8RJOZ1pMKIFBhkQGeQER3mchn+JWCneJVp6fcrB/Ue7UQIuiEyMtCNqYmTrF4hhPGQ318dyd9LepIVdgSrk13eD11JW8soVi/eVO7A+AOdu4emEqflvvP4Q896H1o+sL9GbaJYbZJg2TKrKrWw0h2vWtlst3g2PY7bKgTiDDUjCyRef0pp6wBnXgEqqthzdOQQSEYlq/SoX5yNA7t7034W38OFAuUI1SE4kNvAJVOyavgmaP1QWSkn9Yy6o3oAcJEK7Q8jFiMdAIVs9m9ZmuS5ZukoFiBqqV1kA/99TNlWz3JbxBu1EWU6vUFsXBQ15XswfoovgIT2bYSlscRqt26NtXOK3kwBcgUBxmzc3unSW+k8N6wF01lW1Mhm8uHptv0bjuuCfBMtpYzuHtrj4hdsefVpegAKsfkU0bWcP46tL+Gq0MprwJ5/BXOEcFistirX/WrZO+sH9HO51SRL0bMYCnloLSvYmpCvc045sasXsGfZXG8G4GdRhxYmiWPcPUD9MYkJSAB7/PWDVlKkO7q4uNsQIKWz1Vojj+elZJFL5J917TtTjDJHghnz9manVtEXTiGOw94Go/qajcd/j5yfzs3yWSpZmYyvdUAs4DbNW4SjajA64Ox7L/EF1at/RXDq2QmAB3dEjWMM2/tfzfF/FVkm79DzCSglLaeemhbQeFyco6y4/eYuLDUGC5TRUNC+dIQ8jk+b50bOVHEhPIALB3wF4CeTNhKyweALq6ThDc1QogpnMMKvWnBl900AhMoxYof+qIP1Y/9ZV/o7ZNQZU6sbwEusUXq007aNNy9QxugH2wjA7wYEpCeJiTdib2j+4mv2ztGEC2Cve+dmWLDOMBZ7m1PZIWNS/YZi8qqO6DzCWntDIsHYJtV8+GP5Ehb187eC8yeW5kSsfT65n0OGiDN42+/UksWXpkYe6l9tM1dd4XSPP84VtiaZV/pgTW2kgXRH7CTacL7NyTS4YVtpwFj+iAmlBE9pIHbIuHoM1weECXQpwNAgu2KDim3mbiTWT2gXagE3tN39LxxAdxVIDohvqpiyFZubCNxlVpk3WYHA8TcF0r4xhjby4YJgzUTUeWSpJ8Zdf/uTjg1UXVNlP8kNWNdZFIBNSGujMBndZpCi57wEDCIQKhrVqPMoGRrZadnGNPbnEwfwt890gsd90g865gkklBt5XxG1eKe1AE0sBjJLGYMVk6PcSaPpPOPPe+Bc2b9bRyAX3WFsdkmBkwkQVM7EjUSMFWvPPXGPTZn4ZZrGAxa0M4mVURT4iENebV7/yoajwuXjSSCwx5oBzTpe2U6G12frM9+zK/jyC24hCLnMPofjACR+Aa4XXTBr5Msl40ry3ui0yKoW8TVAOerPt+QOFvlYbo7a6gyN2rRRIWUjieFAXOxa9WRLRJ8HtymTPMaf4m2rMzgIwGDlPKrBs6Po/FKtrAkfOWKIBYFMXqDenoeiElf5POqLdP/YiO5voDOFzYnVE5tko/FDeugiwYBXKjlxgFX5Vjw+1UyCHi/ZpVHtXgPD2gYw93GAp6eSZHaLyHdOZLU7zCkqPO6XKuS3LFtDMgumDE7MyCtC/aj5Bm1iFoFtdu4D6DGS3W68uKzrvusILAYOfA3x9eDnlAuHDfsY9NJ/sMF/IU9PwlQ8huYRtGTvi3sRgQUFd1maxxmrOvmpyzbF/YAeO2CqklzxxGcmJC0xkiS+CjGVJmQlfs3Zx3Lziz7ektz4ETvEwK5XT7+zi4WCI/U7lcsVrtLG/heLpijO24uEErKlxGkVdl6zquqYz7rMzyiVZPW9Eaf6oxc4Zvq/NAV2Jea7V2+LCqRw/Hm7lKfvjjH7ojBI71Ck6WZ9DD5K8U2PE7q1HbNBNzq3TT0BFTP/wCIR+M0scXqso+xNVNZ8gnix4bxcw3J+nJn2aerurReWM6MwX6yiz/StAS45Cch0o3+SpQUQ/aCLLcZmbhGDKMRVnbD/n8hoU9rdKbsZOO8JwtkQQV7hU7lrcwIgSD2HEl5Er7WFp2ukuFdmvQy+rsrSn8MMogASwWA+uEQVvg25yLDv0hkJdVxOP/Bo5tQP4bNEleubRKVGR1L0ofx51C0PfHZL9YIzAkp1DNxDQZyrKZo+06nKi5nyHKGN28Q7MxwG/2ecSSvUeZ5svmIo5bnJ4X0R2QXB5t/seOCjgXMJh3vxuMCrqwRHJUTtNkFqAjMle+IjvaNryrfejyPfe/zje4h8CLtXz2WLKs/aD5hmwwX61q5uc1PJm+y018a5ERWIw7Ky/Dm4UF9M5r6gxdnxFc/HC1ob4AKnmsb7eBTMtgvMjMaayzvF8StPkk5ZR/SoU6p85Lht9WMVLpR+iSuhSoDdulwzXbsy5VKOdv3ERaPr705OfyCrBA8NwSeLpGrNMvzQWsvToxx+MmhzXr0gAuPevj7ZlWu4SQcU6WY8V2VztlLZIK73LSQacYI3MqW3eanbXQx1vJWhdkT23g1qfWx6Kr2/fWgNLpinjoX+niVGxeUlZ+Crv0Y17VFxh/jSZpLZGvFudmqVthTx8ZLbN/7ATgcpx/LTvKcH9lX6oOhhxPLJWp0MGApV5wt8CxVbcsalLYhRm4dA0G4s+YBKHxrplp3Ps9rXPkO5mkPG2fMVce0GEGsqmFQd38OHO1PFRBTd7RGgz13/K6v+ty3sndp2makZJS/HKkhTz90s00TLy1Sf6bxZ6KO6mMLOuIIx0Ubrz30QSQmKabIp2MYkR4I5PEKqHfbP+b/Mugz8prNcVmcCEYc1TU1mN9uYAk39dhjY9R40N/JoL4basGQBmx9nIqsJ4e/4Y0rmhD5cM9GMyT/lJM9uK4UjJRBvIFYPGmOMejSu8J/0G9da5rJGEEFjJVGYZxRuMVppKTphwMOYmXSexZNfI3ECD/nnl/7Hs3IZ9NhxPzsFKj4VPZg8/WpIC8JodoskDJRdDIhi9Uj9WqEGYrIZeygukO9pOFa6h0YFWzjhqa1k5HbIk9SXLq7ef/enCQ0rpyjFH3WIR1qq5oFrCX0AAoagQVrXq2qknIFzzuFrqdlo6ViisCJLq9k28pcotcaAh6wXvogu2ndCR8FbOzPuAWIbNbJI+KFpOciHEnI1n2JXAOPKERh4EBTfBCH2gpDBTFJBuL0caDGmaA8xMt0vRozDLttqM2/jHSNJt7sqX18wKbeMj1WaMJ8jc8fNZuSScC/twYfgXjRUxX+UMHfctq5ScVwvFKgBpyFy+VXdKsHRFYNhCCJgZ63sNYjQwed17BD33ZAQDgjrFICgpEQKmjLTT3VTP0/Ale4/xni9X3PPs8Ws1zQ7xyY8flVX7TOcfGdcx5UhxrQCkK68GK+IQVytX1ozWYyBWawil4vBXZJz9Sl+EuowsVO1a+ilK63evi+CDa7vFyjpu48TmNpwWCsHErooxMqEA5HOJ5hKRFcPiEa4+EiODlbzbSx0901jW2QgEpWr5PPf58WsoC4q3Mh0QYedZQiyalHdJuON+vuqaZBPWujiHjrWAlEPZOTFb3gYmE+jET15KoEnXEZwutdYOR5PsCsrInWOxGLGUWjgCb6fSyqIVkQZ8FH09qv3b7JYX7dLGSF36xgPc2vTbH1kz1L406CKdmzxlkeX8ai5My50U3T36TFNJEDYYjFogwXjxWdDkGAjiXog4lFVi7VyQC6kGN2Jg776w4q7wBoFrJ+NPBU/jrGYqV1vezWAzE6dxVCVANOSLlepHdzIkRdR9u5CWUv2VL+39PjOxBgZ8AsXX2zjKpzqA/dlXlvrWX3MqkM9Fd7hblaG4wLEy7cH0i+fMkbanxpMpmiQuz0oJE6KL2P0wINeNlAQNz34wZP1jv67GfhVFh6mKc+clzpvstQLfhEnqYqm4o217FcioWGhjza9+y8kuR+BTrGDHymmU9uZQD+6TdXWh3rjizYi4cs1lV5xw2hO5Yt9wn06iVpEZT1inMXwn5oysN/JuvOvvfDX6HATgahx/Z6uKR+Eg2K7s9sTZI4BNlkyWNiB80MxWrflvazOkhPA5Cpy2hDfzLR8hylGo3hkLPZfeLwEydkhwFzi8vtWctWvaVgOVflmmIVkMT5DChcDvgglIwG0piEPbLnhX4cztumUdvmJQ4kcdNCtIEhEnAWe2/KLyHm3HhQcBNwidr7yz+5O4xJyTjxC3OzKmrZIEX/6Hzm1n6HF9BtBbCctxZNb3pEsDZAfIpJXOxrn60BZ1ibjHjSY6JAxkPUMKOHoo5nw3jp1eEMMeg7lWE2uMENatqFhlAt15v1iWwyDf+DlEWEJEF9yntyxGuEav+7cWo1o87OpLucvFkOmDYAP9YxCMnR+O3fcv31l39BTjNQezQBiLX9IUAJ0JiEjES5YfbTHE99CgByKBxNzkfgTY2UflYLt0LG2BDu7cClpKXAwYErJheX+rvR0YTpm4QeMHqxv8DyfNTq9OP9qfcSHVNRxBZQwNO4iSeGLPt364Gi39uq6maPYFUAQis5EG9cnkLHvs5vHl27PfTziHUs6N7UWudgVyrdSB3uKxGsI2mZMSLQ+lrCZ2YNKj+j1OcJoIbLiQMgteWRlcjx09lM1IfMUttzNj6W4AxbDI8knUq+wQCNRdpeEAHDCysBeJnj4610ogsNgkj9s0p/W2D/RZedotEONA0LVcXEXOsct0K0Yllu7I55Vo35FJRZlHAJvQBrQ6KWhYRupvf9Vry64W2mZly92lF7y+QWjgg1WcvWr911QzLvAsk18hgEJ1VvIsFigzyQtVB0Uzk78E+y67Go+/Si69Gk/lcgSQsQ1Wz3s59IUsZCKQbYQ0vyIZ+9pdyzXv9isovcujGYVcI9vw/Y5CYAVvKl3aJv9veYHS0xaLBqCR/kqivWhKhqJrZFX3sxx6XVpwhCM8YBs3WRZtNo2wluVl6lH/fSBs0pWjsnO/c0JR5ywc4/DqG6a8EdlAviJfkdWVoKU9Ym5AdWC63vbFW5MN4mWIjlMCVDrDwiLgFu64yq6Ow5EkOLOrqki38lYbf7c+J8wKAlqr2L8HAhMu888lWOBVXfLI0g9veKSZv3bA4WQNxFGu/hg8RaE71b5TZn3a3xVSZnxd4w/PG0cKQcvQQgwErmNSZfrENjakvp181f4kT7HOTzmj/LVx5DESN6UdtInK8qpiTyfXxSD0k3g3k0rQoExvxybs5wUWUmOuBCAMZbUJSRemU9bVZ457c9vPXtiZW9AiTsfY2RMvUeNkGYNiBkNsrL28nSe/hyUzBGVilRPBeU4QlvVAxFU6Dh1aoV+/LuBbM3Yj84Bx1uXuG/S2gNvRa5uVDoZdBM7s+lGpy4M9Pl0xXkKy7C9b6/mmQivh3wd46lDYYezrF+DvlLoZpDIDXDf5MRV/3qKrOWMaganqTHEuFyCSIqyLY3tPi7LsqD29TCHPclyjjfu8CKOsEgWljK95J8AuCO2IGts/R9aHBbZwwFmp2JpMe3H4YhptjHy53WDi3I34ElrysPJTUrgZyccNVv65qEv/suQa2IRW4q4VyZlW89ftNw/JNCySPOsYOZC1k0lic6SMJxvjswURUbaCaLhCnpzSRwtBFX0+MSGtfXmMtxAb5i8qYLczm8ZrNbbP5kHQg+BWmg8xuFMghAtLAyNdXctxS2CLh6kIWYJABstOpmySAIa+UW1sDf7DnI8e2uuak/ascN0pct5UfaVlm54LcMFi57QRM7UPwAwioC0X+gIGV97ehTR1JVmsGWD3eGIS1Pw9V6NA87eWB1NQggkRM90he96CJ95t/0fVG9RUj3KmQs0hfLuO0BcDRgdHDuhityH/Cx/ytZP409eXcIpm4UxpMJanfJqVkP8DKubQwFwMsCh8ZFIwh219Fr91UeRk2rqVLhDEjOioUQwFN1CAAhfqr9yHM6Es3azMY66ajEBCzgL5yg1wnwZDnRJK0FmXE7urWnw8uLZRe+LZQul4kTDxuCgYHZdvRsp4x7PT1yisatVV7d7gSH66NDJKVCoUS7pF+P91Dg9FeHCfVR9p8gy3GlfB44iyF35mwX/R/Pz7immJDVcdb5JKbMw01W6JO/RahRkAibWP39HH9F9FgNE/AOb8B532SS6sUmxeRyzPgqN5CBPRPpXXCblUdUzPJW4xVKU8Zl6CasyQ804uWG/5s3HG94XV7w4ae0t/nTlBOOQzdaGtNnfykq7e1JOaDfF2pHXCSxQGEwJccaXamJcie1Qt622awrQNlnqsuwmAuLJ/HVAPs8E1ez9MwKWZjcxBlf/XN3wJIzegNerRizZCsrQXgzpswLfGa80ZKd1W7c5xrtn5ht3Es2WOK/AfsxJ7b7r2GmMQU9/XgB6ySSwC+POZfisIgc3Sn4WygQ3xXcBNkK3Q3wUllYff1YiCnTs855OsiVWjnhn/i1f4s5Crd0AcH3VoHuWZzdqszq+faa9WYGhnOM3mFOnuzaBg8tAwfIOGIiDBtlLdATcjF12Au0ft+GoyULD17nz05rwirVIBWiz0bC/GDRr9SPKPJqUYEFOm2TjaqT6nQK3tB7DU1+I3rWTYgjlCIxjFvu0AsrJfZPpzfJGnGBRPs2SmMpNww3ihamg80gOxnIELAYKKBe+w34VfNmMjFEdGwn7/5WyaGLidKTguJfmZCvOjisU1NhkBtc6t9sBM1PdAZrTKEZO7++Sil90DZy+fMNfLNTXNTUqhExRELjZKZOe3M1ZOKtLpY2/MW2Ob65j8uY3Ur/AvuOrKfV8F5VTrX0poeGeA/nY1SL0UnK+gJol7vYqeeGO6/1eruxhoRLp7QJ4aXoYd8mRkuSa5HvvBpzPHDhhk3VGDlNbCGuOSzOQJ5R30LgOmN8OTnh5sicS+vWHDQF9JoRItiOzBL9FXSQESsGFziTlDQQjJzWCmIlOHI4aLL3iAMc+h5HxJL1o+pkojkdS18KgGg0hhf821c6pBCO5cSGA5znSxRjXEHsTC8AJ52qSe+T8jt6GX18KRi0tsUa8t5oZro8YYwl/9TyEEnXrajfqOotJ9vQi6u3ObXXowiuaEmb3KSeDO9sOvaM7trEHC/HaOYdGacufu3DvfBZdgP1B+EzC+eB4QRXZYxeF2t2rB8QkWO8dA6zHR6f91NO9CCsdlXlA/L3lnmqZyaGJSUqu5UAwrGk/JtDg0VFs4kjF4urw19+dU2VK+TAj81HAGbMFaGZFhvjaZVRyhyeSG/psc9H4zNOFMLKIJK07Ukl3BtS+ynkzKuyFHbjcFwh/U394OmhaZIvPm2KPapGM0Bi2ozGRkB29QdpcUfhI2H88rp8O+yBNfyktCQHxZ9gIJG/vv8IBH1K+uB4ZShMPYYsW+r3BBObAfwX6nnZ2ny0oEq57JckghKYc0pkIlgaor0SMUdqeHO5uLalSHye71uCGNurT6zkeh0rgKxtOCg8sps+2ykFCFcm4RCBVPMa2XzsTvORMYkWvsyIu87HEIconwVbLIgWI56J2rGMGkSzFJqNsXSre6QymbF4gf9Vy9nQY3NlE7Jc/oi8romn9ke5c7L3O6wXclieJ2MdUOsSsEMXuMoSzYx1scYC25EVr2RE2VUb0qPqHx28Cegis0g/fiJMcnHAns/bj0h94m61dEKxyRN9CpYbYGoXZ5zitjNBLaNNUsr4PbXFeq4H3GBheDvhfY80sJ4XhQ1ynXbbj7AUmNV/5GroEvXAClGR0tnUsU1oOmsj3TvqkOBVA3GIUC3nDGOY3CLIiWQ5snMWc5UORif5IaApantual8branhBMTsKTF8guZmm8QakPjRqIPDuj17e57ChJ6VaBr3o9F9y0ESCV8DwSXeug9YT+B44/8JZP5SvIJQHoDr69zgw+C92643IMY1yUoqEb997IWmBzfC/r3bAOt4J0J9LbzJD7EBgqAHxijfvZJg1UmsTnSYqyXCMs8VGrbw59tuH1e0vbu/uQyzHf3JK42wXHIi1paZTFsNfT4DAXGgl0UExHnyq1Gd3zz7nLGrybN+pLMwpPnIetXGAcgdgF6HFqAxyh+f9B489z9XcddG0p3GlXDd/1Q6xj9H97a9EDNCruqSAUsisERmN6shOEAPEVj8Vz6mDfZ8k12/iJuAfmGW9oob2P74Aom51WQEq22wrzBJAhpjXQaujY451bPOrjWju5DsVU6NJIPIrMoniN4JwOFaeCGSsC3ccnwzrq5+o4PQQBtP4xpnJhxsgYN7TOuNCqLdE5SpkHODv2XOCYP06Mti0TfpHRQmhb4UJM51U2yAv8d3tanc3+Mvj6+P9LFa29ZYLo9+L619yPQTvijEzMP5fiJSrlYg0q/bR6FvHJgQti4qmsHjgEINjGU61YBolqPJddTobRKs9j3XQsiiOpXtFWOWsd1fezzF5TCAuhD7fepG2YosKamv6mbaueNbz0z5IKgrbNDNEjUT6+K9TJMhdTEuu4sIDG+vQ8jusQIPoXEEW/lBn/2YsO9+AXhVcildUet/iOzQ25/eBLG1pAShgYHqQhldeke2Z2vBFeAsGyrBwKI2CLGe4gSp/aehqzf1b+2dBKiIPA1qHJ9GqhceW9QH9lBnWByXM0Y4P7W/oFq2102LZBviYd2MyDkghu46VHGXNGpArPjUV+6A27YMScjHKzb20cdpVGuJNHVV7UY5TMUMiXEwZeRoC6unQb269Ad71cQmDPA8MCTmJuJOHfc07frZ0o5BnUASDtPZolDNa9nbbyjjKXANaEv870Tnrc02tb7mIvI9hs5b8Ugzdl7fHlH58eE4IAiorhfUpBWJd5S9iVwY3cFFeVizk5Sd7QL9Yy7ZLlJR3InK6SgmSvOqqsp64Ww0upjM8hNwvaFR8/YM4qLoADgNITGc1G1E3AfeKOov7Ox9vTiTsrjDjvq8+Tw+jUtsRZqqJ+Z4jPpT8FwAcIqnVHTZa70J05A5wJ0I6dCkLw3o2WM2bk/ICketmIj+HCAWpu9bESHCsCLt8KgdYJiV66soxwcXah1AfkqR8l5TGgRrfpc7esKKgJXDLWr4KGhOQPUYPj/zdWkAETlnrb0L994YoimrDsdfZ5CKMWB9lOQb6YkyMhbx6mUW89p7WEm+D7WPT8Dc01H8hPqP1gwtWlXxLexmry7n28DScFGlwYxWcEYefwPGJRvHgHVcazcOAdP1pdFyOPdaOxnHRD/6wloxlRdr7/ctJFnSIiEyzuIHrr/o5+vnKI0S0Qiz78MKC5ujDO+03/jfOruw8eKVEDpsxQvbWdBECRvlUnQ7P0+rEjasrRFRyYB/cttxmmFP0CEm60OsiRV3fGM68HWznGUT7GTPMQ3JHZzQLQI/YyL1n1xDLBtlWtjTIQewOSkKwcl3CyfhyFCmRwqswbJ1T6iLQ8kYdo21PgUM3ALWcrQ+J7h07nTqMrKq+Cval4wIZJP2tPWPmeWmAp98ZSnCraWgyVn1PxOHppcXCgrhZcHryOVdCTa5XYvlrizEg4ntY6sJ9IxD8JF3K3fzTZPdlfXvTmEQts1pU1Gzao/WDmCeVnMr493qs3MRgbNr+MLzMk8tzwvvZO0WZHO52fbTn7x+2IO2+7TYBmTuo5JourbH1RXvyuRy5rlvPIxpArm5yymQwnj0QEpwc6uuHxTUVwQFDIe3SXYVcCyXgdrBZCxbRdJYtn92aLXwAlc9DLGigajKcmCJw+nuwnfFLufnp7HPLaqxuNyOnDGMFKLvyKBOkj2Gxdm3LVsXvDIlKg6pWR+w0LxPLjxP6HrKVISp4d6g7Dsw8GI1f20JWKvVsr15brFx0Izmo5gHUCJDDOJjW7aWItce/uWzVr69FqKJOgT1z9q2DiQxOpB/EwLp0w/dednGR2NKbOEiyraM/7p36reqIWDGipkNUBaSOaGruPUUJ/9u9qMi4m72HSSBFZGhaA/OsrHyRHzRWLAWbOv1VE73hAbw/m4MM2Zt1WcqZF7RZtkeo0o9s6Q3SfyLMWmm1nKR9l9fse1QZ9vpeQGYqeJgqC/0kNkQJBxNqLraV/s3SyGLuNueiaF9c/Mia9zYRmCuEQT8ZthlmlrQ+Mz02NeN5+bXwX06qjbAdhIxLM+m3nMxbC9ERdLiYdFhUUA+d2FmQTtyH8eX1+lS/n/0Lk+Vbd04MVhJtoil+f1muSz8aP/RgbaMU7mfJ0bKe+9s7NTvccUfCG09wkT/Dmki71CW3m5JtSuLjR+aY5URx7ayPa2EP1DINNyO7DzfddPkvxjlL03nGUURmPOqTOryONlBdEVNCWcz/XZ3y+M5ENFyD4PXyIooY4X2LyZxwNb7hOSnlwKq7Gz8Xak7WSenvZgAnkuT3fUu9R8Trz+HZfhG0EeIgg2GBBKyMTGdm8pW8lglwoPi+DQek5t8Tinzju4FL1Xw0rey0JWFGG9cXp3JRpYEtbuPr6HfWrl5S5jF9evUvNbCtjl97QpJgPabrxL7Mqboa6+KiRMPScDYexiPRYWgs1Rohzuf7GqeOniHlpQ4CKdjxkiIULOwCORpTFxTQCuj1kOASRwaOQ6USc7J8bNlXdJtlvMU8yjVKKPBEp1k3BoUKUhTZx074HcOwbgY1Ccyo8IYHI9Xop28mpBftoWdtjcytBGjXXhLf+Z+LZWCFt9OuqCi40+Frm4VSl73UB0D0/Ziy2BBJMPS9ytrTuEhSKdTe6aANFMjevovnOkav4tGJfwTbIwGhlK2J8S3hypaNMm3IP4DLiGCSZmdV9a7wszNeZp8Xw36f2ABBLyw01w7y1bMi6KGMB98BkPadPfyujqnQoDMqwQBdRvBCw4o2RovZGjngiTbBeqjCUTQif/tKMyvw8z9H0ZO/KFETm0DgT2uO+itlsvSBzyaDtd7VdAWG7EoUBPyROcVoHxEV6oSKMerIenqhCqUN3J2Z4Hm2WngqSq0bt/oUkZogtNdeSB2+rk69i7nzXYE60hg6lwOu32EmU8mv/jpfO3kisZxiLdZ+k76Tg/iZjHcRiFRn2icSVbliVhBSJzGgQGCAxXV8z4gmumTior0Pwd8cR4aQabCmdd4R1ce1JPYIyjDGzvJu4b2UK9HcGX/qn+szuPtVveBPtRp99YT32LoZ9VLsvea5hEXxpbvxUr0NsNJngiapMEXjismoOdeIga4BwtTur4wmG08sVq1OFp/MnV6rnk38apBeIzWcJjyQ1KMRNf4Sp+Q1D+fgynqRrlrxoH4dVArWnsp100PkjYQP6LXZA3hh9hKY2uNR10N7ragJrN8TvqHunvYuJDrnF5rAWTquHypMrRw+IX6OUlQgiaYaP0b1E2A00aKtw+N0S7RQr1JEhCABqXad+FUIdnmR4XAKTPJZW8Ze0VDVZ7o51sIY/AOndEBGdBOzTHge4tw8zK7dalF0s3dhBNk4vOP9IJ5Ui+6HRM+wJJcdyCqeyoO0rhf9FlXvSD0qW2QvUh5zZf3VmDS9jzyIFrSq2VVYkKQz9juFjds6nGNDodpQdcYXWq1Tm+t2nnWdoCzvyHE7+XEyWqsiJFk7S0AXA9kYmD5L5JfE9Cxo/f2N2+sT8zVh2xPr1p4MYtOF6cUGCFKrzs4e4Q2CS3Hs0UKsLmY49CDCN/p3Z2xsPBEzzBX9BNwArcJyZwETcRByHbQqsF0z8YlKxtaaBj4kfQjvkfp3i7vOrpHzQclAXoYkJvAQTgrGlYcVJVJztxF2tgte31Xt/H0WAE51gyPLc081nHDVhKq/hNwYEKA4npkZFZo9P0Da4XxzcKMxyNwy/eKCsp82SIy1DpQwQkCCXgRz+u3pcRxpXuq4KVnGdOWlPqufPYA6cD2T1wgbAsypApD1M+fYHc75JYNQICRkMJWCccnbjNC5jYLblKv47NxC7qUiWpROOi4TC2KM/6/kF41Ag6BVkbdhKQ4QBtYlp63UkkscOwtGkVWq4exVpzXPYiu6l7i+013kTF/wZOCmilWGsd9mZixYeXU0pBAitvb6k36hQzN1iRewpnEvk01vp9wBpAvcgy0shV6xCIe0XD+XU4qHfR91hZzVjUivOZgjJXIW0GOPJZBU3CXpgdE7klakNJKiD/ZGNDjH4mZgMgVKFduiQz+abZar2R75T4B+1foUYn4bPXTdMGpJcISUgQb4bbJu34K13jS8n4tFzvnmdkdZ0WLXLocnaZ/f0oJ5YK4oK1Tp8fNQAT1mf4kQGDmAL7RAEQNEfFDlDDfPY2WQABikpFCfkEVUEeDbvkJsUItlSW2OWJ4whZnA+0QzNwUE6Qcfrwuwr72gxk2kYpz5tRjuAxKJR5cKxS+2i2UR45peglrlCQWZzxi+EEYEAe/LHcHuIR+iSls90g/McRm0kjAbzuN6LiDXEzwnsKpnRFdVuKcpwX13ksP6yHuI4rtWZEtBA/fCxbkW1cuWxU1jIJsgEPdTZwGJhhXe0JKmFLkQwmgU+CV7jvNSBnE9jZi+UJwxEEd6LgYZFOfPd5FNBxgvh24+t4qwprHxxb7b6vougcBho1z8zQx25X1vAL9dM1DSwlZZ3NXrIa1a+Q+aVsMPc8ehvGdYM/hzmNE+8m65nS/J9ltykwTueydAlNdK1buQv5nxzDis/PUkrmZKwwPvUfSC92+4iZzVCP+RU7U1ob26laA5ZzpWIg9FkeLJeCu1bTPi0REWS1TyXjcmTdn8AsGf+pleQK7Prh9aqboksgMIFKNGaqCMU2cO7cDEUuXViG86cwpYRZMb0W9t2xwEfdL08wHrP7N0uKqxe6lJwXdwKHAFjy+jwYKBPFRNvoaMwe/O/prgims3aD6t1dlWDS/1i/voWgpd6InlF88G6v22BrUq+nHmP3A6QLBCVX2fA1lT9gcTeGvXmcIiavunkb7Rrs61zSeD0scO9PNuOhdt7Gg4AXXfOQDLMckhwnjLEqd+5v35Mz4E0hUo0HXynOc3WJ6dyX5WUGDv9qGP/31rnk2FN4R4sUC76ONJ6AdeS64k0NEWh8OM2a8EUBVq+dylmZHUwZ4/X43yYTfoYbR51nNMrzm3z8F87eLT6vPN3kX9GXlj15PPduPquwzKG28HeXBF7+G21/7PbH1AwAnznIbES++IiMU7QLt2NofwhTg1pixj//+OvsssniDqnuaq7i68m2HbDaxThnut3OGEgGIjbkpBt6ea6EZz4jbS6+UB0bB9hxY6PO7P/8eIcUcsGf/IPJ5S2GIrzNOZwJa9q7gxU8ps5A8CewC8pI4wN09wuCEepf5+mm5MKmAFjOcCaLOzmCUg2FcbQ+DjRLa8+MxdVhnJ0E0Q/v7Kfngz8Uo2XeYCCXkVcMXnFj9jan5pjPjr7qGn3BgzdmBjclVy+6syGG7Xv6+inl8uDkSJBYYA/RwjHeJmiGa9rRDoB3hl3vGwhMzIGfXXz4wCld84BdYbIA5OTB7xkuxweHPYjYDskZk1PjJwN20Z9EDMC8dNO24897w6+nOaNoPxqJ932014IqiifWVSdIC5gTdsgkrqq9msampYULov3maaJ9dePILQN/0Y1ln5Y8mUC411mkIns7bSVC1FGXGgS8tn9mzS1PxRX6HLmCJUlsNCd422CKw4M0XJo511W92bzDGAqDHmK/4IIYWxecOjxNYgKbxnwgJyaCDEfs114YcOe8Ae4m+74Muw+RDGgiZ0e+B2ExkbnaoaAvOqzmKPoYtRv3tvBvAmYA7B3RFGHPp+8rre9LCYiPoRJauM+TxzNCOsi1ea1e5ZUlVm8G8d/OMctRfwQYaZv4uUhNEtAW2TqCUcRMaoBzGZdEgSuCa1rDVgeZKDarsCrECA3VhiaOHYm+bmzYWI9GELDUtj6CLpJHvpL4CkDTHi+XqtTh2evkyiGC2HnQkLYHeahb9HOi6NXhPqSe+pLeWKu7hcmGhsB5EuhF4iXO9vkhGoVXUvx+uhxjE89gmnbgRa3PXBKWwBIvqM29Eaf852PiSIPBtAsWvslCChZiQcJy220KeJF0fsfczUZ0exKyltgYcS1O9ylybCNJVi3pV5o6fIZcWZhd2e9JXWXacaZ7tGtKkAcEgYmkT2xHm773FrX38lMI+FFnASRUfHCjs2BBBLuGJ18ZlGlXSKvFd9D662o1TOoQ264F49gNu1N14Edybl/2ZGF6FT5XBDxUTOH4zTjD1HSaIJwvWmWkKuNre3bdSShLMxlrlTDUNqAFILZh2t6ls+XW3449GwVRE0szwv5pMthu2sP45rluD2RjYHUfFCzx+JqWls8sA/kNjcqEQXxRxQTesCm6VdfhJ0bJHEA/L0stGQzXowDXlxroLB8nDDHofNeLed+7GwAgeRepy5DLpEQy+GGcGgvA2efo23LLvGw+azFLQpJXS2r3JFAD/IesmJqiIQnKJ/hRLd3jNqB0wf5JIWVV16fZC7QKt7Q0ElmMTOXAtPeTGYLyl2kH0Qu++S3aHsbZRXzQSg9M7pkXwV5aLzQL5lOKlxMEyQKgEMMPo04WYgB9uc5TEYfuyUH4loEq1ei9BPX7pUtdiUd15HYdm8GwBk5sKOFfM55fOVSt2xxYn/QQddV2pzWa4C8YK+GSw49Zb8SDoWeBX+ZXxXmxxj90vVgaxEoYnX/AjYbNSGEw1Aj8licgzDL/ao2d7LOEdTQBQKUTcRaiK3hGpEw2ofGQeIhtL498Mq8WNL5HZrZ6KO3uAjc6mFp6XkMdhL4a52QRpUHQ4IHWfYmrY35AnVJpBycp6BsW6WG0n9HmReYaKpdoCsGXpStAVdCVwStyO+KHuM9CbbgxbZeLi9KnOHAO/J1qrEN+qFJ8DMWF3ajukTaBm1gRS+BlEkrycHBIt/vHAiSSZYPk8pIeXbQznB0DVVYdqlS2bNo9FW/jkt5mpyYOLqA6cUTOnPBi5pYZd8labACWdrA/HC0csmbxZ1nbaKo1+J6hgrGvmzaRKVicEs/zr56OYelLvWmKXuc0uH4NBQ46ubHC/N6p2Swt8ce4xdPf/fuRWkcx1I8P6nD9M87GEuWAGerk5QMOeIvCYk1EchEsHvs74ScuFfpHloYOxPIqLfZWDI3D8s99YN6hKKSwrvC7LkNWXnCnFZYI/PWbnJVkaATOWR+j5H2q1NNWw293O0mN66Y+KqGKZf5N/Xzj2Ozbk9gbXYxP/HqlS6xim1EpzCtocRVEPIpdiw2YE/NQIvjS/NboVMgfV2sIpvtWu3ErOopi0TFA1uY84COhrqKunuRTUHh6Ie7+BKYehUfAIxQSYMWWo77UXQt1irrwHftsyPdfaHl/qMgabiIebVwcvKTFSYJFyykQOwYk89mAhpoBl/kMU5aVzO9RyMDaGW2lchOk7/i8wYHw0AblfKprzOcmseJWTnqDRPi0NtzU8z5dZfdYhVQAUrWdcVBka/bMMIZwXa7jubgbUyLVzPnQrkMuwKTvfXO9Ub47cI190MhovfK2yjUu1aJerQjKmM2F+OykAh44Kf6Orm68meIVIOvrh1hXe04jgucE/oDi9uVh0F8/UZTUKAOUbNQV+l/0n9xZ/cts8eGD93W3MCxeSABogB/0qFvAXzMMrdFylAjxMtzVMKtpAKyEjWMGbb/hT/bhAkOtKEqFNmMIOnXZi+2/vo0chJ3QtWPionaJ68UkxXl63Do8aV2jiGbbEYPKr++6VQDkjxqN61G2EnCpd+AYc3zYhlYNMGOmhHFVKE2s/ar3OzyLVZV+BAu02sAtKSbp8WRJNosD9e7iuTJ47whA1EtwT9FINz7E6oJgCpDJJxrXydJgeg2GJ1blBltnz3Qh3Gk3GV3OSu4HBoe3drKY8v0onrkQ+RY+mhYwqi0N4YkC4drb+dUBL60pVfjT2PrNWP0Zl0stY5ddcWbDo6CUnLeQ7p2HgmClKK9hy/OVsPO1BYnoFaLqwxkzaTklvhPJo6wXcU/plC3arqtUU9+uLbDQj1MLwhsVZQfyuXFftTbqV+uG20OurUPzAWqpymzV8iEUIsMk2NEyewnssk8+zDCFku5ud+Owv+2c7jsE5YIKlz7JM/MmXJ2KERJ+MDUxsOPUzXCCKINdq6LhKSM04kX8yZmRJ1Vh9TQLfxiQ72Lmmnz9mAp45/uFz2FQK8gQkrcWFEs3G8/4/t5SRP7fE8qHVaormMiPQXH/cKdvPAtIWByd4UOLItVGbtvOJ8fFePj+fhfqUOGdAtk+c0zZM3iZ2HIJubvq6Mx3V5Xc/380Ik0xhZmvdHbSLPlJq/X622VU2cHlOtTKJ/bTmOAI6fgyYMzTdT5p6MR78mu881Yb2VvNVGP0DhTGcpMv8b4gQQj37Rg+wdTQiyhJzfYFOlsUoxeapY8QIWukaCZXqdwLcYPwUCVNnlVvPYzzSHnShXTbAitdPWc1qnv0wucr3NGqjx4W1/MEq3P8cktDvqNuyB7KjnvSYHSGMbZ+1xrS9KjBWBFrkITV2HwSwXp8kMoOfvIWugt9lfoElyRsj31S0EgHc1A1h2zNF4bPYFSlXHfdSbRTm5mPyyvhaMH0bsteyZ7PBYP1h3NbY3tV+ARrri20S8eWSG7cv3xuQkf5cJNXKW2UIXofqlmUs51ZdkV+AzQcHrYyms/qHofyQmGlP2roKKMTCSuEB8p9rP9V58qX+Ogo02SKgffH04KTG0vP3vMv+WqW93Tto3R+yaE9Rc7ZmR0Zz+XUUqTmiqtydcSpjz5VeroWaD9JeUhfiS7FfzBe3QVaHbSj6x4dQntVYhRDkIAHTNPxzlrF85KjmdHrSwxpUc8eX1Fop0Hoh7AWVgnjSasoEGeW2aoEDeQT2BYp88IiieVCE999LW+uD1aaJIo9z2ph1+6nqBJv1CLLM4QRYdhHGGGJ7MhheQNuj67cUK4VJ6HJ28ttkEVHFG0XMEf4oDImwBj76ka+wZ63NU+iONKklUO8J29OWg1CdEdr6hSMKL3KZ4bCdKKyACMBkd6/2f6beXxT7+abB4MnGFncH37Fjplyw9RdwiSMxmhuOvqVYpgfXIDLapSh/yTrJrEg6zR3B+XkHK8p8jtrFMGuMRZObqSysccFGCbqD5dKvd/KzaYsO4/peS4UsChd/4yuWH88gi9o3lJMQwwb0tU2QPCANJG4LHGlQbXu6QxBskHnA5FU8v+EzmDbR3CdwCw/PyRkAimeXfm42x+AVTExoCyAf+6Ab3asRIQEgoYRFJQ42321Y09rmK6ZbcMRmzUidJh8ENSO2SIMsA7bZrQtWBfXkIK7UjJ7YATs4hxIsXI+niWDdq/vEAPu9/+7Nm3LveMY9TO/zJJZ3LxauWtR4fPfcl6lT4SsY40YJWsjZM0bGAUU7n2ddqisVf5QwQYKCmtjBbPBHlgJypSlPFJBQPO3c9bm1DN9lYbwqKZOdJPFIzuKodaJZdjOk0tdscy1yO0KZlzBbnpAuB0hsvWR31uVGVrndPmsg4I4ySWtPqQ3uWbL9zAzlV7/ZhsMOu2VHfnqvK+KOVN7Sbc7d5Xu9iwd9eGfLaNQCJbrmDjfB9kftPI7Jqec/XcMy2pyDot10DJy86KwIFUPkvVMV82RvnhaGjahSHPhlnte1OpOC6gOGS7v/lk1SU+JPcS9J+y+m5KkjLJYQi4qSd6dmqPeuWz7PfkwoyWqpvwldzf2EB80bMA1JDyQG9ijuNt9zWeXhc59X+XXEzLuIwF3aWnkwWFFpiJ52klQQWRiEJVoTRnNwliUVl98lE5KBK3syifNxCMNZJNcawaPTMpU+ErIFaE4cXGHrMbZ51g6twnljdG4kGC54j27eI1n4CO4jCTffCkjQQmHo/QbOEBtHP8Xwqec6sXdp4q8mu311p/yFe588GtncVR6ppKC3VkG5Ylhfe06v1afHdc8TCQcMqH/qrbYHhpLZDEDnhmKEW43T8+StDJvwl+VAv2PdEQKPQ41Dhh520yS5UWx6Vw29iHoYeXnVWHesychcJHjQw6rPS9/awO7N/BuYjaVK3+EwI4QlHu4Ts0U1TnQMrTJ3rKrBiMrS77yeGXWYLeBUviwbPTWMGn8GXu4vgmAObHe+DDHQcFA+rBsH/PlsaRwVJzyc9Mai/u77ttcumBTuzSQQ5HX/hQMQpbGidnE36ntgXu6NSwnEqRtkUjDWkLl6NvdKGduk1IVkj2Jex6ma7oSqyg9qFkL4RLfdcfNlmaDGlbKGPyCPEQmSOd1nBF4XGgPTIo6kenWayChbLFaEsxiR5p5CD70sXI5r1LPsvZwITazcN5lGOZNcU5IeSFT81HYcvQUWcwWuHvkEuZEAx/IBf47TOxIAy2L4f/3z+839adPmohRI4rt6lJ2k2ijK0hGj2rzUkqTaVldAb5zAC90IW6RkXewTNGrsyBo7SlKs9y/KRcdg32pHcPY31uMoX+MO09ts36KgoVLFgum7MlbrUmIMA9Xs7wOALliEBhftgnsFjKPQQkHfNxKCJwm7oI5yWKOzE91RY84sOxhKx/S0R+25OnV0jUs9S/XCRQEokn/RW1LYVJOAqm+Oa+4Pr6TxgCazamBxacCBXCMihsyx75zeCkgOkfpaTY8kR2RNP7KUJ6Ed9sQFv904c0MmQ7/YeaNjAAGbKTSPJkiuKccO9bBFFkdGNpOhA6N1VWgfk95RfnePQF6SKs8ozAhAbvhVsLq271pSkxMQCkuXaAjgobLxJd+A3QZCqLW7g+f906REULFm38nr/SZ6HkD+ZRnJhpojK0dPFqrYe366YGrBsXG+GVdH+VFmdXZ34kp0vy48gTE7oH6f9mB3jwGUC24Qs3gPc0X7PImrZhyNeHesO/1XMZ4VAPP2jeloI4p8Jddfw4JGvqnDPUbbxR4R011xEwCMpmCBdMN7sT0HB3+OsCCGaO465aMBfE2dD4Tad3z9wbu7UTBkeEMx+xMkQ7zXslrf3nSzrMRBzw7f4g8vc9RcbxpwGcLVmqhaU9mp5Tlr9IujrC7XU3GhJBkjBxYDrDZcY5T5sGBsWlM4P+Srz0D3sd2DzOPEIAPlrxeFtscA0XEW0DLoR9r/hJLyBlG5FCkFVyqGIDpUW8YNc2gda9hvcgvESP4DUqGI14ApsR/rWB/5Cp2rIETOu8F9YtY/6bqcRRJQJfv+N6+fGaSWsNV3TMujnNFxgzYUW65J5qCY0TvihpmWsV3hBPPXdMtJiyVTmZav7oyXm50dFTDhIU+Esr3K/blvRCnWNY2+FaTohc7nMxJ8SR+b0F3U9t8yxzswNRJUTUqEWXHUVfgy7geLQM4F8W9LvHyzG7o7wx9ALfy31nUQ1uct550XML2TwMmexC22Pg9Bnf50sp5hc+D6oNksfSlDb5cOXqTytLjtPnRxRQwer+Cj+w9AJ1FfoHua+ADglhfQ73lG0q9eR8WvWPzrmbBl83Ncj+VQ537vPzu1BxFP9xU6+C2XemflZKt31NysjEKpYi09Tp7rp9z4NTjTXYxi3kqrw4yGsyB1313s5o7L6jvZPxi+f4ntsOoiiIDQvwnww4JM8AaSeGi9S6nZk0DHXdB83nEnecDw2cffVmUY2C60Y79G6tRu0pZS0lrr1TnGjjKFVPXiqAKt2V4XndwMPJTk+ZJc2kBEmvArgIBG84X2Yq3B0/+yfuDF4yw9n/JUsrMcpUG1nC3nK01aFIHCgBVhgYr9emWr9PVCTgWJdjA4RR3ZVCBKd8h/QuFZxyyoOGL/mGRii5duQ9ToXVMrhPK3pZ6oGj5qvH6URYXmc0J6PJ/uR/X/BF9whwhja6iQD9ftkUlyM9WoHJz9A8lojSRmgrqzEo5hTseccG8mZQp7JOc8EsQm+/BT/S3NugRI2HzBDKfYnzxXTkTywC+Xq7PRKvSTk45Xbgy+IXq8qVzEu6OGDVe7Yf3hnhWum621woY1iW8I5XSJu05CwikAaT2wW8G/SdpnvYjuaXm52KcWiLDLQN90jNVP2tfmCiMLZ+fwC6vNZiNNohJP9xa6cgKOHpcPScm4K9Sj3zNz+9NrcyGFp1LMWegzLN7B7UyoN7hjVVpTopyri6A3mOmlid5gcmkE76oIrE+UwW1cgTc2MmNDoeY1KaFBhMUPQ7Az3W7pC0uPWWXbQxxa9fdRlq+xzfGGM3FWelj3PqVUZZwklNn+SvbV6PqI+xtNpozVnEqHi+2rQahDSqeFQ5Ev8zDBRp+T9dCp3IInkGd6fX3fm6HFZhVr7KIM4SV/a8a74nSdjC5CTBgi+ulE0Es8FTIh8lF3FrkaabETmooL8h2bExNjXB7ld+MojrBftEq9OsbEf2WDvq56UB70N4p4rZ4whJM6lTwtJ+EeVXOfC06udrE4e3aDCNWBtl1LvzGImVmKMXuQdJ9wV4grEyElLUDU2DFI2NaKoBB5cXPqOHTQhOL2e9z4E5x4/ZAc/r09Gbjn8KTb6HnxVtqWGk0hJ8C2VK54LUMMV6SIrdS3dME86S06qB/cLU8vX2lfIxT7ak15bBbmnzEOHHGbhuhwbvAzoSYg6vOav2A+qCue4XS7Z8iHGAEBnlouqILaOhxg9TmrLFMlWqNfS8ld8npCqgrSCh+WWFDhC28hMAtiCxJgzKo5ZBO3IKUdOExro8fIaTdNlIagMOJSAJyDHAPW1gF/avXn5VwLey4YOp1hNYNpw8ziL17u9qwAIr1o4uoTl6j56dxqw9ramCRExU3dI2jmq07nKDyV8sn6Qyzw8xgDKqxbK/+aRx94m1EK1/Vz91XPQJZMNqueASI10tc1wLC8hPTnsnYYca79+X6YYWOM4aBLcTPAXu6NqdSxfJyD3biY6BNg3m9qS9/OujJmpYKXRcObSfYhxjnBA+nNKwzzMF7OyHZjyv4hQR+7U88/Mh/5gEgEEc4Pri0NjtD+cjNbKkZqYD5b6w5yAx7a/Fii+hBA+oGhwirD0z3cv/g/CwIn9rY1jiuT5r4aqMSkYSwkx8Hm0ZkW64pbaHtwcrIfkQ7cLigTIey7L9kwI3kxfmzPlntNxTIxg2hsr8xOTtV7jS2ZRkQTLpj6BnAQqcGVMxb4e3LJ58TVibguMxFTorVVgO1p82UeEKegprbzWsaS/i0Ak/AQjNuPJrM1/QciTL0Ke3azE2IikXinsexJgCh735BK1NzIgnX1eJ6MbaTsVD3nEnztw1MyEE2SmnBWKirI8Qr+JevMaASed5rmrVgIQUEwqIE7/5vcp34S2sp4NCtpFv4Sa+R1acz7Y9mcaWOVTqSmTYyQVsbwh0F3zeklU/TdPWGVJa6e7WkWY4aFdQUJfyAAqUymCX14NhjfntUo45Y1mZjGXKJcz49eM63C475YjVIpssPEK5/dmhgwPB48Yg+Mt7A4jOqsHQ6gY9ftzKTkLJonl2T+OgiVN12cydCYVFe8BDKN4ZjEjX3BrH+j5UaceGS2KmSlP1Tkhis6WT+Do2lF+O92Qd5KVx/XlOdtQHqJpOkaVhmXJYVqnKyiTfrhBnZohs0u2AXtDjK0b9EOCeIlA5trgvSJX9oQ8YcBZVBTzSew+gLD8N2MMdYVXp8TUarhUPYePbaeFREVQzeGSHLDkJqpk29XkUnkQW3/Icmcd93lEHcUbdmPM2eVvBHQNDnG8NC+k1oFErNGMI8QDKb/xhQ9Z+Dxzcb4ZoFzOsBjLRwcX0uQv6LmKUkm8uBfmBQpaRdGYeFso9Ii1l27PumMFBQ8aTLUVqhaNEOElXbI3DpfEkgFtsDQDwFxdXnqtIlx+Y2JSe/CcuevH7sHSPmuUeX0NrzNIoxKV+J2RHb6OZHKhj1NOIFX6Itl8L91kCdjxHEVD1UkKOwXEV2AI0J7K3ff4AtPhRndcRBjEY2fWzXoIhe97m/FHnBDJmF4Kkm7mKCLDrB7G7VwZa3THJADitXDzMOfn9m0HUPPbbcynDTp04h+r2C30cYi17eqy7z63UWcbcKgPmT0qK8aS4vqzE7flaFyfoIsujGLy8+83gM7xl5xUPXLnwbcC1W6VOvcghAsRGYvmvmVGu/RLfbI7DgeUc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Op0ycGFAinQr8Tg0aHv2oVInweFtzvEEifMKhzZTpKEJ49HhqRF4fmxZlZgCWFL4rsru7pegGBR3eobekY0UxS4TclHxrVQUGVY3g4slLFwEIaOXE41B1TtjdCZXTDtfwSvm4npwweyhw3w5HSCuWSNuZrwDMpVTqdvXOWRS8A8E9XxT1vWvWpU6lO4Yd4Oanak6XsMYuEZ3g5BozasZL20SLx7/iyHQTCfIk4hXfyhJGfSS8LeUVY8UQKxw4S0ftrJsWQMWot2JCv3Aa5D/Ur6IsneP/UPXF7gdjz5c6Qr6nORIXCayx1z/RqFXKn0yJ1KrOy4YZXkrx5ukUvgfUjezVjLbonLeFx7tPGfnSiL9/sulFf/50BkYqOlqMKyO8dTyA+K6MgzVQX0xGO9A8ngmDZk4wg3WHp2XuFB+GnFjT4YePvKsNr31zM+X33hNSCEAju2q7X7nG4EMk/MJMujckfMJRiicFVcJvhFkDXjZ8c2ZvJ5IzYTqGeZSDmab3knEK178mPv+PkLY5KtybrmSAduBrT1afh0+wKgZrA3vhq9mW9VEhYniytMD2930081mioAxpQafp0DO7irLo4FyGOh5i+/3oEnEwO6lRiy5NqqTfBuInSvjtthXLrtkD9saPQFafUN7mLuiVqkBmBdOz6LuPWCtuKImK0X60UNUFZuclXm9W6bc3/S3QJWTkE31HvXxbJyC4/sLf+VXkkUXbjHrYaAggWFCc755A6eMZfI7VH7/rTGh1PiD3vu7Oc1Hrg6IHsyn/VpRpy44TWtiuujCdzXCKxMHcyYdcKArldtjFVZ4EJwjcEdybx2p9GsbqADTgsGWrJWru44Og+Hp1laZjPdEqyk1qHzM/GHLO3VlZPdXN098Z7Ll8rOo/9O3Z4/146DD9UwiQjpleF0v/+kNKovnj8EKog1YZuTLGVHKOxpMCA1SmmlcJL2LF1EQQcYYcArFtdhaezOv89zng2QjvpDW1FNAi5oqwK08ckpZdiAkIs+VxphOJX5TqAawKlpps0XN+S5ZZNmzcR/6jtIWmndHQ4Zr8s3gwP5cyGi5MLnhbDOA3ETpMs8g2MBb1aS23IUjuCsJcYhcIuaCjaUb2muBme5EdoKtOFO4iOjz4exNwo0UPxRIVRgbTm7J7K/ZPg4NWqDm10/ubZgMzfQsgQZ5ZWi2TM4KL1QsN8rVlZgxAgcW31HvoPhEyEIZ8crMJIOMXe2HzEB6fDIO4zmZOuKYKietF106fptIptus6cxlm9NQi3pCAH8BrNdXZPpwsKjwa42B1OeTdcBqKXJ1/8wxzPdW2t3gyAfdBteQLPJfdz/V49CTByvIqXXmUt8YNE5NJILaPr2ofjWiwfgcO67+byEGOEzcOPj2oLf66I49ssWrbJMagxn4u/yyL1vEzYKnNx18fDfTwpwEfiwkwWZSm93jLYVE4yYjJp1LXy2zvWNDEWiLOByMVRvm0xCbKAPOJcA4/8O7VJ6xsGf2xetOgshqVl7PkKAVCPUwhc6UgbInWprr+AcZNuXWnAp0NjsC0q52+ddz96zO07TqZwWdWueNFDz/3aCr21cyheKIhUG7FNmJWNzfDY1J5titbbomkZBlt0uLNb/uJghMdv1mCP1cxl1FmkHrnLGwUyHqgQoPKX+5bPI7Sd0KLL+V5rcxYDtanzzV4mwhZ97qNXLBCUziSBPwx59Cc0lFrOLwxOHD2nn28xXChq88D9Xo18C9ym2Yq1pb9+YZ8TSCEwF36zani96Dq/7dgJH1knzk07n5ieFW+3M7og7Bz5EuhdcaU6d2ntHRuwjC4MXvY1vONtq8JSju6ksCSgSzvMulm0P9sLbD+MSI6yC8hkRvaLnP4qfbDKxOWvD9cBXSfADiVB464D/K7w+3tsA/IkLzGLi2NtQNON7eFHgMENYadj7rXBa3h43YXWnM2cfVtycJZzqBUi2nhy7/OdcXFv5sYlZU/7bIFVO6UDsT0+ju6FTF6l4m4h0dxTZQRcw/1I54s7AlArKSLiCzHlIG2tfuJgFtDsggfGXhERs5Srn4JD5qgoYMbVq069qVttv/mrGsImWosFQioY4SnrrTCr1qzEePTylPxGGsoGt2s3oCncn3DBvuk36XDOjCm7MKF2CHIkyHbdNQvZ0wamTfYQ7/YNRLGsHzBdo7kmEqxcc0MZqjdwnL6IcZTtL8RBpb+3R49mmX5m1zeA5Lt/gVTDeBADyflxsqrcmf6cKi8s/douq/I5u5sfmlGPgaFK2pkTtm6DvBrecjZ6D/jGJ4QEtPJog0aNaP8YAnfFZABTlO5FcaImh6A7mXfjkB7tdyT80EOfBd41rmhci1dbRd3YMRcaFL2qyM76ThknzNWCB/poyjI9Xylw8RCu8KVXj6+/aOLkeOeNpfk9Ar5LYnDlJpFMOmtWRuXb24y2I0KjNGAoCqHNpQKdF0w+5kts62RTIGk+vctEPl69DHBREAPfjkj2jltk1I9f6lFVgQTyBBwx2vJ7HvLqikhehEa2xx9P+raN9LxifpByD+VzJG2cUrapfhiEBn/9kCPK6kXOIkL8tvLquFmenM4N1AG/B7dZesM+TS7AhQuzVRQUPCcmfkwzdcWhCHeGT2ySBHzQoKV90rfURRcviUM9CP1GHakXwsiYAtlPA6Wl1182DoK6f874YNifHOauBBq7VHphMuD2objXBvIvO9mh19XK7uk9I+cYXwerTDh2IeIbSLFfa1ZvC8bcZdq2Y+lfMWVFksejDgyAl2LhvQWCZHK43xSbyc29dsFY+J6LpDWp2Wn53JfiENnDOaeVyt+LgiimC8nuF8Jn6c0mzobwtzyR/0cEsJvYCBaJcVu3naTf4LuIxj0SGEe3QfU/LTnvqAVExNGvaENTNDOomtWznA6VLEY/HsiWUeuC7XbY9YM9VXP5k1UYkuGRu6cJ9NN4yucAfPxHzHgd7mqC+VxOs9bYIX2zsa0Y+dfsCCsTrdbpL5p7hyNqQhzk4Kv4u0tXH1tYh751DvoR9jaydX1VvWxrlhlv/yNUuQetHGkA/Owmw3L35BHW56WWLaFQDPfNT8Ks9QYoKwe0f9YNIO4Ipb3UfqgalYSeBm43xloQHyDwQpXl3wqWrByCCOY1Ke6/1i1SnbPgoteY6Co+5/RR9IqgwpS61xeKtA/1ceGuV6NI6f1bJu1LdgJxuSxbFtLKT1NhtnAbuwnDSTPhfbtMdLs812luAayFJwfrPdtXBmj4Eh8xeP7GNBRXf/8dvhDyLT6BdThorbF8B9s1X3owqloJAFlKObiw9iLcBM5Z3urKEDexCqtJxQDEmPt7vj2YoQ4544ffhfJl/miv0ieP+b+RtWwoHpafgeNY10vG2edJI2HeboG7dDpJhIFt3SE3O9V36CqvkEFVXfPFZ7dEDJozzY2G2C7m/SwB5XITBhTj/gXm9bg6qBAxGjNQYVo7ZJSH+MxuGxgTJTpPcc8y3qh9Zdo3NpL3FEBvrsVwuD9ayO8N/oB3MvPYtEyvd9L/VGnlgQFBwPbni0ye1zLlIART+JBcFVRvA4YfqII0ql8c7pCuNm7f41Ib5Rx/nMlAgBT1HRcWcNpjAaRUzS2QCPvVJHNtmB+aTYpxcG81aALpqRlG45AQKzBk82BIbh+eZILyoUoVMA67/QCOvTUTWMIU/Cfw9K67QR35KhFc+nzrcfr8ehjxPywoY5rY712yiqaJKet9qBg5KU2i9ROU29hUFtfwLrC5gW/0dmarJU3PkyQHY5vCagPPZSVuAn+86M27hBNJTYNNlJslpN63S6R6wfQe/xrvMIFMBmL6SyF2jJ1LeW31CIuwNLGWNMwkkPvJHWtCd2s6+j2OztMlKcn1vUI4t3kgUJyLWCe2b+NbpWRcUJkmICdAqTm306kNiYBkDREqyxpYwriY/LRG+QxtG2SZjZm33GUDobqHxnQG60oCcSsIPUO2hWKvUVLbOGHfi26n4gQrz7mKVvIzl7fgGJyyp/pFb3j63OppkXPEUQ7CPR4yHWbUzGsgckLMvfrVSXwl0Jdz5NJf2mEF3nyoePnjmEyjyPnwIqK9VuYIUIxRVUmD2B6osygTA4uRYR5yJzjvr7deKAP3xx9OOWstHEpUQS4feA8ybU/Vfyh3dPx0IY4HUk8pSvR+unWncdjzXeaSfTLSzdtDDwYUl47PnRHa6ygvdWMCuZGAJCk8Bu4StEpiFHSoKFxkl0U6bOOntN+9t8GCQyGM9F/rYtpHsW2R9w4TuUf4nzrgVHjjLU0lfM/KM9o8/OZqwOA6OJ1nIzFxezoa1Pd6hfcAfOnqNVWU7kz3dbCj4WPFtEYaSK/GtWKkuhd21/U/ubo0FTnsijlJmInEmbI5hLsojCUqvDqd8KXDVo/9G1E4U4oPXuKzsNyBBxvzCa/U7jnAVDfAJnYq0hc2xA4dfnrsthYq9P3/l5X5jCMVmnXSuO9dOGwRZQCziDVe2R62L2SgI1f20OhhQfzgZlDOj3PcbJMxwZg/8tgTTJnMjszv9thVw7B4Xg6oZqePA+L+xO/RVw6FhblJjZ9fNZLFkdVteZD5x71C4Wi5vvcUtvb8DopLPYQTxAib7Bb26xM7J57VsWwMhP/NpzspkBd8WNo/c7EsqeC4bqigx04YVnKk3c+Q5+Hjg/1QZ4l8JNgSbCCw5dOm8Qt7sM7QTa4Ju3tWXIOVhRfw1EagbZ4LNevI68oU5Yaf0n/CLu712cwNaEDOzZM8pWCxk1hMQ7h6LfnsnI6AdBPET5VcmVKQbPrJx7fuuXqhDiCmfDDhp/XpbKrdMGkKZI95B0eRc/fBCTXvAhMStAiLR077ozS/88Hof4AjbH8MDl4su4mOGQbK41rILKbxEypdTg0OfcIGPbCoMRQVPwyDc7gyVhTdP6qaGF8LVgHcHqjV5ycA+fo+EVXHbkO0DzMBUNS3BiteL2j5NW5rh3ytT1QVIFD19NnwBaWgHKnuuI48aS2jqnVuB1fMVsA6VWk7sPSmU66LYEgMnUWXn3NfYnbZPnkY4hUhqfTB7TZ9QZRxa3ouvc6aYMGBgg7tk0F4rJJPK1Wz+xL63qOOD0h+qaCZmYQjnRqUF+xapUTJPJb5Ir5neq3GifDUL7KHpWO1+Sij+hyHp5VSFc6wx7FZKL7WL+P5xMSMT2G8fRbBV8W/8v4iLlmQkpUPNFZcsYg9bO23vo4Sn+CwBkXzAZRaAFdhY1JZ0mkwwM9LxbXJUTJdEqB5msrm3On9cAXNS1bMUFG+bbuthgzKOFXJGbuXxMj4vFu8xNpYJyMJvjIaefgsYmIauZfgR/Si+YXiyaEgjLk2lgZw0tVfh9hjN2RpAn+Ibc0z41ObGKx0avY4yVYBrjqMNxyBx8GePCV1gRCXGUxuXdrYTQ2Y1rnMPHI7LV1pNvuJwsJQUV/sxNzcLrlSUg5c5waAuIqu6skWfNtottq2ZgGG+mHoXcEoOl8D5m/k6ZviGS7Y7yufdKNZa7pKSbuG5xhXom5/TJw4h1ouoog0XGXWKQXrVbnk9r2sPL96Wc8nkSZ1qWcmqqBR/QiZLIPNANZW68OI94LuuraogZ4RtX+koIUCBGH21M1rG7SOpBTMfU0m6mXECpaJzkDNvRQn6Vm5yBRQ1Ab398GFZxjxzRxShmJTQcoWwLb655TNNyRWem3QdLxYZnIhlSYhjgbg/auHghU/05Zm5N4eSIhDGCQfjrLAuYID2DMYDb4bxAttUxQDWRoFfk1grF4tVmGA1+UHfmoTovLHRNG0LGf8ATJhZFA3e/uKuwt4T/cldN6z7slazMewJS3cr96OUE385UJKf9bjz67bxuxBpYLUU9GTSEM6L8XVXymXeZwQYc+MKeOu0TJIPgM9hAsIODOYLE9IxrCPd3b6floNGIy53Sd0RWXNd80xTzb57AjB1a0/xBqvd8p6dtSAPYaoH4zYfraAo/DFcHCiQ8BrQfoSaYJVvIfI1SLuiA2S/RifUy4gydCCLFzoFjwqYydjZ6BSQfhPtDXPl2at/g4N98xN0fMLok3eoquOfLDdJnoOghZT+pwc7e0sAE0j8Y8DpIDltVLMo0/XbOppqfLkEfi3YYBHdSK06Yujo0m4rB9Vg93qdOQZBmEDJ5ycQrIjN1rndwfb7MQd+ZDwZx0Pgq97KNDNP1Kvf4Ef/lKzifbK7M11L8yUojgnnoo357inhkuh7+DDIump8ltZTdEROG6vOQoLpSwbSBHiaYL+k1IYYy7Oc+0dLASqEh/+6QPDFYmr/xrE1UQWSiy2JADdL6L8KnWTvDgPN2FP+wklpA0Uw9ofMcpZufzis7VbPsA7S6GKyVuL0dAuJdHD/33317sOF31Lq609YeDVvsulb9UQt2xLswJSQXNEQVVs83/+T1paQlYiJSKytAB5PLoo+Q1e1hPtgNiNfwWfQtmv2eug+mTZYOh13FzfHEGPFqmldPNfC1pjTputn3UZmhAne4s6rAKfIhPOCTiqBOUFvDqhfaLyeNtn31Wuw71oz4Hmqkrnlytyl+4DLgqfVw1BPIlCOE0ahOaXNDi6pt4m4lEgqJhv1B29sFSdDc4yV7aNnX2wBXz11m1aJR6OdtYIV8xCtSSZ3f7jVDvsLAzT6HDPX9Y24nsZoeHNhCKmWuY+lT2y/63AlJmlo6LlqKjHlz76P8qK5k9IxIDS4VUXaC+grxRpqEKXx0y0GtHcp2RbpIEn13VU24MzEOfFDSl72hMzXJ+SmOqxzQbT5CxHAf8pSp+cpXlBecVz4RSh1FMzbHerrZn7Mr1hoU8eVAlOrMaz9vYy3N8zMu3JXIcuPQ/Q+dYrWhDwPA0+bSaHofECCjmnumMjlnLVbN5N8ColH2fpaUfmOWFiCvYPCOP/zUoyLVsQt9X9vpM+wk5+7DzRusaeDh5MXqhOmxt5F9+dFtBD2ThfilZAjgwJQVm3e6zTgylko21dXinBphfhF5xtJ/woupu+KemwtX55uqtsOuvvPU37ARJe0k5zPkOdRMxHHfgLwGaLujXu0Lm1cDmCAkOjomOilyKg8kwsw1Eo+tFodE1yGQDBxq8aUsGaQ9qAO/uUqQQ/wa16Uy1gnIKuU01HjeoUbiWPF8iwGOk9yfAzMFe2bMw1yRNjes1YSQxP5Kxf7apjXgqOF0LDFsilDyrfqCEj3Brxpu1tse+K3mInhm9BNb5GoyIRa2iJxEKKiC9ec3z9Fd6vg7FgLAvtOfFv850vT9XfE24hOOL2BXY+QUQ6T8UrdXBzrBIi5YJ8aA7iUrCwhkazN8nwT8eX0WvOOE0TpozJjOYtExw5ulEII6XgaSOGGGUZFRQ7cAdXvYrpMKs7VvUBRHkRqLMTcBq3cYH7UiwYPWRAejUChbiUA7BB/O7+gSlED6e4d3mKDd/0Gd1Oj/hmJrDCfqSiakPYQb0LEfUW2xAAi0hT81x9ENUoInikNpnNV8OVbdwFifPXZ8oG4sDVBqYSauJ9pLI+yB1kkGT84fAAg6Cv65qkVv8ATtCtfZpdC44PdxsEIlYI0zGRxs/jyGc3OQ9KuIWcuCWwPJjCyudAO0k4kIdEWsYDJP2t8foQ7dcWgmjOxoD5w2gSW1RKS0dbTjtOSfldlZv9OVm5vfRNLsjDG1G0xy9Af78AlVebKS6NsFmxkEPSIMzgHd72h/F3VhtnwMzJIGnGZMekf9GME+Qnrfy0FfcZOrnxCJmm7q5bV2qqzDea9HrcPNRI6m/DdSUx+bY8JIFkQRwbgBFGuxXTw0IfJknLfYF8AAEQmBfuO/ISS5Klaz8SXcFv7X3zlYHSCX3bRCJSCKzB62N4wDBg9NY8Xd0HcaV1OyyatSP4QVLIL4fkVRQFdn5bD5LZhjDNozvCGGESX7AxcfeDCg0QRKFu0UhRvbRNWii/2nj8a7js+/iiQfqz4/Gc3X6VUhv6tMuYMcdanAL5wdPuSopim01NHDKF0tjhUmfuq2s5vqgzravFT851pr5inY8sq9vgoK6QEM5HXw+3kwBUpRWJmze7nRyPrb8ssNtIldOIBSpnbkhAxqYKNku+BoHN+J9Q6+lY2CXkV97PoViDrHHY2npc97Yi48S4PCDjMkDH01tv7VJuftvK4Hjcb/B9sSL0iK+CpRvjRDZBWaSg8OPcT0mu5RC6xUqBAR4hdaKtiAAtPoIh8wNy5Oes8M1DXmh8mELxgjmYCmZOPxBAkfjL3drJR+W0yHSBuaSYUMI0vUQTYP3XxZHvV8CEorqB/iXbWElLcPHNgXbx/W7ORvD+G7TGqN3JJCSFQmeFLOf/QSasGg9i2slvfIGX8oWuj0A+RsqW24XjwEufFTQk8RXS+CIQCX6h4njlSsf8qPv31WBIiaa5Ai5E26lo97GtfDqhkir10TUgOSRlzQtzwS+a6RSFQs5IuFsTJXRRKsuJs1trmZXaAdOhQk2n6BlZj+JCegvsomzvb5djga9UWXHUMJFsKITBdqlniqQlK90jmFZd4O4qZ01Kk6bkwXz3Wk6sb48D/hOMcQt6Zi6rQLRJRqnsPCe6JrNT8qA0m4ZG0l5o3CLSgHaA4WcdiVFTV4OM/TjGTjvUzzT060TsAwlWVXwpEbf7ny+GmIFM7CxvwSeCouHB0fgbKxnVhHKryiKsOdEaYkjaGVuM4EB3HZZJqF83WD9UoOaLBC1DPaY8tJ8/9m7bqGiXvLVCF8Lm40BKNOYLmMLlqIdkBhFg9nKkPHr80sqvR0XBF6dq9C7EeDwQ6EU7gmrReHTkCE+rROmv4FsnYpd2xe9dGxxk+0ZZBgqRoHr4F1pkxt7wNwki+N3vEgrFVHbF3R1fvc9pKJ35oHeNqLkrBmYEz4rohFyPpkYYIT9UPT7JOSKO1Gx0zLYJMLI0BDUb/NRkqiA3uO9Ao5z0H6RXzqYDsBBKKUQOMEeL/NXn7RQySJQa3GG3P+spYGlXjk7FZTsTTRj0FRxnz1oJTLzrLq6TXEXwmsk/BXi4J2WZmke01Pp5uPoioGAQxu+uEHvWZbpNVAUqnwXfrC8WhS0qKQOCiM0rHCBx3dDiGGKHqhbxfdJx/qT0Oanf5jCirQ7tscx7eYtFVLp6ylMket7UGXNS0FhOvySku/zYimoOWWSjbbQlVu4nXn4KRfTeBVyoTEXXp67A3wGZpbfZwVRpBYlohWCs4H5lhF8th/q4/deD1p5tTb8loievqNvuCZa2ezFVrvBDuGNrHfFYNrQQ7FMRm8ynwDRw6seimGnu8GTrSYPs/91WxRAkvw6kuKMroXntAxduv/Zan/tycvje/8YKbj7aJkDC+98Yuk4ruhaTb/O/OPUD6F99UVMr+IZ/0fxUzOn6bEFTSXCsmh8XVMncLQRg/OBO5QGDirnc9J9wZ5cSe8UxWdav/h80ykiOUQ0Nq2N4L9XvqIA+roTu48C1m/cYN9uOz8HbNVbOLehz59tNhQs0X8W6aKjzJdHcnrRTYsiG7RHnArBlsQY8IWjEVq6ybI9ThqleUJwvyft1JLIqS1UNfkUwbaLbmq0pA6GSYwJxGLP0YujO1F8XUFfsj7WykeoswZ6Ti//lOhU5cRZNrcpsvQXLWQI03qX5hBPAMrulnG7kjxn5iBAYpse3Ej9bMqQ0zuymF5c0zpON5a1jhWqrMmomLoo+zljp5pzoUwL1ZBJyJrtylBukS2rhPmD67588D9Oo92+5IP00gVJQ8U+y4u53keSNiR6VHV/5Q3a9uwaF89O/PD0aq/JIzld/H8p12X+um6U920GP4kfaiJjwFZLcyg80Jx4QtpjVgkyeEG2W2X9PuvIyF+JqsWVjYfvZPPpcd3AhdZ37IaZEgFtsXTxtftocVM6I2BOVmFdae+lIicS2y12hz3BYbtfqDljfrZX62KTzY5EhGXDQrWdupxxAgHKVBeW6xXn6f2yUWur3T75DVPIZ4No6cpS6m+USLg8+4rpZ5cvUXIRxgsn+xGX3gQicF8eaGHfD8ZStE5tqhculxY8gZH1EQLBOV/IGDCWceE/sc4vcnewpO4qgwoXVG/3QvrjEJ+VB4ZmsZNGuT0wgdu5Yc9M3/sxvUpR0kxo0VFovpyFde4Cepq27QLuNTvKVmz+mGN4/Mou77u4AftR5B2OS8xHvQmXCJYQGtyt0Yc11sKnrbY/hwWcmzxeg6Ft1zPyVZQSPZluKRldgvEdOA+rPueRsBEqvpxyN0zGwfSi1wcm10Pa5hWornCLnr2YEQCnQlqMSXa3cnEC1O/0nc6LpB49N+aPIllM4I37l4IfaO/gN3rSuunm4uH+jVDwNizmvXgRAw7YIVVI1uDY37WNC/H7Trdyq/zx4m0mxk/M8DyzYmFE4WzhAwpI3XyJfGo0+GF0jX+46n/ZUMkJVIbxMngevAdHDyjHHJ+ISZ2kslZOdVcLAyeqfcbRQdIp3PBPvrphKBq+L6IvVXLuRtY2BjG4FgYd+gb7SA0mv8KjuvkscrWzLfOz3S8XRGZlPEMBmMTljZvdcQvwOSQT4WeY46gPYqT3PL7CPrvcrQjbS1l7dobMPmzXL7beXOzxEy4NznNIGJXxreTwLWE5Fpq3FZE2xtwYBCMWhJ55jc95lI4LFKfP8UnXbdmW0lZylHEzQJQOFAI3MtfdZ8vs0GFxHSJoCv+T5xMiPikM87Km7ZjpFKwlDWleunefpFzgNluWeNX60LmgEzUzFHzV0uFBFreBb7d9v6A18+cFRv+Niu42hILL3KsBXMWoox90G1lcTCxexxCoaOJ9DxeRiAPeBVBJmKorcJVrBIiykaFNCcvSNOee/GJeno3s1zqFeBHzgq07pydHFQ4WWEsKVahZJM3uG5RBZktBulp1p42pMj4J88znPaVh7dNJmaA2ZUklUL0Y+ZEETxNH8hKXQRpJ0bufJL1lUusPQsxcYyE8/pD7Gm5rwr+z8JpKFmt/TjQPKYSZVBs5ixuWm3jcL7EyzsAtwOXiPJmH/iM0f0HEalPCecVIn1ldmlxy3QkDG0AANW0k/BOrX5zPNPhnWI8su58RQMB29tdOt5PnhqIlAeQUckgSktL6W4udJ95cs0k49W7SMyhIrpSavp0GK0K9tQvDfH+m8PoIod4WrgWRBtmvqfnApynYQZotbtSgeTCHCybuJYTDBu3rYmzWCbV7MQCM2aic3GlCoVC+q3aPMsSC3VyzGvcAPhEAEtYFP45b/XVgDk2fV7cULmPPvGY5RSDS/xSWncUc++dxaAPN9Wl2xRNA0hOmfIg0H1U3oWqhwGV+xHkGoPCT4rB4e58DhLx/3vmo51dgf5WVuKRdLoimP9T7BJBpA9yxwYQH40+svkDDGBSsqfJY5lj1xpPwV7ZOsRdUDZVL4EYmp3njYHyEtIEawyrd9nAkzg4AeyF77GaSZa9OKgxR1+Qm9v766PqVEAk+VvRxuoiNrt93xKQII92PxMkiGgSgRXw3QCWIRaPxsTS7J1yGIEFqD6TRZendxB6l94aYXwcn1We7FcCl0XizjlFfMkO9XLpH8JYWW0KmUZ+SxCQgI5sA7O1Z+2bQevf8TTP+FwjdWfk1iqkgcAWtUOM/2wI7Dw1kFhCYZSuc+P1JDziDe3UT3n/98HtTQKYANNJa1K2RLYr0efu6RowA3wv5EC4ulJf1ikXxFR0SYQXS3bTy3FFhMOQ3eEU4ayWLFV1PVK9eLTJyRiuMNZhFUxP5gMXpmPdyq8aA0spoaiXuD1gSBnTcMbOu5YUXOKPFbUy6futGZTFCP6OT1rD9TcXBu+XuM9EAOFA1aabdfu6iuWUjKKdk1pSYI/UuyhKMdpbahTG/Ugb/HprOBAUOGfBKxTEf02aSHOBNY+EL8kTY8wmjhbBzMfwp799GzYcEi0XJRq+HeLsFCIFAHmpAeWM3mVxExZpi7sPcLlvq5SrSMmvUqRTYYvJKpDgZ+hweJ/2Sdqxr7Jg/5CobI6fb3AgqzJ8c1tdMibrjGihIU9VQQLErN8VP/WlAKdH0KicnJO2kyDQDfEz/NZOLwGSnZ+0N7kBFQqqtxjW0rlx5VvuJ3Gw/477hzcP47sxMHcsn7TiQkgvWfzjnmY9Vb+6Kj3kiCSDXrO/CI+1U4Amu5ko78NnzLdpvDd9RsbhXqZqkGuvN8rZk/vS/nnA9cCRQyHqPQlPq5S+6yutGSbF8OgEFafxAP9F/MdlZhP2poF19woqFnRRUPsh8VjfGaxdx7bwxDjhqLa4jNJfeuPxt3SiFxFy0jRiyQVAhczP6IWrRKz11VMmo6YwDm1lEAhul7yhY/LyiNgmUpWFhQIfEJhom58zIiiv57jcs4VrkPXh8KzqocFMuP3VC785wq2On7J1X1j4dieFbM8jVtVB2Bq+CXUg1k1Qp6inI9CpkGe6v/b3NE5xXUNGtd/Yy5oREf0RM40sd1AlI7eH8LdqJl7PeEgt+Lzqrl6DmlbCCrG6vyIUmh/BbMFhazpoWFB1WaUPOBQ7wk3deKNCqnzL2ykyD7+9OuX/KjIsgapkeUhiWdQ+Nvo7Vu/fYA5Hr7d9qx+DxnsjQ/WcQPWbz3pcNrmb68AKZxwPdOKZ1dwfIQkgbTHJ/qBa/qEP+4snRIz/9p2U3I1sMFAZ20ILgw9MK0re6SQSRPa03/bLU61qZKVEsVEe8LpEBIYqvmcdXamSFHhNDE8K8RHbA0zVxb7TUnBy2WB3aMazYvDbRMU3CGWqSBK1H+EHKq2sm/AMqQVnGO1QfxJbeCZgVQX9bQuJj6ciGFY/PhS08VcePvADWO54CxjPLX6Atod3a4I0HULo6xD+UuMewA9mJpIqdHWsZWTOsJYLojHscRULoqNuxNUuuH3gCiiDVAzR9U3QKO3Q1zctBlQykpufE/trOPIQbVmBkraB6jZPycwTTEaxcYNX5BIcDU3sbahUUIuvUsdZIuko8GoxR2805TlTC3Qfn/tdEHJoiQH2vNU37Ya8WRt9XcZdBeQLV1oXBpeRAPvJ1UdJvqqYStW+oM3BHMbWeIkLpoI9oupKRd/U7E5yAW4NbdbbSX7ZCBSti1W3/gzfIWfz7QSW8D8RDtXKVFojjdTr3czcOCtBw8Ainuec16P5PPn6y1gtMmEIrdHGA8GdZMxPN+YwsOlW1MB1Rhdv+OoVv2fdgFOudb7aV7t6g1l1FVuB8c91Uj+Mi+q15ud1W1LSY3N+h99NUp5v7J6gEzbBdlAj1t61n89UkCB2QeUQz2X8eiVybs/bTE6tXAcZ9HJPC4rQUdD6LTiMuu1LCCrw9wKdkshIZlmxX3VHppoEv1j4iX9dC+Bu+V9NTW7Spj8WzzP+5HtaPvVtOfY+KsfVf8KMbFhU9sYZWUyJBtvYSZkyRLqUNkFLYXsqusHz9Qv30UqsEOHFqTJoA73S9zesCJ3103i5zD3XtZ4SGhNSIJvI+SVvd8CX1sH+qM2pFlrg9LDHesjQmeXmN7f9hfbBNNsHxYQBc7y3mpzYHNyfT6Ustw6Vyd8/Rjw4dmWdVWmDU/YvWdfMwRRzLn42DN6haKDwHOz8leKhE+KZ04YqCCXemZOtDrlbq4FPvKgUWciM0WhGoKKpd+lHcvjEj7rxSzj3FBACtdLRUwtDRVmmRFQOpCNPjcrjycBvtxHz6vqhVh7jZMx1JFFlkTCll34RcKjMgoxmgkj4cr67RHFG+SOoM8yqV3minGvnxKW3i9FOr7OYCm8ygcezvY1rHGaF/in0iDvli7o0UVskGSnkzaAflAo4JL3wWjjFde9KEFwcWN8rS/xQPZqYmi//aW8dH0+67Y3c/1qCXNX3b4Z41bIgAgPHVhD69qaI91400OFBPP/echzHGArpIWHPNbedBoz+QgoV5vwLQsMherELEViQUvA6QBI/FrneL5R/+ZhwXofzU93mSt8lHWrPSf2eKLp6GQG6mFYXjwYQWeV8hZI+hAqgYlrp120rguqX7lRmZRSKP3bJuA4aWHIB3xiW9YTBkCE6zIzqKQ9u6frLdGTQDSzsvPnaIoG5DB8n0XQ2kDsyFdL8jF7keO76wO3sOgzOXdiLlxwgN6QPPyTZQ9PEZLMnnO3wVHNxktAOK3NRAIPFp5Asfza6KQhrm4zimDhXJzlBiQVwHHgZExMdQ1poyGSMDPWzIyAE5MbB4kJebFtfVpqQhCyag0rImAfCoGshgeMEBcA+S4O/zoz7mUW/Fe9b7PrOevWsDuCdLsZpz7sjz/KxDuxo+4KLyx/Hsh1hMX06oaMYUxfeWKeMwbgF79LhM2akgiVcyvgh7Hf1V0X/Eg6YSM6pfPJ/74Es6A3Rw0isGE4Ijn220SpZ2h10VohavOqnFUmRluRi6xjn7dSccidCn/NI4pw2XMVZ+5V2yn2JRxQZV0hVIScUZkt7jfRcTuioxDaVOpKeZXXL4cFgh/T1jXykuPuzsrFNiQ18ByzEldimxlVHAejdNdt4h4qPai1lc6yqXkBi5Gz43q2rocCV2tquOB4p9GAW46Aakm1ZendyppP3vZzdGD7dfXrdoIJY0u+Y42jJmyB5DFWgHNqDQsmeRdgMTrx5FjlaQ6FAjzwa7oJHHYklNgLbLWBakvG2mw32bG180zMklniaK8mlF7asmDUJAA+6ggqVWrsjRMCxOmax6fjIOGtag7Gttwxfj0aAWY7Ojc8EYZe/WqAh/gwTq0R8BjS5CSnM6lv7mEhpHT4/5/DIpzSVHrCxFqSHRRxniAsi6HDSHxbadr0GlBl0eRv/akcConYKLYzrnaXp5zAdsTCikv713HH1JR9DW3xepuPv9spisAogQkouPnXYHlCVQ8CBGnG1CdL1weVPDZuZSfYabJveWOdUy0dZx/OI4QMI3DbxJO6DVxkOyqMC/nsaKHD5jMGOJKlydD6+bkR5fdzkd4rAAJsoxhlT9d3km3TAxo+NDwddqeK1LaR/BjjBvNZz2tgDKAqRaKKZcqbSxR4ozjSzumjhDblGe9PXGXl+WtX1C8KsHjYCpaM/xvDDf8K+yZP6ojtlOc6kCjmtHQXyAmR26i+ZJ/J2CEH8CiaKUpe+D+lbJe4TWvann4He59S9wBeedTHp7EzWtGp0ZpVNPO81i+hWv2QO5AH8jEjyjmeGIZj+wvNz61RTSWEp8woGSgjLR4VxkbXpZJ9LfyWK2fEZJreZXOMj3Inip/07a2DY3c+R1ffk+x1+LmvJNRuTHPsJXJyjHrLEFWXn2RTj6nKZAFuNXZfMdgB7MdwwDVdQtZtpnaL0ukAyHs4yhUMtjCZJKqhcB3i78sxqsw1CtSoaOO0K68wDmapedEYfBYGW9UDsWUPqmcR26oST/bDeqY1KWeC0y+ZtXo0pqbgiTVJXbbqwOTl9xIAWPeS21m0XLi8qZPudHTFFT6QNONAH1CeWateWNpgjd/Fg2iJA80b4iJ5Sm7opxLtfiXOtXh0wx1/6TrNdgY6OVF1Oo9eWpcgmsT5XxMux6uy2LWTNsVk3tLCnk5A8IRvYlGQdy5XpK3vjVbiLQh8iqjRstxD9mc181H30M07N1YRH/0fzHAh8EY8ad5mdsH/fxO151q6bcdms86TB4nfpq4vmvr0t2AzZ+su1O6Zd9N23HmCvRKrCAmC23Dw7lqkLS3RyMAKsvlBF7Z9mgDkl3O2yi6vFKYbR+r/8GHl7YFhSsd848Uebvq/0dxR9dtQvm8WmG/m6tSLAUmjPGjXpibB2b+KIYKAxYJh/+KBCw25ki6Q95yTdrKGYahNMvNVcW1AXD2s3dAtzYMDi0FAyW88QcGCTmKe/scq+zuT2GOkVZuylhKKbfifSiXFBpnzGBo67Ck8uvgtM6rVQ4JczAz8jYkqK2nyk2D6gYFX9yUEkS7p4gtFYwRqcBvp1lynN3aSc7T/klBUWiBeJykhtQxRn1KF5kU+SjYNhYyt92kw39jecEgESBZFGSuoyoI0B/8APouywaSPEBDUi+OHqDKJRKsZtn2JolfSvFnBmHK5BsI9jha7qPNrFavjskBQ+9CKAr9gPfajO9dub73LpI5XhjM3zu0Z1Lzo6MZJnZCM9FGD46mgyABEwY5X9OhQrFB+gFG/9ZBUrDhkxjzbRoMqDlnOis25lb2HWar4Lr8T/QaXIizNQRbcc54c+skwx18pX+APgfb5JpkZ49GVrlkL17eLZ8noCD0CkqWlIblu6bU4cIqvEqtNKtZmaeLtEheMeHkehO1X9MG9WqNjEhqfsd1hx2LI+tompJ9FVGthOrevKq3gXzzTVQ1Gt3gDNfVX3yTAhiEAzz93+udE/AjxkcpsG9E1dOJ989jz01s2qSiCu8oWR8BSMGenGq6/Qb4E83KC6dLhBmTU3bvS1vYvgFfcfZlz2RbKQXwFvh4WfRnzMV/fZgrfJycqg3Z8xPH9f9TBNkdTKTPwLryPPedswPLhFZiUB9FibA6jiCFHDk8Vra/bM0b87BHPotBUOLV2dhDmYIwtlp6s4367rqLIEKjOMyUzVM++C4+ql6BcTRIFYeL/4KZ6rZwxOEtFYTdQ248161JNkUJwv5gNlWCYrbmjYPXgjub69W6mZHxLv2irzZ5bF4Nzjst4ZysjqzePz2My1Qas5UfsoRY5rCSfjPSYEjMlCi1OF/wAE9iT8JjPPUETEUZGf9G2gNgoQSAzXnhN/14gcQlzAt+tFDUYzPu871kblGx8gcobsoGW2RVAQDrGKt3XyLQXLapMtFIIPNc91fq7276HqX7hKnHaJqfKrbiujROK06gPGMefTpvRDK5RyQye9SlhKc6SVmsFz7vBe4RiQflg/qOOR6bRLuvva07AhAvchux2WiT+XzgF+E70rT6s3b89gftQuvgWofId+mT39x16sPJN234Gk4bzJy+mZe5ZrlJxYjWCipRL6YUM9v6mYum7qhcFrZdErSYQd2LiDzEgJaX4COdcRrh+qhbthIYn+dMzvGwjuvIAQba8PiQ3/NHJMRgJxC29Y2zEtX2rD97+fH/7ghgeZ7ZGDXM2v+4vT/dVc3loe2N658ygWtZPyJ97C832FpaLOnTNJ9QrTNrguTQr8uNIuAGl2hKSaLszRS9yOfDGTNwHapTAGfpiIU4vxfRiC7Tsjsjhtd/sRI74HmjphGHfVX4Gd50qFPK0iIRbCvadUa3/dDWuOGbHQ7lQZYYeB50V1ktJpq8l1R/wQy9gx+YoG34801iPa3CiZaW3NczzuJq5tYnqqqNSHW3StjbeGNP0xabP32ibwIGMhXCXR19fhuabUO9lwViEHsTkLb9f6dkHydjwYfVyf1nIDSLR6vh6oSxl5HdcBfrsyWEXkJYQAA97ICuxIvikqX1Jv74jsslyGqG0ewhPAqgSaHuT0wngOZ+qpTzwZ/pcu3jYh8OcM9nuINbV2Dq628nJupQuZ/rVOPoq/jw3tZHcv9Jf4zQyYkR12kP41yRoXCtuKYIUnbix4gW983D2rJaDGMd5DAkHp5PwlK1dQJUN3UI8DP18wraQDJlWOExtCCSZnq2wsLxsDopaA3+CHoT1UR1L0OXK1gP3o9oqJK7At1JtXXsCmfQNQ96S6gJZH9Jvj76wSYa6Kq1XQ9ao/rtV7Tnuvhmydo3pY6ENNB9gkkwi3YU4TDOg5h1vJsFTpRrKp5owB2wy8XB7AwKVB3gwJky9WJfB9pmCx7QAJ9aCcecDWGc1oU9O7tTZy+OCFXjKEOqLJNdYWeGY6vRyoM4f+YMfNXH+CNLAttfvRuPDMjUJ7xCaaid+o4Axe8hKTkg2TcgRAhtl04I/VQ253vjkbIDqlEnE/AixBwmVGEdE23aiMQIH0mY0ExOG32snttqk8O/kP/NlaOz5jhGFWqxva0CktsthDiAUA8IMSCmc8m++qcClwXkPvmBG8L/+QrovhyU+ugLEP6faSkk/Yx7fBomkr/LpsK69FeeO4I7VJX+TCeZPDhleEsLAeeBCcYkkNohtiP9sHPhxGsobn3aKGPXpSUlWw57aUA1y0EnHPoz7Du+i4rQ0IJDjw7EePl33vaWaRkEF3gA3JYjsCJxrTBueOQLaUNH+p/sbZWfHHElB2mCQrZEcR9SIey7ABz/9miPPsOIjkyeNX7IGHFpEjt7sjhSy6xaZ0a8Z+srLcckaeoohMtgIenq/QEraMu/xLtWLnJf1KSPN3HTBIIxWT9/0a3ZWhZK6xG4ea53VGGj1/0cTxnK2je4/oPoMmM7+UD1ze9wEOV6TAMguos8RH2036vyLKf9ftRvtD9hNABQ3WTaCXgAUat7BaYN4+a8FKeb4wAQERCcuS0dv8FYd3CDlaC6xqOsIy5FHg4G3LEdZ2no/RVOBtKtvEt0NQcx5MFkFVzfCi9Q6YnWN+mnQkBAWceqGTyFfeHLFSQ9ena04kTBAwDeeFvcD/GA9E5w99dsdCbu/e5gfPZqw0X1y1VuW6u8Z9+hxVuBmijb5Sg2WWUBGJ57qOxRPh4S7KYrVCVFJ96tk0K22zNg6iGhqU6kqXuxVL4Yrwz+mt8JJgFy8Iw99Zvs442xWFbd50XYi4aSNAqcu3zp/JeZ417/56627wZWuMz0CMRyyypzoeixiZSwsiSY6ZAmz3155Q43vT/3MsrQnUYPj2eYLsL6CkZzo57oF1xte3QCwVdEPPWkhQtmmVTfdjNF2Lz8Yp2ESjOD/5X3Vzvhv0yCCDQ65MMvb3fucsRag8J5KRfyUfYP9pEi/e/eUbtcxKkBj5wFx/YkTHGfsBFaCbDUWw0ao559g+cbu9xk11QvddjiHkh9JDbfk8I8ZEKCq4oByXN7P5d5KpP5Usb6iU7xrokPkzg7DDm+zZDmoVWqGJfHbR9oXxc78FjOAcytX3rTZUpNTpwnJh03WVlEX8juxSry3dDU4MEkZb62hcvEys5q9DMB87uWMU738GmS9udiGjn4hoFy2tXdub3FXfqqzW6jVzIaw2ZER1sg21fmC8pVb3D+lvLnsHW1Si6FWUv4nn6Q9DaOhfcG0/XYXUN0yg2MtxThAEjxVg5lbDpi3alPP8bbe9r9QD++Wg9C9vnv6eEQ4EVseZIL17YFozLTBy6nXBvgKPrbSCDBgKgWGT94f+9Tz5dbeIkNSJVXNHZ5ZOK5MiEER6JCGyORYv6mYZtY4saMp+fgy7nc3IbwapVZxbBG/urMekgZNXnSjjC6A4bkj9AJOn4fGs2WsqPblQVbXj9BwwWUj8/LWoZmsI/xXLD3a0NAKMfh7955SJhqQmpHSXIDEd91rB78FkM4UWb0/XFCB1XjnJvBC+OR+XcJIbG3Tu9YN1oxaVfg95+Na7la/9jMMfyuvmOqU2YclXStFEpZ5AUYAGuKO4DJkHr9ULCE/RxO/XQPysqaRyE9MrXKpNO43WUKZVO/aD91QNa7hici3kdeZKfWVF8BK5IvY1BiVJTZQxI9emxo+iE/lBMmGPTiGMmhfSkeXRPZ1GWGS74DyM9cZyHubguScDs9Ao5ZBIOUtdwx6tAiwauLU0gasPyOve7FIAIDv89zxs3bauBf2575IQbw9uTtlgTcypv+jHdZvV6848V6Jsiy82pRC3pD9B1L+F4xbai4Yx68W3TWnXz+owzltfciKjIb5sKML4h96USfKk00XUJecyVbIzSnYfqN7N++1vDhzkRfHf5itaWB5tzJBoD3YN9TWqkrQzImoK9lcs3nrmYjkHmZDNVmUCSQVSrEX70b0wzEZfUgHMadPnrbxs0JOOM8imXG0voNJMHA00ZPVt27KMqwGD3xg+yxqRtOwRzvIbk81kIGjPnLIh4rNks2Sj4O8lNkBWihF2W0ul29VC16831BBAKpgka3SkIChgSHrqTwSeBe6Hpu0W333i3/hcJwiRA+3Qec1DUIBWSxtc9IS9pohEbI8CDchMyT6drOR413j72c5Nb7VoxAZnBowv919JvUw0RCJMWU7ulKYM0fZ1TBu9p9oxPKwgywuyhbAdTC0pibelI2cRBJrj9czn3sAhyosR7m5iiwxrWWVT/PIQD6dbdkybuUkPuZ4OSiBIr6WyIlaIQaZfTqkHSmen3sEpDXAB+B4PIiVge6H2fyEJIk3jlcXJ0VDJfcW4lYdX8GNqW+tZOwJ2oafk7S4AnyFxuIxt+f1KxR1vnGUkIgEW4xQMjtynqGNvima9iPxUCqarpQSUoSZ3XmaGA+6VGjt6ePd8FsIU2SwCBc49RLEza5H6ycD4ONpi6fApOdeAxD/WdCSSF78e84VOu8SLGLbWJTGUO0nGh2/Rd14UGnOvf8AK0hzFlwSf0IZB21ZQrPh5uuzeaYuvul62I6pXnbuQcfT4vOd8V4TALRTIcKeLvBvBnQMCO4qssCpNBa6NAbcLaZrD+G5BVS4nDvBxP9LJV3PPVXwf4u2lRJ6Jv7M8qa7TOb8S1W2bE1NTLjJzgX6sv9uEfazam9qB8fVfMWlWtfj5vobsh3qR9cZ8uGvSUtz27H5d46oUIz/SEUf90bKtQ3xbdZzc4PXVhIpJDO3il3cJemWc5I/UkSr/VwLnRQen0cMJ19pU3q3dCMj9p2jvAXOHUiFxFv63m33WRTyHrpz+/WwJlFCJpt0j6njjf6B2AuxDGP1g3wKpIap+G68d3h5Q3xF0j0cJXZAs4kNZ6urUchJ/QPqmSE2/ezDWNvFzZrINURc9E+oilxlkZlni9HK2g5AzimmzMw6OMyPFuqUUpL1gFaIt/7aAA9BKV0VVjADPDR1/JxhKkuxc9y8ind3Vu2gmyXwN8URP9AzPgqJ6tAVKShbs5Wby94cQ2WyfVJVC3YDZks3H5KS9SZ3SOtjmaSYzXeSnHdpWmvcrZ8gsec0btsF24gSNgsjXq6LhbSecnGX1LBsmihpEM1fQis80ZoNAwrqdI0ZKA339qwRW8U6Avaev4LxNmEEZfDT2hME8QshpAc8+82Yuqu7KbuB2V0l3CB5IKFLHcEZqHEDbYEHIfuM6pY/SHTPdxJFcrSXEz2LWxdNSYBpEUqo8PJwxAJQGs/l8lYp8pHQPM3tgA5T9GWoCd64lD+e7R2YS/c1vdVxjNYIcb2/effds+uGw8/HPaLnwidVCaZfbgShWrlFnjlqV+uYK1nyHWTre0XNQqRLswu0W3d+tz/sk1h0ktTANcU4YAqvr/jZAMg4l1UH9AxP9gi3Tql6U5TrOXRPdy7RgpkiOwkw2rNDWWKRpkJ898PW3JOCRj4Xsi5jf3BcZ8sdBVV8AHVIruNXlqG+B+HFCbXuLTUC0BcFPu7yfY85nT32Dpx4Y4zBcDh79OLyRue3iNx7TOmxDVESeZ3agci53vMCgTbWEr9ofYdF/zmJCDeTN3hKkX6TfQ7xtvHhLw7prVN5OQ0D3fXI1/nHdK5wos2W8XB7FXZv1RTQU8qQkT5KXeeyvm42zh7vv9BrCjZaY5R0jZon68tW9DNkJ6jEVbgN9ee5fy4EPhR6dpFPVqxhlTZ0mr7DvDn06WOMH8Ip/JQ7AewcJkMH45KV+a1WxkR6sI3hxLK41FLsjHdWzzNF4wLkUVJiubocqoXWcINCIfDsQ0cL5t7NmeCj2wmERY1NtD4VkZO1gxf8EuA/l6Fh/s/9CxYaTyF35faBWBZbFB9AiEdDA4EowfHswA6HJww5PHARCZQrNO9rNVuimJSKyDpWp0ayHEu1MYEB6aNPRgBu/+X2ykSoc8VRBZq1kl/vIbWy8y2b61qbIZ0hehDi/u57ZoSPr5KC4kCUz8hffHPPJ1HZZ6TqSCK40s1XihTp6d2oHLepAceO5TBr12q84VnDHsxsN8YcPZIm9HIQYpGs9SvGiv1fnvND4oaJD59xR4rIqXBSZQpJX5Hqg1F/Lp85J2G5KljGhG6sZQppojZDCR673sKBsfpmMLzBEV+2ZaI1vkLLJgwUbcnHSYctWZYcQf7RWeclhA26hWuYGolEXtml64gypjguNRjXzK6eePolT9LpCzFlXY6si2s2q5hKsQXMT22xFPjCdcOvq9RuVA0n2ajkfSbl/xn5Mw8FgE1rJgrMzi3wsHCqNevFPyT6BMHEPqoOIz6IPMuTGd7dYepRqmP8j7VMYtNVkhIkwtMROCc4Iy2YGdlamMxqsNMhlSH16eh118ZLjSbHBqrn5bj48iIItmP201o25j4fDWhXE4AvddQHHoJ23tFvmDYiklYSch030y1lwwPYyBXFW+7nvrK+8Pt9mjbeSWaQ0QTvHIL9RMP/A/61NqnMhLwHtJuRQXdP18sPxd61gMGlahDwTVZRt8V2mn/BfKzS9qYWRMndnOjL4nzhNykz1konA4imZNVPHCsxzM42lZ1Bs/KpWx++UyuRJ7yp4uNOivHHNYVpvoqjVE1kCeGUCa3pTSZEj7T4NGVWi5eGNKyUj2AdBxZsgDrORgC++8eGjoijWrVkBHCwU93eOMz0hg5jGC2a8ZfPgfCCBc1Sp4Lt61wO1E9b8D8Uz36cNP2gO/W3YeQr7VtvCAnhulDOn8XxJ38hjWFZ3NmvzQ84ZosxeLXN98UWnSfd9eX+zkmIR/AES8UXI74NujUv0JFuIbmYxCH3u4Q1VAWT5kx9mYwSRlVzarO13V2sfnnbTO4npD57hO5dXwaf4K1svTe4Bc5qujJ6NYbb58siFo+HQL6EoGOqOOinWilKN2s8anuR72BHsCzvsj9Q3aZL31evEuGMCtVO+ahykvKv+xVfK3xiOpd1Du8hXAT7ossqFaphfAH44IAIuFizyj++jnE5K4+mC5HPSGQak7KXX5k9eDAuO1GlLIGLwfBnjMWLvwsZ+5nWzioacg6XUO5u3OS9woGl4ipu8P6jm6KXvQdfUmKQSKLftKgH7vGfF2unM12AxPtnIDWnuohBNA6ptwBh0ov/9cle85eQqq6g5JeJYYEzooGBC1FQXnUH7iWbzqKaxKcuomTE7Kq6D7gaD2djU1a48JZruR23Gs1JiTzUBqQt/Wy8kgNn4oOjcWPfZwHlcA6eUZwiEV98PCF8LY0eRMq+avjN42OCSh7L3vR6zyGwENkumyh4GfAJY6NIXLew4wyaEahUmZdPFKO8kZCVAeuoQFsn/1EjsB2tSoji/qz+Xixi6Adhkyjs2lVGj+1ZdxI953NuHnm+wbkE7mZmYF/3B2sXG4ABdzF+UKH+tuyXzlK8sb3dze81nbhv4gqW9RTC3qOna5430AP/9oGlRC8bQiHOi4U+7zoacvfviv3euRohvLHtp35nWktqvAKHiIAkvBE3COTLmXjjm5vgtsniplHESBQ63DhNroVJox37X9GreTMt9TSshj6OOh7NdzhoNccyFj+PHyiHCJyYyak2Ws0Y1YNE9vOfhwk93f4+h1JO8fci0B2q+/lW0ZRE86ZZk+V0uRlGJiMJKT2B7Il8W/WiyDVYpLnfjnI97/7Y1bKWj2xgKVIxzM4nQGJ9Eem6msiB54IDVd3IuoxzCzcG0ck30zA8/IFikITDy0nKhQFHKZ6AZzppbibbNI2j+Xqgu75fq5QHVdUrhsDkl+NF9zm+tDQriPmvqpudj5ZZgHxTNP7sEzuJpU+u2LFR/O0fweBXSpvuYjqXXPf8CkwOP2Cy70hH1TTVseZS9afdndwM2k+rqE8DDn764WADRRVD3Ke1bApsmNa5WlY+VL3dXL9kOMU/kb/w7RR6RvhJawpbulGHZeSPE62fgAbSR0qxVcart7GWLbI//IdUMSmEHU16S2G6rgE/CPlPonmGVoic4IJR3znz/4ryJpex84uWh1hWVTlp0+5ZPk64w7fiRmby+bsPxCs0G56uuPZChjFVO9emWIbxrICdiuyT/+OBlgOo+wwVFY8PyvKYtBDl6he9tELoyxn7JmSEn7YFyp6AaGs0/zSZgvH7ZL/B4fVTpyqw1zC8tqrLgyE0imOftkLP746HBwQ5/0+BUf4yoNg3Nm3hsJQ9ONsLpuoyAFbcXw2ThEI6qQyE3bIArFc3OLxkGZjQAMCXsZrj4w+Y/GXaAMRx02S8005W37rSNAUrX5sNZKh3qQj4pJg4LSc9uGRYOuYpIM5uVWfcZ5xluD4QMBRV5qBhWNN1WAhWWGzbiZ772nGd9g63IlQWd4Fs7Vt06KQM4YqH1r2qgyIK18guX+zn3ABhcxzxmJs8xoqxA957hTsKIMN6cqbScLXzUMYG6VibpHtLGb3kWb4sVq2++vlHo5JhFhcAjeLN9BE2nD/bpJ5xZjut7qg22A/kwv+XHxeVNLwd89E3XCMmuuELd49o89Ia1tUWJLsLXIYuRpaRsGK47gRRt9YdjjL1GtMMMtm/yxHw1P5PbS5YOvn7TGZDx3fi5Zxjq5ad6xIjG5Ji6aEc6wXULZMCUkw5i15kAW86fog8TcGraALJyTUhaLBeXoRI1pSxDvTv2vp+NU0AWSktK00IuttJG6vuhBi0ZxP9EHd91m5NE3XxBRv+51jFlRn1wspehysYwNeENLsgK9CFSlYu8h6FDWKYFqVT691E7firr4s9S1kz5JHpiM6qfHkT0lNd6Nby2xhHFk4bKHDCiHMT5lzxVtyYTMv5JMRe08KfqNlXrbYUm9VlBvSeTZhxu6bAdFLHW4G2pnH1z1qhZXFqWJ74zaMzgMDksVvJiuWUIweC1N6aN0oVfBSR1uJmFykIK8fL5zEhCLHqW+7JdN4vEs/ape6TCrIX8CuIZHMtozv+yQ7/uSScj8fRkemVMmrG0p8Hj4nwOBM6IIOojgVaYzI7HMwNBbgA53oQMadVNl/IvZtRUbhsxDkZrEGCPTB7noRnlYE0LZaMDlpOT2rfFx6Tvk5jyoja3PW4JBJDtBte/U2XKX80UvHwNDDMK7jnk/gdWX1cK5zKas6wG/nn4531mgmz2RRqJ8ID8C/07zbSECoVZueFlc+8xlJGQhkiDUYpGV/Xuz00dsOFKJNDDdli4Xz3oVd6xg638YjUQkLjkjYAK4uuuuV8ZgPhDZtiR3IBQDJL+n7VYK38V+8Y9BJbv/cQ62mQfcwLxZXH+rzGwjfQv3z0gkEuLEMt2PcGWHbX96YlubmJVJYGhgAJhxghEWlTIUaAL8MgXK/FDdOEss8ODYqWN8uMTMnPGgRjpoBYkdi8OotCT5JMhloNV6EF3C7RiR+uHFIeXa2Yujzh6r2oi93TSmYn4YUc9g3723p0RYrvO+ijyQ4HbLKAQnZ0gGdK+LWcibPhDxlJjTmAq4ZbpeOszfPHGAIbgxBwkY+AD0b3bum+mL3zSs8iG3V2W3HDLYjgf8wDiMl93WmHyY0tVJiCxiwvdmssKXse3244Sw2VFT1DS4253a8HjPg9Nye0ap6Mgn/gxI1xbV0Y5xTfvZj8XpG+J9MffMNJZmzt/gQC0S7/sR26Gnnf/EBekWj0lS06eNQrE7tJxgZvO0Gq95NhWB1LgiGkeMYJQpj5jAlqhfVNSlVaSjxf8PXtCQJrZam021Gl6gCuv7kTifJVSNxlkIz5REdizw/X1CMl9sKHVvQhc0k6p0b7eE0YLB4+VKtdXf3TzQu4SEWlDQ20LRtDmCYwCMUmHsRdRr5dBkIOQnuAsIhZnGOXYZq5V57Y3Fkr4MprQ0R+jvPl6uljBJU+Jip94yd1zCy1xf+h6iiwssM1E9RJJfLFSdzLr0Z4fxFnc9Qmr3VDPGjGdUiyszphMKfoNSU/vH9mAJHAefy7u+4BKhwa7c5zaYr/ELmv2jKY4N8wMhWDYxqFYOphisGtn4eo8ak6BgaNHpxeOx/aUuNchwJKDQxM5DQsTq+zFtKZ47EOStFfBVSQaUSLLn/glncsuYd9UTJbQ4hATPZss5YRiHrN2GSJIksvo1XkNrhErSStGJYaH8yOopcVXyx8c9djUMMm9lYbni9vJbNvfwom7OnK6H6nfdv9YduAk4crYeTLWmgy+2Q8oT0oq/XEKD+7MuMdSe3Lpa9pPNtcG/AXbFCfTNFOAr1lPXyHDWELTQIt9SOfS26dxnXUSqKY87d9F2Q3X4qxNGnS9onPZ0ab4m2XGwcscAwCIkfsVMnXaMn42X3Mx98g1bk9IdJ27UJH6eeOMQ1AfXOchZDC9IZgY1dP6Ph2AGSLCu7bs/v005Rb8+ZYWvHg0J+jioZznYkKASk3FdITCxhhmamDKEDYiIfy3+4t15rWJxQIfy3W6g57SKBeuyFqg9c9fKZBXxdw3oQMFtAk5JqW17ewfuDQiVMsGmysk1EwlErNJtLZCn3H0YQzUTmduAb4k/FjUjKYP6AfUPz3SoMxVkBTf/tXHReC0nSkBtOsFd5lsHbEHCIZ9UULmfY0qSXtd9qG02LyTXZU="/>
  <p:tag name="MEKKOXMLTAGS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AwAYA8MRaLH40tBZAqQMTkSzlSsOPU3pYW2G/iWk8zJi4A8bywC0gRQZ+YB+WIu6tCCcSah2nck24TtxHxO3pkwViJIByr030cSfi5KZay5SJQqK/d4I+pHBVvF8aP2Ri+9uaDphfeE8tBtBVqaf58W0jUlMenCuncRRkyvD3EIG04rEZdfnIKkc99v4V0fKy7224YuiBMwkv6gw5SdpKLJa1oZ+M3+4dmo1v7tl1Y4fxDiJjn4f8qwGuE3iEJ6cK0Rp1Sk1GE23ZyOIewnzHnKP1EwPXXC0xfaGrH0ErxaknHxOSrvGjPCkiB5ODnIk/9qtOM8lDbRL7aDIiDuDnQzlZBmMdHANAlevNYbq9as7Nw8wbCF9HCYfYdkq8hpkqIOOXm1R2Z1ztAaEVhAb/mHtv/ZDF9xiQMxvadx+UuNZJhSvjn4YZoY9rNEs7B9mFhrsm6AUSD5mThZ7w5D4dJBeNWZIIPDfkBg8tWsWpIr7C7FhAthOEk+t1zPsf57ZRuHGvxBydDoqd4rJnNucgluKJT2wp30c9Z0SSufFmDR0ch+RhpQ8juSGHAUqgwZVns4StDM0d7ww4oqqvSRCYHhDreC2x1L3SIVbYfv8Fo3qW1qHpEvya9FTVHCYyw+QLMfoXp/Zkj+UPf4vwy+kUxPPb9RdhGwBPKdAUC/fojkPT8z9jYrwqXARft9kitpSbYmXQP+2Xn0EEVAKZi5ruDf4dQKffK6T/QNEHEN4Ynov3isRcvgOaKsMVfVbBK2I9iB2UPvQuoJCMnzOnRCHNcwJF4OyozKYsb5llDpEi0Tpr9smVQrxLVU1fKqKWgs3ysggoSlMbb3PVPNDGuHS7FWaVsHkdQ23HZLhpCkyd+yuGzsT7siNGh2afyGRW/dZ/cTRMRy/fXX/q6Db3rS6NxEdPbprD7Syeh3xCkacfpU8BrgBtsR6lOuftfYcZRRRBA2+YqOPbfsdIqggTzee/GbE4sA7x5bnFLa0J28wHML2cQZu1Kb150x01NKsMVhoyznzPyZEneuD9g5LcO24MOq6w5wC80a5W9OznwR27i48stURennl7OEchcadFVon3iHhLgqq7SxSWQ5kRWZ58fvTPctsS6yvf9XlkdB+Ezdxx7hAXggJ92ceUwRHspT3Xfow040B6vMbC/iyO7mdrh6EM7fOdn/n50jpJFYq+9mnbwox2TEf9qyFmCqm+au+qAJg/zeqj7cEpoSFU5Eqf/FfJLeDgEtnGRPp6V+oTxBQp9DOXhMzhffUffY15TVKA1rhCDnZbMIEsi4CBeyBSKQtV0fDg8GkksZmEm6JIXXktlpBjEGY4WjkeO+B+vZ0nQtKtomLDDwMrycHeeXAgKqR6P/ZZ1XSz8uK0L362h24TqScsanB+fKoKyGli0YoMcpSXHmMcfbiW7f82L3al7EeJFiuryCYaFpgktDMeqHOE23H+/YTmTOTAe91WowYSy8bEv/U/XEIFxeNs9zLdA//DG/j8YbahPnZHBzD4Pe4oYH3PwUvbSIdZJ/sdnnCs5F2+aEFsnd/AZajoQX0TTqiaAoKJq1Kn8/EzOUp+MfXZB3xAwEH3USejX8ajlxiVI6liuNPgpiocVGSeNLPXdNvx9OaHsxrf6LWANNVP8G7d+G4Dl+6MwPxV2hURbNQeyUaUmSnXOdnCCobg5Bquqqp4RdBlMKdJK8D1143RAsIIveEGgMbsUVzhtq1AOb7D079OKCneYrMmzDq0NjIaD83FdUlKS33imPGZuQoRLIUaUIjeh6YoTXXYUOR46T+67JusYZlrUIWdfVMckFmmYjevHv+F3ASjrOcrPOQSGIPnknBldoeQRQc3FtaYBDzPrhvslSJLhDr4MsdYYbl7fCfM7tlrXUnSjlAOl7qJis2mPMoSSNvIgMKXArDbtEpBYxH4PRKrbZRguhAKDcCQPoICe1YBeS8Ca34NonldjMZZDQ+BTg+R6jHZoLkTDMgiDL3MwsRQm5HIZrq2WxEUZops6npRLg7+b/SqtnXt1CcOuaGmsjfHGoi2Qx0Pjn3e7tbVoriBpxwsAcSSQhSxOJyOqoHQjPPxJ8tSfr+k1DC1BVy1SZDGcK472w7CRDAQpuIyJksHPHIoCMLZpo0Ev4lTfOv/+DMIksUsBrs8Kbx7JvOV8gbyFQjWzuJmaKnVuUi62rC3ma4MxBvnhJ7OH0fcBY4NeGD5XvWFIeanPA5JVCBpemzlzOAN+tHvXwZQjR1DW4DfrniXbLSRrurAM++Mg0j9HdA8wnOWLl01Mo5zeC+hU+ZQq+bEYtOFk1UOHbuJvFA9Xh6MRWGH+YTASgk/WU8DmvhMOUvf/TlJQfS8abJTwrUXvIpty0BRTrqtoTA6nL65tz4akje6jsyusY2anLt/ntFF2SdOa6SnZ3deq1cemNFpwr1OP/vIWsagxm6OH1M6WNsdPn4gZMmfOrjUBFmSE1E3L6mgZ02CmM0z3LOE5PSqvPnl4XJrHKx12R0JEfY+Pi/Oyr+lO5WRpb1mWb/eBmzFfj1aDbggnQ5z8VVfnKl+sC5s18lra4xW6gDMrqTbJjmPSAO73rwf479hK7HqzvGSmgrnEhPJr3VQkqsTD8K4n48dmX+4EeR0LbhPUbkUahOql4hukFFyKZF5ihGyzhhLdshi9aU9uhVn83RWvwiboj+eZfpnZNqMJGHWNjgaADKI3FzV4QUjvHWR9D8B4hI194nfrozt6/r/XtK05Uld7ZD0/UMpJhzAqMNmbRMXkPTrS5vZ7REbVyFIvZBPXvAkWw9+RNcKSjqYovuYPmqqvFzbcSEvQO9df2nolG/DALFjbiuWxmrhLiUZ9uo6ND0UsZaSpQi8Z05qVNy4O1DaenGy0a1dxdTraAT126TnrNcNP3+Ss0lVeSZ7m5GwH+YrLokqRPgamzIWvsTVEHb0/Y4LQHpatZNM6KJipGQ3xu5uST5f3FjOO3QnjnqmKvzgNfxBFZ7zud5XMrS9aJtYlrMaZypgO3583rh61nmS3cfgjYmGpR3BBuvxF9R+pPQOsgPYr3xIXrhv9vz11GcCnilpu+oAx2WLEV8iGU0TaU0BJqQkyxcmwCfYUtRIi1p8QhNXSW8N37CE8TjVwcblVRw3L1Mm+JhPeW1nUTPUiamixDKprfBha8vc7qwM6PUkbtdwK7XB2yooqP2nhnGOZRsdyljB59sqMsDEHI4KF1yYOidf2fJyQu6bB5OSvW2K3He7VPsjsUZe3tlui7oCBdLenFBzxuikPgmgLBo/cYihU0r/QmrD4AX/XsiYqsr/pdE9zRqG9GZL6wI4qG/u1aLiFBD7Z7L7AHc4xbS4gTGh7u/8fnWjE+nhwoThznjzLpqDlfMMxxgsWjEKh7HdusKeAFmFhfK5bY+SvwEWjFn52o86ZqAZoODJYA2j8/KFtiITAfQlaQi9rP0cHzWPybcnvqn4+nCEnbjMENA2Nmhb+NCy7RAUv/kE/VJIUkG0rSM9o7Z2Q+L5FcMx2tS5s6M9kkilCKMOan5OEVJX/IOw/HqLKBjYb+8x32AG8Ln2OvOVNlBkYNg+EcxNbNmC25WG3qVRru1VZlM72OKFZjB6+o/Uv2jiFDGFuBiCJ6mPKQ4kkVnw9RkePWu4l/tW3W2gVRiQEUgwQtL+Btwa8mEmD1BA+ap9U00aNeDXNIQ56o6gJufZwrgp2tCTm4KWr+/zc1A2noJqW8PbJm1gxuOUouygSrynduVG1sXDJWUhFvFPFxDIlYoz9o+D2My+zc5dXqfs59ha9TYHJ+vpEiSdOHgnmDjqiGRJ2NoTWcFRYH6tpvewEDnwMabLWqscYwQJg94VK75IYZ0D98lhjNSqDxoU+7zOpaEXKF/AlAZvlmICbuA9u3hJciwjR/v7Og3hWx4xSMzaGGaRXPE6tO8YsrmMpodmqHSN+xvFH/Ogf9G1iSSee0FUuWVremfDcb4pFhqWhK9kkDkNrDt2infDyJHClEcglanLTMU8FI8kT/W1hFCuf98tN5hi1uRwWRtX7IqGHHTOwhr43YCzrsMqCvamYlOUEZObX0cIGmao/6YTQdYGtbRmFd+O+OlvS9Wlyqd+o32klloOwVHvj1rtBmVLcQf6QIlP1rOqOG2usGpBZ1F4eQl97HEk0TrD5xVvKKaZra3mZLqM8fuk9wriC3H0TBamxFNJYw7CK/s8s1YXk+YFI6NtuXXJjDzFLmIZ05flOVrbTIPi26x+lZrlzH51vIiyr63rVpSDkQYoUFy9Zq7kTJ5xYjhZpHFvyh0zVs3Yvzk46aykV+ezGPbjYCgFXjj6KopakaPy4aWZtm5/RJpJVidPjbWyeBZrFBjRfjl/1QZmhPwsDfadVoZchw/wKzxpCruBLTfGMdCqpPfDGLTnQtKGqo4WZlNH0l1kKhKtZuEB07uI+hqMdF3X6kyuHc2BjqmcjpLkSSFX4nGMKagwnl2qZpJaR5+xUGjJimB5T/Jq444g+HTDfUpfPF4QcHSrIPuU4AhrkBj/qSbO8zmMXgLJqaepu15t04s6n0BeaVttvhfnunzqi4deeCj1JyitQxXj0Sn8LkVJBRXdJDLK+hNQpIvXapO2nZRispJASTq4pCE0bpd9KcmCcuwbRnTsSg7OlqAutxQu8BQmIBxOQEdUd3ENVuBoNffzVDq7rVgXtFXWoaMbLFqmwOJCT7bfwaSIK5UXUJtyLYTie2PoaHhDu2o6Bv1JYzAmGE507XAyXUghE8qEWyy0MoAh2lPhinp524SUovJEgeJ1j2nKUWxvkW1FmW1AHrSbLAcdp5Bo/FkniOsiNOndyRnQ4yV+Ci2EbHgOq5XUDESv8AQLdF8gIy5+ajDe9g4vdCFYJo7TJhIf3FoQyPivUU2S8oGQc5eW7zt70X1HN8Lcz/Q09TSDd/TdQKMANcZc16b13PXKFSM5UDDhMOh7TJ65tyk8ATqbSjfnNFpWxVFiXVE3OzGp9AQ80JlV4sqBxS6UKLakXTEguFs1HARejnFu2OlbBNpeSfwFWqI1mTKZXqZs6ZGxP4e8BQsjos5H45moOPhk6Bq036+BM9yLbERwywAksU/yogUXMjo062PpKuZvhf4AfOUcaOojOTC9yZ194R+JEEDCZ2Z2zHOMr7whfXnVa+h0NU+pKgzH/JUusIYrQcLgIuxlNNdOjecnKVSgNFtV5APOYri6wv3ZmiSfduWx/CpO9lxW/+vaER9XMSHrKh26Ycfj/1Pq4GQLX8Mf3KE6EEiq+UxZ/iGNF/T+za7JKUpX43KchwrircJLMFdBpLJPPO34NteEH+o37BZ5M8bivabPMxAqeaBUWjFrCIe5ULbHiBy0bxFsXor61cpWjfnJNRA1WNVdBe70rgBAHi0vvagp2G7cb++50/qR/UnUQC2RPdZqdXS6S/ThSQWPoNG6A7LlGL4qaItROVae7xTAs+UEDCX5z3jLysTzwdDdZbzUbMytbxyf3x0g4h0+lFjcB2D4YWMu4KFfxy7+n9/4/bBBBl6UyJDqzlEV8BfuTZsLcN8S520WyZpjef8bqhDWGvex3m8bKOD9OTuyl4p9e6ku6DE79Gmaq6mPH02hF3Ei1V6cDl2Fc0Xp+ByhFbUx3ou5DQMeR+BzzTtRCo7AS7+ag+eMczgcOT39kZ1WdbduD4W/zUKtrYeQgGotz97F0x11cXWN/8j5QZ/DlWI8knh/jEwCFPPjUvRoXYvTnC0/t0QQ7Vl116QuOA6EkEUmASXmuFc8vq01edNjjnSNK1bgzZU5Xn7IvyY4v9XJfh6HJ4uzPajLpyA0fBdDLzB8lsZEWU1MC+SbBfq4HfCpkDl7fDdVn1IrVrjyYUJ9KlboWp/s/9Za61l33ZLibtFBsXNz6Wcr+wEyU5q4dyjEP2dWEgXRvTp3xQ4vos9Nukrpg2pU/a/5YGYW06+XThMCFx8vN35GMM5yCS9MUALi+o/faS5M8/7v3YS+Su3JI8inGCcxjnaCTaMM/PrM8reyS5io5efSlQG1r00aCIE6UAAoGQSgtzB84QAhkBjBDrOohkta/QDmotsHmzv3qIH/zH45PJtOkERjNimLIjkHRFVjj3vPCQABUgTbQRAmnE92znqSdJzzeAZk6TiYUaRAI3F/QgqwBCqixBS6wwgkgpBwAYbjRwofzxY3vFH6COcixL4Ab28ycAroUEUEz7Y8U5Ohs1cPwIwW+ZmMWR+Ana6wQcttIW2LxMsKctMnJI5NMfbliK3BHNbJjTyDkpBFQbBtdTSa33MBc/aAc35vrakTzGB6nZMjqxQp7ZMdFRCrcI197a7lJzHA6rzyNL2EYlRZs66avYOY4E8b+qZ0PjF3inDIevHgG1APpG6n9F1ROFJvsKhdx7e49qdwHyH0/jNbvubu6z+KRPxTzvesh2n5JD/cGsdKLmGGZm3CLFypYydeWz1ZBBB6sj92dPxvlGk8ReG2mTLiLXLEqdzO4wIJImexOHYkDT2rU+kFqfRfPlqPR2cjL8IRB3KffMHGLa6YxNjwUpmq01usmX29pGJRFF7aUuqn4AyhVx8l80ARj2pYIk9kR9FBiDH+sVpzyckdV2ilnrubFX46p9mPaBfhUbwgFTWj+5+sfrLm+bU26ryS20rWGTJKWepMVNq91+PKCBnwXWMlUx9vYw6kmWFN5os+Nli/+fP5za1xhgNnWdNLZqLlIcSbdGzB2m/sjqoIXph5LaY7JPQWuLlfCiHXy3obibNnI7WmUohG1R6O4Br/8IdfqP4cBc8BH66FLfisx+FKYSRmLbb0poo2qnInqBHYLDN0HrLpttB5pvavb77HHui3OV73PsW6l1u9dcHnHaFOyIw3NClsUPls30Fqd1PToJN8iK5b1nW2A/rRFMTdp8kMWIJKG2Tu0t68kdJ+xhOjG9wOnlxv6hX5W4nhMoQAizRBajRvon+5at9ROw6rS8Bp3Q0GDclTPPki8C89lQAhS5fEortH5oxYo7cD+ttiYqMa6kwTo4g8kjH+9oN57/vjKW1AqX8LtpXoTdtxeKhrLnqQevn2SwxhbBD+UMCNN1lRZuY8PiHi84gH1Kpdt4RZQsreowLvZ5tGF8PsADBuc7uy8HbowQGsIQjbitHZyGDat7c/occ7GLaP0PV6GFXf0xCC7eT2YVOKJ6atb/aV7mI8cHOogykHCnbZ3ZwwbQy0WY29QIbRUWp06S2CVSHZyq4HD4EoOqn7SHrcfCjIyTvobUoWyE7ISAGkRa9Hful/xdCA3nXXcbEdBdqR6Xpr/G0g4uKWmbxVOY5XZRLrk+5JpWbUi2V5WAcC+ticcDOZSoEYIHEGPEls6kVPNyhB/Uy6DC7cBXWq54P3Lluw7Uosblcp5xurRgSVkluKiu3YunrIJ3tZaJucco5gYdGG/UjxR9pZ5851jOQhNrPqyy0TKJTSs/EvudRifV9vLuzB18swW7lPMU9hE7OHgUl2HHQy+XMsN7fOB0ISJ2uumhwKDLhGXd3RSMXcK42BVGb9mekaooIGqQrzULsAltihrTydlHb8+NPH1bd9zHimkNqzHs2QrbVEctl3K7gbRnbgLkoU7gJoEGBYgg7UGLORXT113vlxCwaXYwbKHyDxfPkRKlnGMkmRlM0ydxEw7DxMkV52DFSkp3fAlo4ddHTdsVkVUsCf7GvzXKPz8qHqjwoLhOLXOuYODIOJn7vz4UyCmwSNFRoIkXe1FK7LnQWKz7w6EHWoWVsW+9xklYvrk45i4AsKKbiSv4cIEQNmeXZFAGUKOozPYAYl4puW951LddCp5yrVkf9UESp56zOS8shyCKlkUpe/mCJnwofAfCEnlTb1ah0uytlGrQanLe/qcd55tLC7EVoK6xjV9hfdBoZ4LuGVNwYOux9tpqKdEt52zS/ro0OBVwcriCaIXuEWmRV6ahbVfPzH9iKBxZt73hSCrRXKvLveIwB/2UqXDXuvNOL/UQ1cYSsXBsFpfaG4hJvYe44zj2kOt2cnjk9nj+KiItJA1IELlFNorsQGI4JgKqxX/uSAJOlGgvsu8DJ6xFXzaAbmzxiy5QfjUIs/8HMuCLNN8SHM6SJy6bUtKkwDRsy/Y43WPKwurdBe799qHjqvFslFl/+y4K/hmNZ+YeIUiOIA946sV+Y8q+dXbClbipm22/jYbrzlATTrRjcywAbmOC5n/HCJuPY0XoZllazhRXjJg0glNbkjCXr9ixekLDgzoIGyyrEJaqGiqt8wnrcphiZwVuS3GAErhvvsF19ShLkFlUqBo94nWPZbBSqFWJmMFPZoI9b9pO4qePuMa2QhrQlpWTGXlZ9SS5g4ppngxW8LZHPUxahd7uanHKPtA2jFPE5OOtfAYZPV4GstST55ZaSY9duAigPKqvljVm7YmiQdaW0sgIfDoPslalVedvqKp684ZdFFpTCh6ZIqKO320pdkWQlrZrd+D0e9rpoFe7zsuV+uzWAuzvroBbDOo85E2DbCJFw0Avmkrc/pn64POQh21vZGKgpGhQMCJa/OWFcIbC4OwkfMd+pzwLDEPiJKRGZ0dBIdpAKWebsde5Mlkr6iDKX7uc65Tpbmxc8ab83g+DSWpinxueYOMdXzSp7jQdl9EYiMl90CVFRgKE0+bk1VxCzk7MddeTBmtI2N2lDPDN0V7mi80BULwDKMIlaNYV0BK8pFKO+wv/CSYlJhoepQYXJwSc5rhHOuOG6YucH3cdLEiYa5HqUpG4leCQS7E9w2DuJPYyYKvk38J148gkAOnPO2yioK0IKzUlgBajCjRPnkWieevpiDrY8Wr4TP4SSX8SkkYcJTpaEXihCgVngBSTpt9i4qxQKdaJpAajaAfOOrSxho+ebqmpK/iu5QXg6CJZAjmesVfyVe07yIT8iKcoLLNltXb4FPOTSI2+Jmu3Yz/bw7mpXj4JlhUGBNe1sYbz4GCIenK8G/srlBRBNB65zYhG1flpuK53UwSxrz4kELoY1B6I1IqNoh3duJ6ebGXYyrrZ3p1/Bak+jbokXwaH2oKjOXwVMbF5CpScrI/+OrDWZ8am0+ePPyHK1moGWbT1WLN+OGLZAgnwSgi3t2IJ1zRSZDzfkMc+zT7B1tA98EpmptBl0bOgrPF+Gdyliy5W49WJuXC401V5uayX8CI8tHt1vdOfmsaaKm8fhmmOXwUTkYbQxZ4VKOur6P/07Ipme97nMtzzCUhYkh5lH/gOJtaPfqfpgbcwr310pbPGlqm9OwGuzcTcn2VFG+EpQ96oy1JfJQQX/Xv1RfMCYtnmIuG1HSgb6O6XmmZv9n9+xh/eKwrYzxH0HdDIVxTM5lNbfkQ6NpA5kz4bUJbymrdv+OvjAmlYnuk72GKX3++L2Nwwjhw5S6Uskki9Djh2uBFz8gPEoVL5WR4vpu4DR87hbD3cxnzOTSLZr+FcQSqQbNrs18ZTGvVA/6P/FLxSGsOIWObkFvKqO83j7WEf2Yf0Lky+ntocaAUoNl2hshE5ImhA0TvlYCv6fd917m4UHdpBiTFXDmt5WRQmaedLjkiQubI6f+uRceTXaxPN8fWAYnXIvoO+GT1okflC09jrU4rLKglqipuCB7wi1fZ0kTzlii1TtVtR9sBepFj6yLJiixtrpkYXIbRR4JO7WzMRU4zzTin60gRNVJSGYYK7PZjAB9H6nJZ1eOe2+I2m8jWEPX3ExPEen0TJQHRxt02zT5rHjFl6o9iViV2DDpJ76lOK8PUFjA/wMnkkf2Ef2tdTHljboFVHZJZxthAtjiLd99Sg7qJTixES4pdjnMFIxPiXShz1hmnnswrKRAzuOnLIxP3l0LspACCcaDK+vFRDJpFEY/fiMTsprMQIWHht61XPHBr43ZTcI+T8pvabzjeHmnxY5/gLt8IaD31TBDHld800R0RpmdNBJd9S8k1PDEkLw1YWlWaSBNORcoovrXybAzqBUmxiU//rjqh9ifCPwiNBaUDc2I1n9Now7x8BtBEbhytZpYrGPLJ2ymU0GBxVpcBM3z0xPwovUanEbUm826Sjgm4qVr/MLWEdQSUhpmef+HXbB0yyOYCFfD4UEGYiXMldgxZ2k0kSrsnwPlfqpKZr6iLtfgrLjzBL/3yOYU+G+viOjMfPTBFE4gUAhtcX+Q2iPxK4ySpsj7qL37n96INF4DmwL7md6iGGDHwlD8RyIF4RicWrUsZ9reCBhoegVTmuDypvH6pe5kKN9bxlQ36yBHqt9fPgrj+1ohf97EbEYj++wSknwJrjxFg75hcklPGZvFLkTZrvs9WrJ5vv/d9y2Ecb111T6DDMww906XFoC+7rPDhmlPos50fNESHyUTcukB7plHWe9OBrmFZ5+BCzldYe93opAh0khB7cpEGLzCUHb6pmG5PAxJV8TINi48O9HTUH1TZcXV24YLhct6HoT0pm+IZpREyXZC8Wdc04paVuiwV9mVKfJldYCKfjr3MIL62QubT5c7y6HAODGQsmvatdEIn6T2R/QilRj74ft4/wReFi2Xc/9GMTTb0zTDbkQHmTgKhmNyUMVNgqtewIEsWDcWlWf/gAL2U/Fs8+NiS4hSJq9NfdmIZc0wRTd9MSIAnW0U10t00l8+k9bYUsLXqFoOtjgp2b3TV6m4Y06PYRYLDLO3k+bRG7f6oGektnIlwK8jrZo+aDNHiDLr5wc51AjUlFwI5WMrH7tvz1vMlWvCGJ3d2RNzTOoi0Gv7Yau5ZJtbukDJWWnkje2oRqmghrZVETmW7vZ8m2SjFjX7VFkHpuZGQqLx9CavjykD4ZvGmXLWXFc7jK/YiUsBnc0w+lCvzUdV0KC2Z5iymw9ppIFxUgQSRs01hiwyGGM8NbseAQaSb0Lle5oIzmAZ0n5txGxapW6I8i/hiZ+GCPIAhQ/o4LdcTcbOpIQuTgWpP1TLAnsH0VAQG4QdFKp3zo6hGBf8xW+V5phcHLXD3hCw3npXXxs4Sl4uLBt3ZtMGG4l6GS5JxySKSsssfCG7HuUfMjLlXseS+XuH3fVttb7C/N+bMeXyDC51REXC7Th2NBnOIkFUXls2V8okOJnFFykzFWnkV0b6+jhN9iqWwA5lTwC1k3DuWO9epgMP3WmelFU43ZTTdNyMlupFuWI00xjkyJtBVTBZZhajoFfqJ7IFTbDtEtUkaK6BKWX7JEDq58LoxXw7jNF5PRL9B9f5krk+rU7fGZ6eoJp4/+6D668HewXc+UudsDoGD2W3sy0NawjBk6MgnUhu2mfSoQDTfvYlNo8NKgTOrk2kX+KRI79AzVQNGklkTgTfKt30VpyBUOQntXV8phys3lsjik7A2F9Gegnhi6OG7llI4zLHSReyF/Pasle+qT3Jz/7JBHG0Cc8IpZV6uz4URGy4wGLWbwgR5PylHeaDm4GHHLNmBqaL0BU6XMFm1RfB79EYZ/TmeSi60P6S+3wYlTegbtFR6cdKdtZbmuV3AQKV+Qp2rYX7LS0YjTefNQDCuKyqD/cylao4zYeRyZdFNGlsmYkcHfDohWA5nmIHHeVBlZOyb2pqURrXxJ3WhWTfzjdwnlQ9CVgXhO6JDHY5u1BjAKT1N3xLMnGKpT6HuCbrAKW6qrhkPmRVtDfh50nk+LX6iJwnr+k5yU6npG37jSC8s7rfvGA8Elttpx7HVPsurdDVaSwPqEyFufx7TbQ6cCC/NqK5xvYijwQEbxoesnu1OjfteUKj0h7O8w2UUQs5GzlKG1IagmKKlDxVc3J8ARjSwLKM9KZRYp739c76k33Dji6zBAfsGh+bpxo6Fhb8HeyUVZVJt0/m1b4COPEKSueWRKRSEBbODZWxF4wP4YS1zNJi+CSgv4JSdmPE1R+kd5YKM6qJc7E3JAZRYiMsxRh9TkRhSnFkWcfOH9q5i841AC/8MN8CDahJtWZ5Yemzzb93LfQzr9lqhbVN54V12U96FjoPk5bPFO9wuTxHt/vSLgtV/XjYYKDf7aNHBuRhSfh125K+sl5Q625bFDi0ab9MrPDYyK6IBQfBoqsal2Wl1uUFfiBRZkjkp88Ct0NWhHfs0gO2oIlZ+nJ8pGUnuVMF9+N3+vZ4jqyla2PdvKYvKqbVjTU0b1luKX92z20XQpHepr7Ad7H28X1gyPigcbkrkmQAn6EcpROwsGLzUt2B+E1Fg7dtEpdknn1TxZ2cBkaWY1Scb3tiNQjvDI2UAwj6Kyu/BGelRuYx4FYPCFtU4YYYelhwZU17ViiG0IY4W20Vj8QZYeYq3SeFvcPmRJbWOl3FevGQhYP2eWQMiV3dvHlFt8Tpzz5TrOdBumhPG78czo8HvWeB/GHmoG5bc3AtkhfLDYYJsmKQwKbBbGE9hCwskC0pg13GYhjnW3kQi6IYtHyEMr0IfMFVrUS4mjf2QmYpJRf9r+06hdDlVXC9dnGRi8yitLBHF8osbCCLbmJYXRQyqFJFqjTC0mznzutciWBaw4Rbzm8KXjxQPkHYBV67ppH25JaD5xz1YWbEEKuGrJMbBl/eKF+7DrKhx7oijSeGAsw99h8rbyHMME1bCKoCYM8bE3L1r/fLdzSopH3rFbtCO6sETIeHHlLX2wgzGHuMkL1T4Qt8XBSGbWc7mzQS+E6xShugo5KwWH/l/McoV+tdMsZIj68D6aOEWiUVEu/7TcOB8e/hLxXo8kcL5FEv+pcynVsg3GCqxyu3GRy38w44cVHxBew8Sq216q3Y2NIUwOWJwBD8BLF2nfJsQWZEdWQpNmLsvfDzHDS9f1YtxMN/a0wjH8tFWo2FYuPoQHeGr9wsEDQXgO/zIOJX7jXEfh8G/aPMjBgGE7qbtAg4qfS7anwew52SrnIsN5q8cipHjvGEoVxT4VFfh5CmWhePHEtuObsoz4v5ZYjArgRXgFpItLe3z1z71aKsyrBRRDtIl7Hr6zA9y5frMDV3RmJhTUJy/8hCfrPQExzWnIWjlqZkTsm1rcsd+Bm/7M6uNwbXC6VUY4UV1J1GQX8vWr1CzbsGe7LJsLnTkQwKC2HqAWlbRJ3JT2urWs8lBqcg3LL66xsJh/PAjOtgGgWw0CZcol81hjfeHEI9oWUNUb1YrEgeq7QN4qzFiPL/Dk5YWNpRG/dcmLohiNdJ39mrRQKl3xPC2pk70UvB6wlezNwOftWTpTte95XO1kTMH+ngF6RbPw30B8DmicN8azw3+XgIuakQe5m2k8ZVvFeeHtU5rXgio1XBO1GVq0BK+IKz84p3VCQiTc1aNdcj7zcRqvJdcOxDjY4Dg3qqD5Ie+EWF8AYEHl/N2LPdIiwZyNGlDcKoM77VwprnyRr+jqTPQFn/cHJDLmYs87X9OQWJrQW5zYDelmqG577Qv2EI0xalHawsSQ8dh3+Kttt9oTQJlqbKKCsdndkYfmHD9vW5g1sMdai0GnBabYCWBBM6Q0tLXRQQgGh2mFkHp/awM3ghSNbaXXiwWoCbfGRUdLveWN2ZJ7f8Th3p6+0Ng7hPKfPhFQ6Lliqf5OLx1TaKMr9VCqtZGmeuV5CcqpD2AB6VD8dfZCfHnliFu0BcO1utPaDR3zPvjHIT1H2a5XrGZgpF5D0v64zoasDDqfHmtS8xveQt7zJ1I8wuYsTlsLJz5QUTSrfDNVwaiJtJee0fpiraGTwEtloWsE7P80vhHARhr2Vf11Z/svQpB4onTerTZprOXCxOa59+oPQ3R4aq/RYiBliEZO8zgK6+UlNfOI+b8A/rZWstaytsyN1T8f1SNUmu4rcJlIyhwt/3prTmDql3FpR1C/OQa3YyKNFq0ltExgRGOl/pQ1Wq2g7wzHGu+4AN75KD68LaFnpoqv5+nU+gdeGxtd2VDlYiZQVit8t8PlTmVzp818yinOVOVjt8sGTfL9IhA6yO59vsQmxk4KXLjzezOMywra2jorVQKlsWt5scztHyPdcBBKeXh+5mAfysI9WrT8dUaiSECgmfryBhuNXvrOP3U8GBfT/q594McDTyysyqr11bBTuYTptVd5Eah8tD1H84wjWMJYECFlqE5lRS+Bkvn7Ps/a4YNRBvJ9SC/8DbfgRHwnROpXt56IS/EjWfAAJm+f4GfiilMiGqg+kTzHfrST9ECYzTzL21j2zoOwhi1V5Nq899ubJKQfgdkEtuTFUyxhLxbIq1Tc9l8P0eUBsi0lGqP5s1Jkpd/Ut5QH+0Rhu2eBjKNeRWezwi+uXGk09nZfq81Tq2wPFNzVC6uFoyX07RiB5Vn/GTfT5PGGDZkNrjETXQ/79Tttxtsi1AHBXHLs0SDzD8itTlb89YmTobLwY6YEGaw2d+VF5um9Fxea3Ee5Je9Bv8nXpDPmPvSH36ZaPcYx57RJxSGW0XEbJ9l1annMPDg2KpudwrqvfUo3CfvpTseKyXjWNmy6+tV0y/l1Ryvi0a9pT4aVvPpJYMOcsx90cpr3nT4Q5lXLuT/KDRJDhLValEdbRgBaG7IUl1LlKKL2CY1z+7UsV2T8XrhDaKtUCAfpserndPqIL787P/hJPxL8KxOqIw/LLpoZhlqurGV/5o6m7RUlA8EB/PGPh0kNJkJweYXFs1wHIAhNAJ8toQGLkdUf5Rso+uAYcbsUnPhMYNltKSI+Qt2H75Fbr9kPZKHANCgv8MDVSU1IEyzJRJRLXwjp5r1naRpCT7dV1JhvrtOUJsunKZodZ1bbCjdbR6nwrcuaOetXGOqKjXal0kE1DYeCpnkT8IgMSEFSIEhoxcm5MtCdxJOWvih/TnPeW9+LBMxxUO86IGoo+zVR4QB9dYgasXMG9ruw5JrXWwvpfh1BFc1feR8mCTBEd3azdfl8IJz4LftAyvdQdLUij2fbUEnFS3Zyp9OsKJ/SSwhuRJwDG+SuoDywEaClJbnsklPeN1Az+kaIgi78cQUXRkpER4tDaQ+VaxEWd7H+3AQE28K8QSW6qMmoC19ducnHrm4EnWdnYISTp/Ub1iKH2qi1EsWAoZDGbzXAAMbNFACG4DoZ2ZKz32EeQ3CHzFXJyx2xPGixey8AZJzsRYNQT911f+A+eKII6HJpjgBV78Umi33xXWMUDykvXMqTzgF/jc1CWywC3Cd5csVMCM56W8TE5V+6JloYabDwYAddrskCahZMDlVzSrF3bSBLT0kB6KLRDAs3Fb/dnt/IXdKpVdZ3+REOtk4wG+MCjZgjarHjiZauYjE7Y8VazeC08v3a7d/rR4Aa9Umrc6afF5I4I6UT9Okc5FzNqCPHT34UTyzuiwfBSDkjcRg7G35Clu/JUZ40LQU4haEWN7zqPmge0pd9+Xl+vdmhNDcKdtJcqeDr149HzBxC2pcF6P7KzgUCnEPzwGHABtQ9w0YbS8/cyZxyuK0KIqCZRxkKkGtKQIsoPU7JK8O6c4brmk/SY4dW4x7nl0FKiNV89RhyG2EyVSwz8FW90FCYi8/YXHW8nsp9zJcpH3ihG/hTo/wqX/dR7mIX+qYWy8iIp74/x17D98HgLtaUywPfn/fipqFdg8aquTTvKaHjLVhYIKlAicFiGvK6ovBOCjS5gF39qE5PJkZEawqGTSRJS7X2ugowj9umo3UwUtU4hUYd2ZOxUzs74GTfsEmLE/F3zep6xrdgLWU5wud2iAgUWgaWVOJhGQqFB7qo9pTCIw+1/EVgqe+0Jf8pNHO8Q0bAmrU+8pSp9FJpiWKDwbVkUbDbGf803w11xbmGsZ6tl/oi4K7SvxbrWBwny5or2J4DMDFzfdkqaYoPIat/SlelkwNOColV3fmmeld93VkVbS3K+iubBqpyCnC7fUnTk5c/gqk21fzm0GGBzBU+PEnlmbKhEAbBzndJObHp3OvPv1sCwCRVC1WZge6NC9crUbCC+ZjKKIS1TIELU5sGpKmP6RunnhZipksy3VTTpNI55VXPly0uxMkTs2YDSmdudEc2g1vwam9If2uv7jS+D1+uOpiR7Z04qS++Pd5c4Hlll4+irlUPtxiGVRC1ZpXPfse0XfV0lzjrybw9NrNKUugz+951sDCGa8wc2p2h+k7sBGs+BlRExlHs4mNRc0hFkWx42fl3A6YX4P5fnmRjqV2YVYgof42fK7VWvsFsbcx4P9CofXsFPbqP6oZLZk60JkY80vTUy1zlqC1XQALs8pDHtwwZWMGyQjIXvz9Y9ZBsz2awmfYmgm0ba8S0zQ5WA4b8zWnIPSvVSSkJn/gPQRzSUOmykNX3Zh3M1h+iyFNL9GKCOREAt6iUeOZkRW3vWP7+9hO68Z0btEFe7Hnt1a3M8/dpovbpqCVOzwK1qsgQL6Lbxafuz7gmn8PK3Xav9SmLvT2WIRZjE8sTesP1P6XPpthE7ZqmXw8a11KogdSY9JFk7KNzDp3rU2vvqDAw0Z1EKEqOf4jYYGky6eDqjQvabdGG9CXEHxzvPKwqLXwP0iLKO+6MgQeYRvsnA6+DMYn3aTKXM/mLCQIXOiDMPCZTNnxsq+k0o7Zux2Z6fMn/lNPnmXxzjJu4j/9j0WVu/0J1NW23/ktEmW3FKsDEVVWy7DDHk1uk+S/tikK20UslfwGid+kWmHUfm2EdCZYApxUat6HutLKeAdSPSF5VLDI/qfBh8ovBlSuhF33U6qceb4N5rnK3QLk4MlndF0kcXRubIOTWBxrDD5fVmIqNeBLTBZGvlbnDHH+sA6C/SATdyXz1LHnq+iMGMtjIOn0p3k5+afcwgXHFhEudTeHKgEGMaBPp2iDpcBGl6sSCnlZGWpST3OtqDjHUR+nS2GX/IX33rkjOCKtDwxAkEwfANxLdeCfTSbNJVO4ZmpP7oUqGWzqmrlGKSQABZKqp4q9L1f6shPK7n/742gRnVKg9ArGVgXUE/JSlpztgvWPNtI3aHRvMaTuuFZ2/AR0hK700XOaxkRaNLQaaZ6p2kD0caxVTSrdUcxvjWA81y4UovLmrUPleRKnMZwXWTYb3W8hJZ4yXr2ewEGlLXsF/aAJwFW+JmyjyZFXaxkve2f4rusPUUlgVV775dJoJXS5aK/19trJMNNFGun9ikKYK8ZwbuM/pTlFHSZHv2btFmfKNi7k08ivpyWjL3QGhXom9rk/iQBVxPjRgy1jf4VHwOET1ak+Qc4OYu8uB4p+w23tzPtDKOCaTVmYhRAfhO6/KNB1+PN/E1RH58Mf7V9g9vV6Y0PcE/P4AiEtLoQkWJ2YUNErCRJjdJdU73obWFNmNnLQCrM5wBeAFmiO3Ai59o2NNl/kD7O3BVb9j7dPCAddjo9u2u+E4Q2hmKhtJ8QuEB3txEmVz0Ycd8jfEkLYITud/6j/5pxifpwbe72Jgn52hwtw9+Z6FDOsrZmHoHHPGbSMZahCMzBSwRqSGz+4TkaZkrfTW0Nc+XSy/az8OAoALPIgw1A9h/IvhUEQ2YDzeAH7tO8EXrVvS+7gkNa+heUEbkX7eh7BmMAXU1rfFPpzVyz4Uj01AYPUGZuwzQYTQbz/m37Qw2CFzkJG/Xq0KVYgFxpjDu6H54a1Pknc/T4VjpiGxo8u9tZqGOp22usLvEbJZNI2TIPS+sXbiJzM1/UrwYQHpO7P+rRgv/nq49NnB/3jzOjpySBi1tNL7o2Ct+v2Zt75DUoRvePd9Lv0JOzElZfCO7EkDUrvadVmLZ53EY7CLz0y1KReMY6jNUWVUUDXHB+Tfx9PfPg0TGa30AvkHkxVWroJEkr50MT9cCgqiQkcsMf/ApLivGk/crtBucIu5GpXm0xl65NbhQLvxR1SB5nVGgFvJKzNicHl+QgtGjouNnX2/xTYSMgRknVQpSwF8rvQ0khpMs8AA3HhqfzNKeT5fWwz9rFfkKjjRO/ONdM7T2y+X9hcbTEwWEdTWp1cpSI/s+mgevChjaQ8aWjli/wVK9vkjUOZnGTLauUUo2IPKTL4ngjrR2dKIFJPdC4/u8Wm12oJW4kZ92G3f50ZOWJkaAHz3fXX6+wtxyey9yMkRxq2MpKVgi4f52eLGSLW8oYASLrb+vNEvh+roVqk8nJoCZ7y41RT6KN35pGGCxxZ44SDTsQ+qQZAv8zFYC7QDMgENFEmxJFE3JnWetrmmBPoI0ABDRqlubLf7GffvBBJBYzK2u5kltxxiylvVjMbl423jd8svuYJeU15guFJX4aCfDOqO/xk+5m3pAZF2EYFXnv+FFtpFKC7KuxXOpIjzgLrf49J4C7ScdbTeZk/7f1KOizomXI8NfpTAPax5RXcE0VAgcZzTIBEbNdL6cEN2hfVgRmZukvOoBTR0tJJJXRxedmZC+HLAxsK1bLEQXreoYMIRtS4bXyANrUcudKK3FlvzaClL3PNfjav7afqxCNfm7R8KiDKqFLZJtnwRZhyFSxnedqvbPN+H7WTRIqpX59zvUrLTCOdsP3w11i8kTa/9Wn4qn7v94T2rQCUCQH/Eu/t4H4NtfrVIosHgwba7400VCubp23WK72LRcDx9CrRlximwiFf0M2oXoEG2UM6nRnER8lwVKKxZpU9E8NZhdTc01eXzLBvGIz+gcSrEh0qarMSVw0rYb4UBi7Bx5zQ2NEJJfsKtI4WlJBrTJvxJTjeWRwcj6dIGb7GBPEWdPllNVu6lp9bnKRIxhoX40wLv3knNFfP2UhRhq2OMWaHDVTKrAOMjDN3PvUR9IJfVjvD3ENYidp1v92LS//aaha3+wgS4cu61HlnBfeOmKZvs6vTsNALiN0cYhkHMcr55ix6xo4ITJ+SE1ua89GhcvZc+tNZHktcg4Grs3two46Bf9Uz0prwl1eNflo+1wsWtepO9PouFdsG6w27gVVdKb4cQzVenSneCrZRzcWabffKgzMfDxR+Ih6qxbqdgGXBn+PqkiD0hjjCwxYKfYO3sgm4/rlQUlbgw454zwk+ZWVSQJ4JKl4OtVaqhgeoIXC/tFT66EIYpNJNpSCM/L/xzDt6g8zZpofipdcT37RS3XKXUqvvrB2YFyjvoWksRS8+GZZvgMGJIYRZP3Vjc4Q+I15iqVxLXhzu4u6p1YTIZCPYQaKbgOp2VQA+T32vgPhmtH82mIAjuYqKrPixpZuKohyPMsMX6++lzn5gxXYGUPAvjbpOKjUNt2AO9aaNzGnrVQsJ4JRfuV/x/vNPEm7pFbEGZMOMJ0Tj20uu4Jga9DQSwnyOgh7XM3bPCvV50iLcW7Xodcido/GnR5SiHoiHgxSsXpXmqSzIgbf+0PCn+8qWZUg4SQzfb5QnHdNFK2eXH8F81f9fHGQKbiFh/GUKUEzj4qUClrIvd+iYGvRLYm6/0cl4OtKs3vQrlZqlvzPVMekgWmqU8CvT7+DkO0WshzJhb4GSLu8I0XIEZzoAom318EcO/nY/D7zDKNCOacTdF/uoX/djNckmSaHPee393ofb0KMunc37pWVD2Gs41kAHQ3GSDAn0aNtRxvFzMv+EWJkmWLJQbRT9itMP4IG8YW+B9YD6uYDJF/64wUg7P4nQSy88sXQBAy4ce/evk1HuVgECCrtS6ESgPZy304hOmBjqWp9cvTkWTc502D03yKjlgPcwgliHj3WXHBCEZlaKs3Ag321gDv1NGEPD/rFpbEbL1ImPOumGMz3qhpbD5Wvi9rfYZQT4/jTF4pcZNjazNSTDrgE6AdjCevmE98vhjyvLb3UuqMm8nBTPVPRRiMfrX7R2dac+xKwazfnIyP/A+n14aU2/0C+UiUsHgwuu1nTwukwSpuy4ARgw/ox5AZHKmz8AI2SNDEo0fIWvkJdvf3/+H73k2ieEAJDoMRToxhS6ly6yvaqijz12cLqkL2aU02wEGCX8T06DsywcMoxY2bzGaajpwZyrfiWWyu9H7nG1EQ3HqoPQve5ZH3DFnlfCT1fkOy+h4uXV2oXX7XPO6CgJejAByBKxLvcsW5zI0rQI4RH7hKq9uBaFk1xZDg+p6tlTMzztRc5RIhlwNniIUUeSs6tUd5fmzBEB1q2QkSXUYjDN91iQGVFL4vEz5/wXwyDVQFK3+T4oZ8vos7JJe+vt1GMYM+nRaIUv+5B1650vgQ5GXuu+dP70pwzlz5qmiAZo5/ri8iEPNqoW5Avziiq/uWRzOKwx504feEGQv0GiHFLhweyI7ht4eKAaKRff5Pv1Eofw7CLEUoBsBURNHm28cyXC0F7LrUYvbhFiYDHl+SEUJCoC42c+ybfL/hP4z4B8rWHPVr+98ZZLujNq+tnqwZDM4wRsoM7U85lmPFOjnkBVw77LTx3cAvfe6j6CDX25umIZ06+4jhuIu3mkmg3un00V9VOeKQhJEeYO+XJY4x+LPQCc7MkQJQm9g0SIktI0L95zxWX0PJRHoPNgvQ+SQXwHL80fXwZkLoQoBu92zEFHc6z69j8lqN+b0GhBdBEmea1SrB/yrDO0YHSUGQCkCzuglyhPrXxaySaYuAFHN6z5QPYr4RAs3hPmb/4TxIJ4E4zgkPrazXeOhC0vx8sio+Zwc9iYNakfOlEyB55tih3RIZBvmSARTb4Z4y67M6eKtcYn5xfU3SBo3JWPE6fgHKOYpEo4sDmhzVCZABLWcV90XxE9b/faapHVh+IGJKiMHAbJdbWfmPXouSe1J9074hgliJZzBZ/DaXVAqYy+N0YJ581EZ9QuxdOUJ7xSRM1Q7+04UCZayHdQuR0BED90rnCFPN+LGBMXYKhHwGvJFH0Gu7Aql4MY5h+wPCiWVXii11WqkB5QIamaWBPHdqK1HxLobZEzL2CDnaQSu8/ifGipz3ynTcjNnQpgPHkSHbfWBb4ecaDcmgv/OPRPIeV9FuB8w5LenC8AEjIc8JRpSPfZ9L4ja1oEdNiTA8YE9BhcJ6oxGUWjsVqR6I82jUh/iKxsGQpN0xuhal71OHexssxJhc4UGVjVoeVO5fFq/JMBpiGBQTeojOjci3ZCqgWGyG++5dLAYUL4pGriQHyDtjWOieGP/Aph0KoYBUjBalwI9JmW5VrE9qbNOUxnh8UkyEqwQf/BJUP/n6j0nuodJ8bGMAtjnQBVNXGuB0u+lgrCaKqBNlMjkH9JW+T+QfmNk+aOJUCL2/lTia1buXGwTGAbX28cZVwABKUm8By3dfrFdaBj/8jOfDEDuCVsi52Cupxb0ten9KGVqSpclo3mwc9649WnYd44VGFOyxHwlSmbUQCdM5hymEYl+lQny9kHFcBruKF8bawgDChj4vD+TRHXKXJbE7s7vMv1P103H5MiBIuC6naKstR59DNMd1J+8hUtg7SH9OQTlLIHRk1OZKqu9os/uNBnZ88YfFmMHKHNxViqvhwN+yKPPKLhkfS2aoHbxdipcHjOc8W3xkFT+5jYW//ipIg2suaqVWA9f6I5k0xH4kIUrVfNs5aBx7HUnJMFX+lagPm+UiuStdQIaqv/HJJ/oNgGbqzoVT9bsOsxOMsVaqZ3MsJ4v06S4j5/lpIiZoLUO0RZ943yNcsNHfrPPFGuaCgX3ZGjZVVIZDMNYE/gKXLCCi4BXoksKdU8pfANNaf1UZQLbNYiVbk7cipKg1F9NZwxpxXQInnd1kmdo27spWtHNH6OO1v+dPtGsr6eIxlmIYPV9EWuD/IV6sRag081js6U47Zi9geQ2eTJBN/pDKg0MrfUwQThKRf17W5bf2Qwy/jAhDkQyxddIbLVHQrYjkbWrXT3n+QsU5kO07+w9pLh3VQhXnWwKBH/TDfnaT7nC930VzOuDTQj+iUga8TGjbM7O2ZMRh4iEPbxuAlWd0bRt5VG8hHk7og73OcY34Pi1ZxUXYfyLDF6uWLxARDuybBuGenUUSQAwxRSqslRxxxNEIPAsXF62zwdiyWz61rF6OSRp7baU5kM7zoXBEOpVzV6Vx3zcxFNyI9LV7mAlUPak53pYld7j7gKFwUEi20xdwnekjm0MgPAGdA6KTG4n4Irb2W+s/+qxGijut3uPMxsP0tCul7/N1vI5CSWTgNCF274nkOHaMssezhFZgBIrOS/FIasmvj+jjeIDNe2yEtXIu/R450krSsfJDDMZ9R9n4WCi9Yy9fNkLKlAJggndjG7e1T+fIfOefCzxY6DwlCZXcIEWWYHcyrDoe2nMzY/MuTRYg58BR/WuLY16OVsff7MbAGx3jBaAFG9r4VUMITfXBgGxsGA7TiDZcazZaSVz8Q9XOTAyEShvcxug/KKwadxabxQ9yEn/zzCC1Udp0VLLg0a5wAG9nPFG/zzg+edoe8E+mWsgKK3EjUqCYip8TaHI/6Z6EzyK2xsfgCw2T/iO6RTmk3ePM6Khy6VL+ga22EmWyrf6bm6k3ccbIFdKNLgjk2kR7RLoKoJuvE3UL4K9D3YbeKhUP6D3GqtNG5mYsJXNrmYLA5TFY31I8JTK6H/aGSTrsFTD5FZuHAmn6qKVdrGdnEyb/RkOxdpCE/1vvXXU6qzTrZAQU/uHD/MScllDy7BvCNeSNxqnqbCfGIQNAyQMsoZ2OS9V5kI3CIQ/2glPgD8ZcxThTx6JTiIA2YkMH4wfBbs2Y+6L0D0lO/KUCjVY+11AYsxB7vfdIQxTlKVhF+Dj7DnIzEXQhTcTOAKc3DeIIJoIDBAI9w6M6nzguA0obF7gO/TneBtdHsH1oh4msefy38LlZSkbDpLhgWh5njSJU6Nqt8NWqQJXMGrZF4mjTso+it1q64llX2XFRrCQOpEzhq/gnP64LI8kxO6QFW+BSCZzVy4jqiF/u2fgALeO5hJEIK9k5n9Qwd3jefiy4EoX8jDtEgaHolveNpN67rH4wbIoY48ljUlgyUXsVusFAxOEVczZ9tMeixzeZEwxl19SSu03a62/RdH5kCnKzJBwQIqy9fR46bnGR+/SK+hHXQ+dOqz6FQuk3pN2TGGX032rdVWlJ7B/7tPcIezUbrExg2Wk27jiIbyf/Mj70E0Tg50PllSLaicUNq4PjGJztndSuJXVyED4MhlTCibWgRQ5lXkEBk+zoQJv1Cw0EhsAsykeRAxjsnHywR3y/WxK6XRLpvld45XJKLRlpGtOFbbVDVKwI/sQuwqkWbFgPo8DCfa5/5N6iTIrvCNMR1KN9RRuKcTpLpTRd9HgSxxY36DBhFv2RcPmFM/lRenBMF8JDLX6CTemDaGZZM7mbYqhOtVx9vfa+LarjDs2P7iX/oQJsMKNUEQQ6GXt7bWI50+rqwvZB6Z8m/Llo6sB8dtuUoh/bMhfVCpVFDQvIe9HkFGteGR8I2mhM486wK5JwHQvh5B56To2MWQfFiofNgLwm4iUIZ23eRfPShnYKuDfvZ8vc9Z01sTPT7dofGWRVaEqjnbfE4/zdVocU97IFt/78FXu7ve1/1kLgPhWB7kDssSCiF73+Htn7l57z+gFtFxWdzbugemwZIExDZJlHzdcd3ZajLL96uyTItk8xNlpfJbQELMLA1IJcULqbHhTgnvaTF7UeNFkV12kpnb7PR1pp5ZIyeNz95hV+owpcxy2/WcdMf61xzhPr93Pw4tU/p4rXuCa+9bGdnjsGg0yqMG1Olh0Tjq6VxdT/BygkVme/z2J5wIG+nIMzB2zyGsk5IHL6lrlXQGfyF4kJPzj/uqbVea2xe5ZbZrJD6HU/K//GuPg2yB6LbT04zZikvGJDEmn9CBB2Fpw1cazLvKPFyKkMFjtykeBeS1WrWaBaiN0bGSG3dZOmb9R+UIm546x1hsY3+AdZmAqjBwxzA6evtkoanB5uWGwOL2HPMQGPR0T5q+ZJmHs6sp+6NZvlIiqmJGVNBfcyse0dUGsxrES66G32Ipa7saSeBjzG2WeJtmHMfLHX932ynFYfKimqiogaNjxKGGbwabiTbTGJ+l3vJyPuXKubVI5LaWIqpFhyMZYgpCg+bnS6dT8ALsuwCS8NK4DFeluVXGT8x30EwBcKaWWgweTBgNqVFOMlhU0k+kJwnEn12WSumV9Dmij4M9VeLKx4BIcroRwm/k9TNV3uHoU2C0aKA+0M+zqkgczrAdMk9Kb+j4ZJOueqF7r4SeWAIKr2ZKZ0O+kGht7Jbs3pivu2j3yVH1/gnbrYe3AIyQk89iCTwfv+tvL/9FNaBsMkaiHsVi/JyJ+hhY5nZ61Enli03z+tPdp691JOm/33OHV0JNMU5CcpNEVAgIdk9lD3QsOI2GxhFHu9uRAZ1WIlf3nNiRlstDJ7bghe8ykwEWLhMwE7vhRYw8HWjHKGXAigGJge+q6YAwwy1aY6ExJWWK6JXot0KP6TWT3k/QhDOmkMRow0CLXCWFy2e9Tjl0qoZ2TY6VYXFhVXeZzurRx4+8tTaHJ1yUnilGMaFENAodqLNInqb7Dntwav5ea8/dbVVW+btkTQPDboOqcDQlVHpNsBA6AQqcJ5m6IffrKVs83c4CV8ot5BmZdN0h1O9SXHoU+N6/5juSSVBVynj0iEV436/FABdokPflayP0UO56rAyBlL9VP9ZoYrZ0msWkGBut9tT2jXGM+L5hWdSLd06TX8VeAeD1ILPaMRE64emmxv8kvmIyIAa/vH1DdKH9FlePdZ+D7lamY32puR7BSxyvcZwR1VLUkThuPoaAuP+c5UcIRCNYQijrGFWoyhR1W1K1GmSjqZvEWWBHgP8Wfxyo40vvcWBIAlOsoouUAYKCulvTH199SFGhW7fTd8Po2hUPRYV3aAB4AqpH/xS4KM4oG+rQ1HoVzMQWRJaZXm3EFyd+gXlpfSWT2kKszsfEpYDhZZc9nZFwAYUFuDIkeSDAEqyDQpi8RyQaXbSOI4kptKj7sEkYDBcUrabyEdtblUv5j7ScFwxpvTyMvTWA2CiBU7Ro/NML59jpN9YpOj2oFSoWzZjNare5cWMgddGM998JCpyZZKgzmat97eYPnfqUfLj3oJySlcYqjm40o3UjSjynOQiTBYUSveG0gR4XieXg67pMwJHqm0F6ApDCoItAkYhxiaQceL0kiSIwEhHkQrlhV1AshGVwITOFpsfo1xuf7eCkaEfL7k45aVm5SlSXLyTrFt+d4/sE1uyWPX617cU4lC6eNehiX9KR6n0gHc441MF+stz0uDMHl0ycaiX3z957OU85I1haw+7SzEn4DGd8pswMGxf3pwRURPsDzFbAiP08QryigoaU5A4cAwBZKew5u+X39DcVd5ufFYr1aNJNNx1Xs7pTrXRRnAxoFEEQeyEQYD8mo5A/MG1FvTPa4Ud5Y8AACGkmzZd1+AUV5PqTIBWN4yN54HyLA0qnqL0AvL3BxR15CNlZxxjwo/ngK+iuzLf1wFQLc0CACxx9kldxuEwBv4+ujhFWL46gPgzZniBErKpl3+VpZEP3tPLjreWCPSgzU3KLjzOuZNc+RgJeEeWVWXz0MixK3OOxwtP25ZEX2mq2Ivi3pwAckUG8J0bX1AKwxoThv65EU/2KI0aoJz8SjM6BFzDTJQbPHXhXqUwNfiyDCbl5TLjHIXUhGW/P8/+7zKevNllPkPdvZFzjHutkXnUss0sZM5QioaQv6WSeG9R5WXosymQyc/TO2UXUr3GHGjuClb4NO582uoyoY+x8Q9m3PBDOAY2sLwqQantQWf8v3p0xFRermR2K2arXsfT7tnQubTiKHwYo+y3uTDln2NhsLYnIJfJ7MOadNllCUMJmupeS5GB2cdW5tHJNnewiD4ldr4jSdbqe2T4qSpxTkXAqrV6jdSc2n4cFKrO9rx3tVPMxrkwHWaV8FxMhJ3C9+hGJWPkjjQcWhK+Y8AJwGv4xv7A4oEOyfWWEwsnN5q+7MbGsVjnIJ4pCY+DJpTiGja6HKsSa5SUSXM+duWnBCpA3wAdYXarg/OLGr77wvJT7Jt/uwoC/cLtXgo7p9EyS6o9OnC0ouwLn2lQsYXD88hdVdFr24Qj/LRECWMPRNbwezmi/2wVVHJcssOTsFTX8C5JI5TFU8Z6aGHpuRWOrXqd36MwvNuKG3u5Ym5MMmCpVcaGbpmpE83IpD1NvcxJgzrjVti0yIntpMPkD+pmIbQKIFQ5xUOVT8+D+0L7eQJveIJsdzuedhwKNPWRWAuiJcOXSvKOE2ncWTSFt1/AVB4KeuVa8f9HspQE065Ir85UNBxy9yYa5Alg7FBmItHX8aLVDRktrZlOeJHAWV19e4ewGH+wp3gw7Jvz3SjLVgYcxK6c8V8wiYVpOh6fw1wGk2Zul/WTAavne/5m/gOTv7s3kGzKPcXG9qbjLXEhQjJNeYb/RQz1KRDsOYHb1bbvsdNf2hh72cigxb+sMje6316UOmrWJfqR/hmpVDvbR4Wpq+EkErYG4/wabOcDz8E/JzGExYXHe0V6qcm7/ODGX5GdBNZK7lOjjgqksRhLxi+9+KWlI92WizYsNr7D2QquVoWrahHY5gg6vqsZjzhHaTT4M0nezk3UjxS32ASO2l/ExhNss38+tq0GbGKO5LZ/cN0d84ogDIJ/LkRVGmYJJ2DL6Kx6M5ibXsh7I+aRiWMdf+G1YGN0Cy7brEo8TK7ImpSqB0SHs5r/hYCyjv0kasfgtWDSlD+8BOlEjYWAgaRCZXEBGKX4pWzp5D1A5jK4/3jhmNLJIOiFnUZiKtJwqSArVkBReZCwXAzBkqRccfqzlj4g1ygzwQwMRqFKtAw12OxVnm5gpbW+V/J8yGQd+QAdIct7h+mpjgUFpWtkpY4ur72oPyBQ7KhkX9p80gOyGrlE7zN6LcL2PS0EZcE9DkpY6cfbRnXL+4pMdhLQv0TrTlmLZw8Tdhxrrp253mZiwfcG1uH3LnTLRS6vuu1b6k/LO0HE8EvWWxHc4FZ+9Q1xJbe6uJz7uEIxsD7WDqow03gxS5/LARIPg6Abq4j6PyNL1QUfEm15UXSSB1J9U/g2MmIvojSEG1WcquFNyI9Ibtl6cTx/lTU70mwdhXxSFAbSEmOuifHJh/QxeHGegYA5Nh93aiHCwvYNrw3ZAhbC5qB2Qa7PY374ZNODsKIc8zBxqimqJeLibIKkmI5Hw75TaxpHiyu4KgJCCJQpeQldGXmEeOpKW5PMXa3NJ5/eUZVPNh58MLNSZLaE8fXVjX5p2gEf6o6oUKtHjzItfnzCRXg6nG0QtdinpLyQ6COvR3xttbkOJjpYAAoBNkbUnHd0mP1qLto1HoZqbTB9C2qwLC0ZcM51NPIo1CCbTW4y22nmAE7IJkG/g/bAoPCzO8ztNCZvuo+4KyPG89v+s1ANNr1SeDFboj7EHgqUNxc/T5iBX2vWwkVb+x6eTEMqLjEktBmu1B2T7Q8DOBmlToG2laG9+jL4ocCS2qk5/4bUxd2nuU0Sb6EWSEpYqKW8sLquHn201/orqPlbgNs+junKZpBuMiJVIGA1SIB/03roy5qC2U5j20DlUIBT74aYLHNM2m4hV3PYToh0qsBxQnUBM+5vIcR7ED5EskCptbG+IrdRenotVMoSKI2H+9ltE4gnYeMAsnZ3uiwQ9wevMW6PgF05PpmKcDKNAb6gQJj2SXW5hQ/TrYumzxtd6ulynyNRP3VRqRLQ01pB88swfj0K9MjSPYQF6S61jW+feNHS8s7g9F059nqP7UELuA1uleoP4DeICuNbrvoY0Fg7rqHTqHjRvQc6GqxFJa1vwSJcXwpGTSrUucVENRUM9EviHk22IU9MVPDAWhLuOb++BRexjwBMPZhdueZd1SfxsMpgLwva00vun7ljdIslTjBrXL3+j9BKZnapCQLcvbHd6HHTz2Bo4oBN3hbYSMfSo9PlN1Uv2Jhjvl4usLHLkDSgoYrpWHfb4YJR21D1dfD+FhnJ8ZLnbngb+ocH9clooxNu10RsXzmOKMYlJ3vM1LT5I4rjznsBb/KDpLNvS2PM2Zu6b6GgA+fHcfJxPt4zZbtXKyTQLsyuphbz9D4oC1g9s+v5XZfx2+JZVKv6L+vyTQdupSTHTMYVbljvQpYz6pc2bJpCLNSOO6wf4RgeElIim/0fFUbiBKqPyKrUTcC9zKxT7x+DvDsKvhe0k0/jXY6scQeVgX7a34T7xPlqUekkCk6TOfwEwCYAvNINcHcFW+SgCpveSKh+ho1b4vZzO66UKGQjOpTbinQSMWUreQMWxI7KJQvpI4NN1pe+fF1bbH0R2+Kg+xS6b52MXKkoCrUvSOZeiDfbaJLPCZScu872tMLqo7QPd/cHf9rkcd6t46xLKrqPp+Ivw/rmo8YhauSqfnKe0CLnNO9Krimdw6Pq1z4VUpX0V4UwUo7d4DexfMr9/qKX9W7ZB2suQd0Vx4L27RWTNrMOLDnhPoDaYmEyVS3KUNpXilCSrU9vOZsYKOYXU6Do9S+dhwtIudpMRJnaLwJ+bkIU9DZppWSh8WEehcnyuj4NWOi03bS5ECluoMryBbcfXwOKj5BSGGoT13HlpvVpeBYQmjE/F9EtAeM1z6RB6zoOgH9P80EPB9WdAjzs2vc5cUVEtAcjxGkklPm9dGmmc4YffUfr6HYtw0OOxsvJthqqPNjIKpTHq+h7MUBuSjYoBfOaliAUQVTgYkyFpDVgmrb7Lu9UgfjxD5+PhzkHfxFl2CyIZ6B1wSKdEaxk1nh4VVsK9BmmcooD87jBscutE3guHNYmhmMr0T9SoOE/ERZdf8u3RnjY+GrOnSCOKU7mkUsa5hb6rPXjZzGjhTLinQj1kkc8Cp1xfQMObUe1crnlNxKKsQ5J9AkrKdl0Eu9Hyk2DW6dykQGIWutz5Yio4fZiQg4SWXWHoc6xMtaVir4luQ4yW7hLnLFYHDjF/YgtP1XzO74m2swleicy3b3ZtQv1TD2MpD1fBWL/IFeZxYazDaj8GibKkPb8MpNZk3uWt+UvhfUSrDrKW96obAipUajHXQif8rOFjF4hj/y932Nd1NwUDsKwK8KLcgZY+09zzRKRq/qj+Q48sc0jxJvcD7qBmkZ/pTl6IAUfLtfuKGqdzgVcd5GPeGiEtR3zDw7vybJMtDjxGCexAvPhn3KWePvWEcdyOTdEzRgUc+zAfF27gnFAonvIYrmh04JW1/lVXcxxdr2gfjx8B6hgkn6GcyL11wU57R0k396m9kPMEFOztMdWMU4g7CmzqTmpGNSsk57ey0iIG3Ykks+uareAOYzUPsrenbkBQvuRd3hBiFw421YVuhkudqsmE+CvrZcnIEmC933Kd+DBcGbxyrs2fFlXF3SkVlyIdb6bceMOnN5Rq6rEwJNxePH/qxKIATB3ZIv4wFzoJPHQQZsJ8U64qMbbZ3VMBZWVrLsvi/IwjnFHcU5lY/ZG5FvaXJvRzWyJXRKgNWgjkMnydu1RhvvAmVvgqlO4jxongjjyqCGM5+ajMgMrjVButJX0ssU6SzqvXrqWDixmiqDd+z0U14NL0wc3fh3ArB/5nmM81E5eFtKhxzNffWH88mzvlIvslO/tyn5oMHtD/lWpzkBicxsLo1CV/X9+ckbg+IZOahdoEB6p1LMPBI7sJEMIIz2itNWMktaf9wUPiXFr8u+Y/n+puWDRMmeGdtz9uPO4zvvtgtp0h/bvhjgYnLUXlNRFwNvuXiFnxpiD9GAFzUnEyDuwEhU+XIvDr09Z6e2droH/yJSOceJ4YTu+0GMJK3K/Cx3BkxvWsQCczZzWl4jVz9ehSWp4zciVc4sHrf1DJGuGyhPrVOrbRYZQkgU4oxB+awPBn+IzQW0bdmKDNGIUODLd8bOPsv6o/X1kiF8UsOrktJDsKRODuygTBL3YTnQ/TGWpI8eR9M6O6unYiXmh3/sLUl5my9x6eUfp9+frGBnFFKNBY5PD5jR9GSxY3uPBgQ3Eqa+1OVbPZfyueNurKNduScTfXUsOweVAJvqxEjfSh00SNodRtQMClfBHTnzo/YiVja+lCBWVBIckp1AkvckFhrZJPWwqOroYwfMFQo8AeN/JtVSD6fZAA1nVBz28jFekcwOuUCNjYm0J/HNX69llaUHlKbyFjsOPihuw38+4zGti7+swZxgmEWnMfUnZzFfK+LoRMQjbh/eF4LFviwXpRGFAT5Q6rC66BNpby9en4VW2tCuMGgMjxAJfrhjAh4xHmjQb6KwpBaYuY/YAmtIrvVbsJRLWSri7jr2n1SUfCS5wz++sCM4C/Gm9zaXUj0uAFNV0qMrNwHURUoBWF73q+JRCPU2+K6GtPoa6431KvhScvQBNJhozCfCyldb1tZs/OYSAyll6bn0tV/Tj+5W7Ze26Pzst9mbM+lJibmxrwsbWY0F58J/9u6g9TFNLrzby/5vYJqJRQbQXI+85TR4lIx6yJWQroxtJEdvSytw3d/OWNn1rlIdfWOBXZo+QQaxvfZdhsPVofMnPY1GnM9vVVotTCCA6d5GzIwoGlLjYAzOEfjy51M4YSin3J1iTpnS+30KEsEL10H9ty3xRDe9y8cgJtDNBRpTJfFL9LsfiLc3ic2Wu7IDUBvJ7/1vQz7QkoMcRwUcJy4YfxuA9bSOVn4FRjM0p3cG8qQmBVzJy4gUAdWg5FmMbrlYFiktmK2Yul3M34HVIxW2lW0MUtnxzaX6gcAWyJP115o/bPutfKOXb+s4e+7noaZKNFCSJ3SoMSjAZVEchwwnoAMLXd2Cy+SI9myT1lwgAL8RsqKbZUwpY8ZnpzxySTQKmI2lwtpmrW3H0DdJ6e8cskWWQjbd+TH/R2Z3LcDXOxSfF4obYijSKrohxKcwCchv+fNGwTtJ5LG0evCUYXy5NUpvDPrdT62hE1++fp9Q4iUHRHqLAtBpSy7jLThi8FB5+7ZfKcC7JvtPUXqTbaqN7cZ7bmFBu8fSXGe832a82ex8bcFrqagcL0gM+RUyjx5Lkl4FFXoOKzk9hY0/hsalVATSNxIgILAJpM6dyr+rQrbKxQde5Xr9gySvk3eisDSr4P/UNjoD8SVl9cTb9i2zjT+b/hNtGTYiqFHL/RBNwQwsTRyYBItfVHMMT+zBpjyVC6ReXLWpOkjfGWOvmiHdvLzTjI48wLGRm97c6jUxfokEC3hXy7ggDr+8vHDQNA1LcLVv5vcI0bWuK208CPZjLFq0xxg2TqZqM3OQxWZ1aNh0sAtge43FrWKb1jgDXyD15OQuGw8t80Ll+m5HxLPLOXl+MpFWljBqZJDAFGgr6stkhxmsFomq96xCx7f38VumBSb7OWo2avGq77efCtlP9vf9dZ9khxEd4fahVzmaek67E0Ddq/M1F+b81FmFknss3MzO3+vqouSn9M72OGpJs0LimXim/8GRwTbtTFwDnGkvBv8aTVzF2rpB6c8GJEgZsz4cCljwdGNqp++1NbE8TxGUB8is2d4j24obWP8lLbEWUMfM7QASQCxwU6JQrw7lBAFlGFa9A+bqG3kCf7GWATb9JIoMp6ZFN1ltMER6WCjvwJcbWYjlIG/krHzBIoOgV1WAEuC9uNSj/6Mgk0sodfKL0qSGdVB/JivWTqPxmOd4nfVqZLghmIM9crLYFeGhpN2VPRYFCcCgkzxLX2vaA1Y+awvl91hKnJFY+GO7IJy6XkxtEGxdKRZF+qATihyAYFRMoP5CuwkSe2AVBiXHKjYd5rSoxJeu7EcnT9TjlZjdW+80GoANojMdDcXtg017ezWp/fKTc/Saa32YRJp969WELIMaO9yLNFWe9ZDHMnS/kmzHi73EmcNfyrCQi7SxLgHUTbHiINYyLxoed9B6fYPVYcvClPZGbv03nySZNOvMUozYaCnGOjRKIksba13WmF6g+6+hKTGyqV6gnzcL9iPs4OkAzfHAq08oIj/j+YDHIwZnrXwPdzDoMzMxIdwSmVKbWMID643O3mWKMg4miNM/e7DotdofrbHtqIUNjZWyVKRT5BUtfRyXPp4QX/w6rp+SNrCjuruFzwWcZGGU35xQH2Ep20Kx9N37WIaOYvXgWwb7uYD5Cr/j0fgI+qlel/Ys7MaP84Ke1jokIIodeG7It3HMFra4iF8QIlZBnxnWseIM/eX55239e/dRjt8/AEFcipLDMItm1+IkvJMhqRu9y5qurpL2Nk+6L9CgeOS1sMOfCkvOExE9DcM6Foeh8IVkXEPERuscNMy8l3OlOVDUCpuGMbEQi2GX4quMdZJXOXDMD88fFNFphsxmG/NkSJbdwYXacPPSaiNo8IjHEUYfl8AUGAT9TcEveCIJJfJJ1bWmQZLLwBNkLnzhQcDF71Vi8j3w+TVFA9eD6/8gjj2EN7pzwxJmYCP2ZBdxJ5a7KdF+vCzk6ttqzJlV5/7MnTKRIBMdyesupNQnHZifEuVVEbWGwxzNPdHMYpDUpKkHIVUQGIl+HTxj8Xbp03EW7Oft3u7LqVTz3yx64AmKksjQZGgf5lYx8b3NePIbB8LpEOXeL8VIJETrR7S82fTDaIaQKLgwQoqzv1ANqXQvlPoV53xzueo4jq4YJsXmRu/Qqg03a0UoNSnTM0k3Z3aZz3SjfNk5qRQ6GlVEthlYhBLCYrYjSgy6RRZnleveV+sGOHguArdnf+/bKb83A4rRtAZJ7T67dMujjdNrhLQNw5p/BDmlNG/s1kCzg/6Qof54LKLPznrGodjn2mtgMpuwF0+AJ8XMfy7tQuf79y2KQoB5TpVB4Xzu76emh27xdn2O9sbnwBmEyA/fUWHYPtR5hpOKVpW/rctTnqnPTE1yPO/+hmv0008CWuesN8OhxGlXz7A96DxYrdHCG+AwJ8oHlfvSGhoSq3z8LEm9Tf1VROMcaTc+CpIIfRE/R5IQkp4XaZeZa+YosQquqb49cBZOthxATWukMlCBpS+mXn+Ye/apAHmIitoCr4489aSkDsP7xs/JA/EZUypLxZ9kIvUha0y5QZcOsB98N7tBr/k8y/9kydFBz5DvJnSDLK0/ydEyVEQdyHOuwW35irEtnEw4r2sDia7FMX13UbTCIwqupFmdALRz2GBVXLvS6OIpZzXfmg//kgnhBl9Ilj4plmPd/i7+C4iw6eRey9FPolI3pTuITz3C/Jm7mvgp9WEjPyxL87WdpmVAb2/mh1MwAynv+GxMzJlSNNwxiPeCbSyLHY8IrNYSE/Q+AUvf1E9mIHRRLm5wHVzzNrZkXLI1s+TPb+ZIMzhaDv8HAWj0f52s3TVuzJFI78hY9NcmRZZrvl7tsHrJjQbIOn59yv6e6wVTppBNZ8S3nfVnSftCl03gI3kz2V6OnrQQXdO1tP9YWM6NtO/86mrZ7fYDsjyTSrFX1cJqK2NRbvp5IYpWFAMQtqMTjhGexl9ot3OTdR0zfh4lk2oBu1CyYb3Jv46Hui5R7XgPE+AjtmIKQ367k8BGO6nwUAqUp7JK0RBYZ5ttO906ST/3nJFL0d+IdbkKSkt4z/z903ygscTvprO58AKospx9dNZUyzd/KpzsfaTSijU1DpV/XHGasa5iH7lQWj51oWo473c7CZBOUW9Eje8hyniUAZGl5HnkHa8vSSq2pUtz1SFGCZ8RF674GSpCljSf71zxjIvBHVv5ltnMKpUJkPyyCaESgKAWfwXMY9dD1j84vZlS5TxHL1V8NBLDtdPQsY/gNSF0sWDHwyCzNEmKiHGDCMz0dq+NIXFDzsTcbvIZWGyKf5MFzWA3kAQ2WxdaGaYAIZUhlw5rBdxaixU1+YhwoSVv0QhayEnJ2S8sw9n/MqlOl01djBdjqw8Zt4NvXPSmD5d98t+GyXz/LjqkJQVPFd6g/NV9UBpXrbm7AuNLRQKG7n8NIwsBTvquYv9/1Kkfk6cYga2m/H7//+qTVGIKbhz24ufRGFTeUo3PBr9M8lRBMKzA6HWLi09opUNs+UiFIS1HYzJjkzMytPI7G13cDjTLQAmHWi/sko6aQHXaXMmQZA1YKpAdLCVp0IShyw+8hgw5qY6n7fAes54q3bCbaB87nSqHgU96txRcwkWJQJCK7kZVcJVspFSZIxgPiC1VGuPlrRCWlsae9ZGimF/TvvPRBPV3DKt5ucnMpfcEO1+KY6lgUx6w7SrVOzBEBKrMFyMeLBYaj/ma61igsorfPcsIok2Bo4JfYJ9VZxjRbNRWGLtccJh4H2XUKIUm9smGZ85YJBXzAzeYGcmrXm0EzNnpnCb5z9bBazXfiubXcuBzNT9EAmPC8cMWRl7wvEyI8bMch2Gq8BFsjl/W+p1wkmxpC0/iPm/6gUr4MoDHMclaWa4LVhSOhVFgTLDXyaslHXwj1S0dVkItFJM5dGGpHj+bXs79zKVffBh5Zki+3D4nAeYmbTEoGQH04ND4l4ybZuSW+jboGN44ONSXiaMO01WHylEfUt6U6OChr5kDTNGDRpC3zlz0eadcK66TV+Q4Ehx3iWj+6NC/SU30kc6wqGtLXdT5JOfSh2M/EyBCs3TdMzKIETNYJVVje0Dwx5E9QjF0osfLdcv4RaI+9McmC6vwroWuPv5X6Dn34QezfVjrIZQPNk+1XmjzHY/RQ1uaqcO9flvJdcdQT54w5WyHQdsHFIbjCTeSKx6Jg76cg0Hb8IwV9EDLMKCWwNVlNYruYQOk0EwwQfUULv2GIU/UROtGKxYtrQAyv38ZlMmOKuy3gQS58n+7FnWCi6uFEkX54vlc+l/ycSON47973f8XDLUICdz853+xAGSC8U0fD7DJzydXplNyWMN87N7XA6qfvqXW7ix4NSWOGV/mN62QiL3pHOqSt4vm8dmltd2Vwd+UMaYxCmWN1JIhc6XhWBKRijmV3nWPivW2jNHganQUTX9TRayM7zkO8/sAujT4nVhfoTDTFe7skwqYE3qDtA6tvrbcLaa8PF8DHcM2/rXBi3T4hCzB9XRFwTmya8UeOhAFtqjX9tYJgmDt6B5mM+cj6D/aw44YIzrP/OgXM/ubCKVpzmMQs7ft1YQ7LYiRbphnFee+vYRwKYq4NkeDkgXtGeWUtiu5pS4R/Sc8XqYD/UfBEjyjb2B/OAQYw+Fi5bstqY5Vjh7Y735Noz8WgSoPOreu6lgjtp6FCvD/gKGxf5nZs8LzkRgPbre6p3aMO07Np0E63LmfSdI95Qs0FYUECww0sf0/l+ybFvLdHzfpwko1ZacTUR11Vxka/IRCD8GqISPieDLzSey2jmk9vecrdksgINc9ZR+M5Ydp9c6xXLlTNdNQLDJsahs6ljsUbDlK64QTyXLUsFuYhOYbyeAqsfsypLPyYLMzquhgAC4NgkWZFl7h9N7+ntwKO7Cg3igeNP9hBRe5vsSVITv24X0jYnUFOa2Pi+RZe6QuEUKfMnWMGNdGZU1odC7CJ8osdu5J4UNdETQvns+MhK5WmCkQi1jHzFmOU8DemlyS5mUWvp9DZN09U4nZUrC6shYtbZ94iKLvoZRfzltSgo9CGGeJRg244Mvawi/35+OHauu/RwBgxOfoA4iNZ5BvJfBcR8TBl5xzUvJfZiVrc6aZcF/Ay2+ar6mopt1rifup4CLWbgJrU46h/jsAk0rE2zfxXYTYZZ4YEQamYqX2452XJw7hX+JFPtKt7RSFLnOcdJkIYASBQok9lbEART10NRsI33jsYR8jwZ3jN3gCXZaib0snfo39C/8/GFPTzwdSdEhBobYoqyhgV51WNA02x6Ien5UC3oThTB1J371GUL5qTMY+XjOcksyVV+feJS7V5k6JnSK/C9XJL9E5jKHjNkXV4bWQ7am1Mykkgahb7WRI/yKxUpG68hvkWyB/iBGWukdQciq5mGlRY2e1J3kC6frE21/H+2UzDNZo9VfONnl7xvDii+CtTYk3AdFHyXpDx3BeVZ67Xz+GgO1boybTCa4VBYKe6HEPAZvaQhu3z337+BnVPFow4Vt9Gk/6hKjEJ1gr9oFmp/fnKiELijU4Y1ETvMp0cOFhQ2QeLuqsOq+VrE3vNwdDjtZR3lcFZcxiAVWfn0ivbxqHorpYFGxVCzzNPCQFkkaq4cjB83R3NEGrZhqYQ5H9vTc/J9Myaq+r+NSngJzxogNbOkkQNYsQt2qlgIS0r34nUIT5uV5usLWUPzRAZqoH5a0zz1Y+2omKEPxaaXSLP+noSWOiG0D/jovVdKYd0pJJJba/LuOoKXjOJG+dHrGnp7CxIHBAaGCzI41YiPqEUKZSNeRr9mV8f6zqYh4bSQI3uYYFCNIGsLCTgmSTf8+3nkFs6gMQoWibupDr+dYPG8Py7TsCWvAo0bhf28+m7L9/f90+wHQA8TIqbPB1/+u08ov7xFIxMYBg2NCetWMIFMvuGEU8VTCK8dgh4TCGolFXvHoWvS0fUrLskSTvsLw+IHlVWGwhxRLem/4b0JJrusFK8F13l2s6QdfJGQX/91WVZBBVLC/ZTyMdmvGqalfx9DPDgSmDhTCLTtXD3mv2fjSA+zJl0A2Fctdyhius1vRoG2Cc0OmsodKYjwwwbN8an9FgXDk1gePeETzzXJFeoBTv2FrBwQS2/BAr3fTV+WDb90lgR6qumxww8hUgbXNEc4fVDYAzgiFlFAhfwRMxbWGC14phnHaz4+o3HkKYTBNEkZ1fqaZRgz4l79sDpZbx8Fo2e9K5ntk3gFl0NSe6jMRjGUeST+pO3T/U9BbKpNY6jn4ZcFfvwATKOi1OiZxL0XuiXn7C3nFwwPPTKgB2/A6kgPLICK12D8q4wpuW7Y7zv+aLk0vEkSiKEhX4vdH9B6u3ptEQyK/B/uFgZdpuy87pS3JQqUA0XWLqnxCr3wbdWRaPS2a9YhTlJUgVwzaInKBXf82QsEYZPYgGwtES+a2wcWWeLvmojNwiOr0BodvbDghwOpxSuJ0gklU9W0A8KSiCk0Hjiklu8TCvIUivyZPVwMNN0ie6TGosgInh899tzdeN5leDdfwS7VTshuM59dvHQbuj0+TlG24OfU0chuqXhiF7Ia3faWoqRMWp+HkR7jjG4LDdO7Eqwdk7301w4VbAByovDVXB1sETkldgB8ptyCqibU3L/J4RxQ1GfhzalMqMWJVs9/QTjRRSXT5rAdFqUzuV//yLcSEwMk6w+eitM+pO2UelTV7q3RIOpJQshMMIQiRiJKQyDu0lIiONIOfbzwM7u0s0X+eq3/Lu0mR9XTxhhAEJCgp3bLDLsOfWDwXRaFOheIp7exvu5IcNS8blmdIGCRUEsAGqg/kKzDWPkjEsoOcihwj4X2lG4weuC8CrxHtaPqgD9ztGpM+YZAYrOx34HjjjhXJP42ZFwXgVJ+FEoFf/3lxfTUMGp3a9Unqb9qneTfStVxRzg9uwuGff9vc7uk3AkUZpeAg5vcOIeKQTTFtwTjVAEN2zYWIkTkHMyYKCSnUhGhVd+v+7JqE8XmxYyb6JLksiVY1q8MbKNsNUcnElejGnYwIQiUoxoR7ZTevrftCeNpeLNsoo9EKzVxB1thltrmWfnRkw9wcXvtAZ4ipnsjKNNyC552tAGbOr4Tz+zG2jeuwFhLHrRJs693QHf9EWav3eam3kUZhJJUwFTarGy2IS0lDJMHxjDKA2wYCoIvzVcad1iMVSVDG7mm2FzSUF23S2m5FjEmzgIfgy7sAL3IDBOnvImbRqRMnERqlti4V9NPeTp3Hv1+oGkZzkFyCPYRAwXvPUDKdX9MngiaXKSlqDlytlhUMvsCOjeSS6PDxRdNyitMVdc8gI/Xl7EfRdGCbEnBuUKllP23Q2KwMLeXUjbEmCLCGBq8hv2fbZ2AJw+Aq2YD8rfBz1CWVr+kwRosybprcqH+R+ZybgDyc3lLernjtyI98s22aUrva7kPIgk8XIuL/iQOz0TCTPe2rkV1BVjDV+WNAvVhW5X8mLVfLRFJ++9f5TvK3vA18FbAQ+WZrORTicliKe6NWQRhcqD8LSWphmLKVp2/cyo0IieejGofhonsckmh4oXmw0rwRWeDhfH+g4tg9hSRaqZSfH2UNv6nEOAT2K10TPutx7IMU7eY1mwQz4FGxZ7l511xt+Yax4wiwOCVPR2j0PWJAl68kfPVJPZVTesZEmGYgrUunBaWJ4JbYoJ3ezMcNKTFUKX9plg6UYsKhkJWXg9vBww2Qjl9NhzrVTeiUf7TbD8BcmwG5JR+kGPIFbX4cSG771cXrJUQC5k5MmsJhYOUpQ60PEVpvh/Caj7mM3MMcv+w1y6gbdTVbuKHr9t4RsokX5TfbHIgpoEiTrD9ikY1dMAtcv5bPgoKxfvKANbgmiM4JGA+X/dw2XsRELOIwd7BWsh3N+tO463uMH4oyYAQBLA2icbSOoT/vBp4tc+WSZWLGJLoeMKflMsJJl7PLvdwdQb7j+fz/Se+vnRPWQUzMqJluNR3Ofr1jlhrrM0kFjmiwkzmXc2ByqCLldvTaVS2CX6K2hsBf+Zq+fQHM+n/bx2KZ7c6fgdBjml121ekanlwxeE44SXfem1h0ORI1za7w/+FA/SccHNyQjJVw/vqdF3K7dSL08xpu3U8/ZHJUq36HFxyNYuMEeWV9gq9MuNLgqqnZG3H1kkKpzLQ4B+nXMzIYpJDByuM5ZqV7SVLpm9aPpR81C7h+31AJphpnt4WVV6Cv9HiaIJ90cyGuWVq1x8O+X43II+Pg3l/MB0znDpELFt2AjWh/eX5X6R4qBq4cIbL20Mwn2r3730LecmQ7cpg+j2gL9/bfne6nYO7d3dJMxCaqt79KcxS6LwBuEQ0DSHcd8HktAcpi1l62z0JvzUcBy6QuknusxYFH/Ol4v6HrRtXAg0PFyhb446gmmWzc03//2oRoFI9uEf+RjD/nL/hMP1XjDJEaEujgevfzbWLXsLeXAZ3/7NdlaIaYvEBCbrNTmq+SNh4A0HwzY6z4Wbaqt+YUP3R6JL4CZ7jXPkB37xtWr2ZIjz/xHI+mmaD7TKmGnKMtn7bwBVinbT/UMNuNR64gGPYq25NKNN8BCjrEU24Hv6JFNUryLPFcpRI2zeYO3RfbqYCK0hpzu/ccjHz7zK6CZf+jodfWKcR73Xy+1k7LKCWs6xN0bH7fCjzKFnVg32Cefm2uUa55i02VB6QOFRbeKMYkrkGcoucy5RERxcIdNi0QG+Cg4Ij91WrxRjUhSrCwJVUkJLdWqYA0vGozOntsteGEKXe4dmTZ4DbeiXG6LwpIJ1l1hgoSPbYDEKiwM86YKADvXgtScI6wgAoRBwvb/SCRzZ74QJpqA9P5/1qsMEFfcYagz+yrcw1mplEMr1RvxjbfXDRQ2+1OcVV8NB7toT8Y/jDaR9juNRKQwqOLFrmda38K/LnvJoxrA135GCiXifXl3e9KwHPFaIMHH5GOsnr0="/>
  <p:tag name="MEKKOXMLTAGS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/e29Lp16KIE5YFVc3JJutLLy/A4roDhdVn2Gi9I3acbOzqtuPOpAkXGbqzgVQPee5kG2NIJjNMRNYVkWxAJXHlwv0LTQWYT3aWa8mvMIuLxQp6XPlI61cpqMOnVHmD2RIJ49E/XFL5abYqYbVp/skequx6LsKhpQy6zGSpBzP8DaS2l0YuxIn4SLvh8hyWaGes4jjgxmk+CcibF5koC8/fEsOPzTthVZ/TcPBTMOiWVOVv31g5jlnNOOv/m+SecsLuJFmz78rCeO4bagDrSs5mg1cSajVrWn8ghJW/wQueTDdXy5ERnLRq5lHxHddXKhP2zEB9qNYU5hFllwfYJnDwHUz4vrLqPXHiN11MPp0JQ5ii4ELc/kq0+epN3XaVisFFnKWw5hNQePIGihs4AaVVfmK+3I1JfqmSA+8jeUVxm/j3f5zUrcNVKOv6FyJO/QylKhsRDrS43tckyTkZuuBu6VjR3WGmqfc8+APTE1YML1FIdxej1Zgu+MO+dbBUA+ryor4CgJmsyseU48ME0U7TcQX7/81z3b/2Csfdan+ebj+QL/xh7HgSw5GhD++RLnxdlnu/qeoEUGu+UkHIQUQvD/ytlfSyV4yoCF7iXoGy8a9Ft2NHsTH8l/fXXyCTD2nckgjWRyvM2FhxVf+mpzmmqlQGMag5hdgNnPE0W8V8hPrH7wR2lxNBqVUEwcuM+XcLVZ7gNPvp2QcH3KFzESnAm9ONUNdEE/YoEQs1NJFX4HXOJJt/PAzPUrL7ugfr8UCWuVFGsXoKxuq0Wtk222LrSVnxtYPLmeVZ+YkThJ8QNQhagE9EELItiL7cIfRy0GDpm7h2SggXjIo5A0KZh3bqT5OmNtvL5hUtShcd4QsfBAI1nRKgD8/kp1ZAOKdW+FMp1maNnIR8CmM8GFqHZi3dfiIgKoM3WzPdujQ2misFUWh1Wnd3s1rjC1wHIibGZDr5RLVpnYyo0j04/+VpWA6uBj4wfxkJgxa0GPWkem4s3zrue9bQDEbgUfMNBf00W7GeaHURTYHh9pjXKlKg34udI/sJCHb1m8hS4552R49wKNidgCkP3jnH9J+7QbNtsSnnzHwZfp1OYL3EdhC4rqXwj/fxZAxOKKaB2FuosN08E7YXu1GykZsJsKPRRtVqtOhoxWy6nlp2NydUDDAbXNN7TPn1BV427dD1WF9FWxTAUV0/QTNynuvKPRNhZit4p6C60qDvs5rcDXOWwUUcAzATe/JYmX+/8C2YTYAn/HdLHgsQpqYNA9P2S7jhFp8n3+gNRuInMUXcl8Z+D3uxYhCY3Mba443dc0oPCKMRRR9Y+ykyac8K8k+C/qs9P2IMwRrXhCx7ZNOfdxatuaQ6sPKbhqEZei2YXFbjuHVcYlUeO8VbJyhkWMB6a1UKd7nv/Ne8OY6/eXZ4yDiJAyxDbl0/I1vrydcerGOAUxMmUt6rVe4fxbY5GOOspe4Q0k2/CPkfNmlcTXdQrid3gLirfkzi42xHE2BN+hgoZzhPphC6yhZUS2Cr9+6QshMSMm00oRQWaD5eX5InhQInlLIWfofCcrMkvsCA/lOkBgPf4TjCXZJ3ANnTk8zWNdK9vYC+G8GqAphGyTRlZ4DDLOa1n+FMhXsml4R6YCkmQs5ihEhqtt6khZFQKrzHZg6opqtHoFYuWxWOZE4oG7O6wHnec9FHpM+nARktWS6dWj3nieaSNxGgrS5dhS4Nh5fE2wJWZRq0SnnQqUCliv8xSClnIR6r9dhkr+Jwv1zBzqMfnaWrUDx1IkHdm0CQsJGEZSyTHSkrEhaY5PY5NI4ngD9e1FXDOHRMhKkpDoezJR9Uh1n2HU9M+THEqKLxIH0jmd0WNSlBM4J+ITGOQfG+Qbs6/+WQWGWnW+CdXZUIQe9gtii44f3Is7oG7aAWTFLQKBvynhJJFzyeLqxdrQGAoH+nmrvbj2BLtJ8GONpA56HOh5iNxgKyCGZDNAcL6jbbdmGv+7XESn8PJDfXEkPzNGv1sE57JsAaqg4e1GdGTryvEnkSEE8lAYM88Yn2UpikoBgoIDkLyhsUXlysfcRusGDeGHgWWm2/ABsRZExbad9J2JeSJ6j/A6dQuSZHFn5wDItJwUCM+dNOp3QHRf05hxiu+tO+Id/gZkcF2pv2Wm2oUTlZt03jL1BvNTM8mEKe0sC8w5BKyySxHl+tthsNIiV8iEJRMoS8N3ep1hJJ+hyZiptMf1XiHX3NzaDabf5SV/qu+duFgyI57OtYT7USf3DN8dFGLM4o11Y3ye2el6MxaTdIev7victlR+0Sw6DOTmBD3rETiwh/CUOrI+sNYb/MRft/FKBJXYjgPqef+0vvSUKj+XQ3lgTSdKW7nsmpiCofWdsqjJrXUW0VxCJ3UkJNmEt2qhTeSY5SZ6Uvv7UB4Ias0pCugXrftxRRxXi73OK3ZgJYbLQl4dwSkCNaXO9Di9TpFtfT8UaGIPf3+druFIC6xUf9MZNUJtDIjpSD/iMDqAv0k1bc2eRJe6Qzi0hf4RfRbzwXAMjOQnLnkd1TlxJtQoC5OTA8IJ4L2QKJNpGA9dF2QzZjYjp+Tv9GDA1AxQZdpSubsgF7GH7mfwyQSZnfGfH5uQ9O8rXnLmga39BG6L5o7yMi9cryZ3SUXwehXpBCkqIepuq7ecAjmEmM1T0d6UaJbCYaQc6ucpKlyOV4xhHq4be4RqPlyD7j0yoyCrZPRJ0nNAFda6WhulfAU/Rf7jsR3BKEgUboyH1yflmNv6BFXmZe2GgShdbbOUtficZT8bSU37V0FWo8Ig2rg8srYSYxk7COX5BtQdtRVOx1Gv8KfWVIBao9S9cf4Zf5oX6Sx1KQxCjbS8T8O3q1n9S2f/c3JHB4aju9RN0rWb4pXz6wPo+gQc3yfqr2GtVw/028AasLm0r+EE9LlSJy4aOKAOFQfnI3d5u79iItkMcglnIZ6VoGDte5ILtVVvQ6B4BHNbpOKnIkQ0CealeZ/dwGxmaXdHzxqZNi20wmn543xmmgC2K7QMg869oOUmIgNnFBS894vojHFys2cnEZrlCJoEN3Tu/D66qEurq2MapQycs566Py77tcbP9pyDeolWpydZiodVp54kYbEw+DjlAr7SK5vbOCNRR5OGQcYztaXbyThGPD9k9Nral9GhOzweLge5QvrlOT0/WCL7+2mO7YpwSlv90WIUTRS3VL2uTbsL5T1Gy5yrbgjWLyh2+SUDEqu+atbX3o5l8ohp3E+am4JQF88if24Gy8GfYDWjLQ6Ci36GEVslrR1h1DXvEwayCUdfanqNdWp+vLaRj0sUsMKEML7rQ8dwg359Bfu8pUyTdvaSN6yFiOXuarMQB6zBYuXvs0apaKLzwshplUUjb3+QUx1j+6aNCFLBWf2gmrjF9203ub76f5LggL0+Ax4aUu3a4OsPgauatp+aHQD94S3MMAu2EZXjNXiu4P8pqY7yhlqL8cSB3M0uA4glXeTdtvRbAUsYSPuOGTGWX4955KsW3x2Mqc7gYCepDf2rRHRkU3qf5D/AtcRipG1uWwYr3MuPD/Dn/57mt453HIbcZegxi2+vdQxS4O6SpEuOLq/ftYaXIUMUf9PKfdQVwck6hUB0CjwW3MlHxqU5Ls+gmIreuhAw6kWgi0VfVjtP1/Lf5gbLXyEoPks2CinnSljcoDtAPW8W2SK4YfPaPw03D6j5pv7OqShN0TAbAqPayHwTuW6lZTxOOICvrdUrL5G8Q4gmCBxPyn/Vyfhe0OsXlBaWatGxjS89IvX1rXTF5Z5KXnXPbi/aFW84HRRifRLPos1MDJu5tlxiwFzKIpDgUh3QtMC7e1b/nY5Z81Df4JZANLV4vvp3Y5GlU0pYOVBhMQ71ypSkC9v594gH0Iu7dsrTLtiTpFYmAebVu0iv2uTl1C475BYfrK2BiB94WZXsupo+6sSBEZG43ga0Aspxwt9psLVD8cq/DINCI4FCcUvAdSzJ0Z22CQyffr5ivFZywhH+46iXHIrJJcxLO0/vvL4V9QrlB3YPaUuL2J7bAjH+sMZjD3qZjvV65A5nu7/0eZ45/m09pEnlh0MqlYveUVezlBdTKsyfzZ6q5H7VROBJLAJqR1fDElI8T0QfuqbxOE5OfD+k10MpHAYTiAEcNGifjsIzxVH3hJ74FJQypR+z3Ukw9udrlfEfzUW5TyfQSMYU+3Pf1/yp6rXDTK5whcjc8sAQBqo5nnBkalOjne2yXjv93tbGAk5/IFKNotJs6n1f1JTcBpAyWFq1oRI8iKkyyLpkYJSadjMnT3r4DBPrJ2yx39q3O2ZUz0jZzzl6jI4SSgrPLhF072DopZXulwJFnDEeT2MVGksqBsTaZYL2Sw/WquCyDBeeC7okXjpIymdrWrdFX2wFxan84R0kMk4wJ92F6SZOBjiZbmLRBajBe0WlQF9V6JYEQtEgshJEIsfOoWh3GJHBKdbIYXsrYeWqIHJdNHXNrIUentyI+PFDJFasQFmP49ST+E/fqEsk8YchK5GlHBE2HDBvbid4Pub35ytVB2iqS/EncxdvnSusIKuhvfJd4jgb2TaKZJwhNRtH/O2F911ZVHr4MJ6oBE+vjUw5963tun+H8Ha7y/F/UKBG+1C0cotM6AvbbsKZlpj7ulY1/JFFEmFgk9ha3WzfBAoQ/1duKPsic3aiRH2Ax6K6+8+V5Fu3uoTLN+s/c+l1eCC2h3Z2m3YSEbf3u3KimnC8+07A0A1+9CHF4HObXZyvM/2rkEzGjRRbxIYan1Xbw62MqPqW3OIAFRn7gAVFGCZdCsjhVts61VTYCwwFHhA/Ev6X4DIxLDLIYHgiOUvywgKcqgbD0nLR4cLK+Yxjpe4ukYSz2vRgL1R0m+L+UeYGTnsDKBI7Iqyzlq65n7IQ8HOEabtxvsFz/QROCirxTtcd0RVYkTiTAeB9SamB509sdPXCWJjdP9AMOiFZbs/3XlqJbz7OXX8yQV3Qs0UlWDGqAlGHrdEvIiGjwsEIcj1B2+HSai/A5nC6UGh0XjV/0J+Wqd1yfrYG3S38Xl7hZAki7jKCtWIzurk3fSz12JverApAux4ILMUJL8Z0waNeYxO/XuJ0LVHo8/81Ugd/9EGsrkwIRWSgx9Nxz5xPvJatZPMnJBWaUAeoGY/vEckM3K9KPg5qEXKkuDme+HlbEM3MgayEkjL8YdU1OsIC2MYtUZ+cP5HOR9h3VagPAa0Hhi3pUqlNrC/bemtmz/JoKhLhJ7WuGh7bDRoN12E/FhKnpngUjEcCSb50Z1ApZSOKBrUA9N19tUeyf20a5uVT7JtBxqhln5z1XfiZfsanoj2EzhhvZxpoUFM0cMmNFpEX7yiOfylcgwbxtSbzJkn4RWATuHjmkcOsJFBBX2qa3Fbplfv6OkX1x8xDqsdKHjq5NHwjAqBrT9CVJO30pPa3odWh0i+PXxacgdYneEpE+i0dCoRX9W8Fm4RAt4V4F/BLW+Nw7xNAia7pFN3KYofyoKsGRXUhJu2ZHIFLpdyPmAufYk+PVnNA0CT1jye55s8sa/MUIPCtuEliOSNMtwYjkwFPKkDXL+2p+wS0kL1Da4DadK4/88x1SWz46GUAIgTRsEP8l+iJfGyd4tbVeR+SNZGyWqCCDNpiLjOWPBqXgec41ETm+824NefXOPJfYyqReezRRfgTDdUiVrVW3TOEi7lLjdXHUf+PpFBcaHQfvF5Xiqg+uM8I5h4ktTPTUH+89V6QKOtxj5OTkLO2Fvn3sqJUuD0hGinV5oYlYzIoSkxWTN7Vt8XMTxOe9BYFIucelZ/mHC1fv0PrjnW7hJgnmrhYVtAkyUw8iwBqeSvUXlrcWI8F0EfJllZ1IwE0tY+QGwoHG4c0qD5UeccuZr6DO8XATojSmvJU5c0PhtzKGsxxi+6J0vjqR/sN4IhK/tXkm24wZN0gqdkEMJmvqC28kqw2ih+8eyimGRCF6pwWTeN4/wlyMNPK7OlQNio994a728qkD7SttbaHNj5KheJLJrHsORE8ehfrPbH55r69afIXGW5bS5tYGCff9jPcnukHS66SCNdPWiVkJA8UxfgEySVuKVdOP2LuxuAOR3vH0C5LBXdWZmaWEAGlrM7P1LwD9noLOmFVZa11mv1du4tIDhK8duUOEPBEb+SOEn2nuv3oIvXv82fCrjmeSNJfqLKlEwMch612wG/dvja34exXu0SyvzWFfF2t2hR7ciUmWlDLxPwPj2Oo4hEliIjq0vA2sR/mpz+pFPWSUONgl5u8yhzsvofFm2tba571SfBuPH/QqJQGMoKwK6ssrIdoVIWJn1RrUcffeuT7cFSYgO8vXkDx3ypHh3Hsy/lf4BJM7jr2GLXYZ+s6UcGyD1UmidcaNmSXT8+ftApnUvBczF+yrIOqx6oBflsSMtBa9RiO6/KOPa0b1HB6dpU3Qo9W/iTo50mfMfv+IhPT/nOIW6hCSGatDIEsd3qiYZOBzBgEB/NdMXgXTQsEvKwqklCNsyrSeuabwZeOFmz/yc3/i6ybu9ten3/LksUIpn31a6sHcHGHUz1IxgeKk00OQGc3HdVDMKTtxJ4qSBeXR3b/hcujNpvx3+YeRCR/7qB+pZa6ERS6u1nLxX9i36ARw6m/yxq57XQyBzCYo6KfX/dyfCMYlrj41zGNNUSl7GDCjdQvEMLOqDiT4IwtY/2equxx7cZ5sza7oXo8wZMPdb0LTM/OlE9x++TBaPtg7B9/j0j0n7ByAQ2mEnEG5b3Bj52UhS3hMCpAtqQ46SxWRTv/of69/2fMaAXaDlAqtvXKT8eOhJ6ZslT4WzH23dHuxGh1W9j25Itji8qd4Zf4AbLRZ7hoDiFEiru2tHBa2aXBWvhUAFqXL/MyUB7+TxwJP556T7U68BYVL6xzqos78+sLtq2sRGwvhDvZNWvOTqZ+qm+aOfHJ3dfZV/0heXlcCWjsGpZ5NUMQ0FoLQspg3ltyAVBEf2/VSzb9Lsoq8zLuEsvYY9Lyfmbbtf8oW0El2iqGLtQEVj61PwxMsnO94Hc2R99GHJoeek/gIVk9bdroz1tw8iily2oIpnfX7NN9JWIvul1zmfyuXmC2FlleAeI3EEJrQMcffurqfqPzvG2P9YgGq1VJG4V4++N64udH60EAX/GRRs8UuOSNXCwTt4s7G0zBnNuoAqwhIkaPjrNnDF5CKkJIwL8Q17uDB/40RbgNjMn0Denaqi7+z1UogsAkY8jdxmvlIWB5RlrFltK0/DdfSo3lkel0NDcKEIVoKv5PFT62pZ/bJGxHOayOYfn1YjrcAt0boS8iLADv9oITl8OYvcOpeH/owTjcvDPLyjLm3rmB5Atq1495Km+eq6z1PRI0QkFd6OeYUllzYB3BAgq1+2PIFVPQddwg4w1678YZ/2IY/mMlZZYRFli4cuORVBgCbxnsfqTGRk4M1h1WJkfe/XHtbA1eGQFMwI6ZdD0ab35oNOAXf6Ha6iyNkhic3qc4nGIzOlbgrFdLs6eEx6Ktm6sgCfFylbvgl5omXEw9XSg0XRV8TR4P6IZsOs9/GD+Uij2u03MvLqopN647gT9i6BOFH9xAl/G4QX5f1+g4yRTlIB5b0W5OYy0byo/nfkb4HGZPCIUxLGj1DIn8M7zNeWX8bfdz5krCZP92wpWCoRFSEr0RjSwv7W2Y1LMw1y3PZAspoMYv048A72hAaWBsApCxp7imeYiNcWu2Vx1DsuDULyUG3ooPVQ5dg/zZOrU0JzOf5U3w1rRRZaLBNQYpmo26a796JWHCrn7Sf3pHfQ41OX3i+C+35oXbPt2gH6mCzO+7f97Sn5V2hMkJT71ERXUKl7vIpVGJAzQNqkiyC7wQx9yQPc4hamFaxJLvWJFMQpRb9+o/nWVHPJ2urRgygOG2N6hxlg/XPC2/HItc9jsnZkHtBA5ewcfH1FiZ6ZD0VcTS/+sFbtLoOiex3I6Bwx9mRXl2WChCoNwpCnP4TwGr1gDFSlmoHXgOhluHS2Us6OgEpR+TD/kBdAmMxIgeWvj+dWCnVuoW+8ojxgqZoGzGJnsHDmIr1+ohHU0zHGLmYypJrsxM546k8w2sPz+MF52xmnfPpiOMd6NNX5V6u2z/WHSw2yqF/x527SiApQGz4bNxkOIaG+dMb+6fgJXsgbEm68Sz/BIsp+kThtI4q1lWNVj9tsLoSNXeZsm5rDm8PgR7asGzpybmRYchBiY/EcVwzNijwH0haoRuSGkwlZ34r+ImQJo8vEEBiN0tDNZHFPwDDQMiFCMSExSEruDr3PF3osnb3FuASY8vXRSCbezFZdDhpCQApR1U/FugZfE6dzDGPFSjHgmsGEr/ZXuNtU15n+BmeMmnmuGov7wdADwYUyR1gH2+ZZM/rHAwjkEJFYUbH0dle6mvIeLptB0MAik56oOZjS0zULGP77KaGhcZfkyp97RPQbJ9OsbHU47/NW8aZP/XHp6rsBimcFk9jDtVriWe51UqB7zwKHv3jW40NiabE67qm8iSxFEBa5Ov/IdjEkifqiHTINUTsyPdb06YnJoU3p/tFMjlR+XPYw/If/RPBTgUU868bmb0psizLLf/e3PEXWdLBB64OwMxzBzluY85oCO+ruWVoH3jO4hFPD3jw802y1/OoC5T0HDr/kC+5GEvRfvXKJBZjRqXMdR+CCxeuLKerDAWysmbSmFk3ce4q30+cF8EE6unCS2/L8YX5bhQcR2jjMYtjKt7zKokV2fwAlZJF0Zli5CiXKAzrPBQpC+zcI0QUcr+AeByYoavAoY/fzwZnrD8jezj/zi5FqXjdkEICped4ZmVN7TTqj0exigKTTYPykC5x3K5H+bSOFuuSrz6ceIvRFKztrH7MHYEzUhp2FwSw5EIVZpb2nKnlXXbXRQ9snSMNhGQEcqQ1/xyHB1GyjOFXf2ZgRBUj31KYi79KhXL5ewm6cNeYxe+9SHfS7wenTfMqvbmV5+Yyj+S9dnz38tFJ7UpxSMuXrMdWKQact6sS8XWfpItxiRSQtJjA+XBiJLtcUT0n2kogmhPhj0wBznp5g9YLBfGA+4vFcsP2NbLnWp2CdrZyLvv4po6DUVeZWDh4yFVYp/PXabgewvzWCkELstgA0NU6fefFNdzCvbJd6dhVtKQ3vu++yzl8y0INlulcdCL3cq3+FAZJUj0kcZuSursp/Lo2YPyPxPolMUPwggonZxvkLMGFXyCnQgcjD+kiKnVfELjmfyfiIFuaApXBK1kxGwBTz37KC9kcHsxZR5EST87hwzyMntlAeaSFfRY/l/KAppphlcYJbYNfmTXqD8bWwr8yclVj7KUmCZ92+xdawSSZSx+O1ZuDELJQvElAgub44nmvcyPdJ7W7rPJKgG538NzW+sg1DvHYi+cF0T4Sp9GxTpg5+EUG6FmsYgzmPaMILazZJHFwjqRR57FKQmgxlnTLXaACD0lkQSM2ISlRkMNSvem//72R3RSONS/8uzYmEc29Lb41jq6Qq7gOzrLE5A9xeYZD9StRrZQSsodHsUwvmi7QwfDn7qwHPv2ddgYmWAilcTYD1b3pPvkrKWK2jNADklOex/ZdIb32jFMwLFutZ5UN9vLtDUT+Li0EvMx3s091Nycw2Ncyu4Ahx7AZFxObyunRfdPV2eHw47NIplXKn9y0D02XCsKFLOexQgf1hWNW2q96w/rRCnyX6z0iaPjjLHYNmXTRV0hMaJBibxns26HpouYwSKUsSELZvxAejM0Y1y0HosGF9yXU11JHxmOEUgyvhqzfEJnnPtJN0Ref/i3oo45Al1yorMfViVocZzUH8BI2nzwcQLKWnlr9GRl7ceXr5tjbX5yEZ9uXD8Q9OmR6i9Kz8lFWgH6vLkjVIXiXtQV4pD4y4jM3DtkI3tuExGkSW6Ol9qgw4Quz01xGhHHybHPC5XyXui9+PSJsls99bWT7QeGuGel7IKaCRhU1C8wS5BRLQbh6buPLVhD306euaSHUTEjU2DgF+5Aiys4RZg/ZERK+Q8yXkI1s+6x6bdV0RPKanknmC1teQjR7CWpuQsdwEU1rIh83JtaGBcPI86qAlpr+IwiiVv378WRWian0ePB2hLCXbpwp3M0bhghoo40BI1q9GVUMJxLU0MohD8pgfqA/ojwIr/Ky26RyThwnZrfJ7YtSfc+k3jNE3Zggi9OJz2bZQQh3A0r6W7RH8qKwLmDCzSCPwsVKZKXi87hnocCzNidE57qx5kwU7KwPlX7etaHDbFtANj1hTwU/6RL5h5SrOaiUd4RM6IuCAcuwztIVEhK0GGNAqXWKJ/sB0nR5E5ifyn1hl2dZNkiv3OldwWpQmCATOxdEuvt6xKs9eNZRmZaFlmrwLobZrkzO4YTYKJAdoyqKECiRkr5mhgPVZ6kvNxhBA8a2QpmzLyB/Gv8cy2cA87aR7qHew6EwVwM3dfD5xjzO/NCo49TWHA6PxwiKxVddO1yhV6JfKi9cx0yUZD8TtSqF6JlcGdSlH7Xlz0kIVXlGffI3557LxtnUoZ16kotqaqYDeWMugBh+9bvRhC++0nf3BC9k3FInI29S7XMn5fPPApB5VM1u9z7t/ZkQ5mpKxXpxOMxVb9tj/Me50z72NGxW0pwiaoc7iImADtjmOfSKeYTUm/pNPj1UcYUMLC8fjtFdukvn/s4wvjgYm/P/QvdwJWzQ9g6UhJaQ6bIVPa+/I6ql6NgGsZo+QHFsZj73T5ilzmTPuQ7639duo6R/e4skE2FBBUECOpsesbl0D2WMO5sPvMyaYkjNFA7a+jhCau/0y/Q1WjpCiOylkUW4Ms3gsIt9UFVXKCYSz1fQBKIz4H4fCUBJPc5r935LY/D9DFsDevBy/fcwgNKeShHm7y9stdU993+Y00RsxT7ktgQT3CDP4tjw+2ioDsN++lcIUxRWC5elQ8X4aBQq/FvpcfX1zyLnT/q4iVrdvO7yOJPBe1UzhJefFuQM6K7iXKgDxTeLJW2N8o4ev0PcU6AvUoTDqomHLcZWw8ziL8KvQNCQtkJKOee4F9/Lg5ZBfw+fexp8OJ1ajMfBzKsYtW/oOJd9d4wjxrqD8SFwnl7ZHWi2Cgi1ohjdLHZEIvbVVbTxn/77Kqbe8bVL/WMJiAfjClubY5U6lc0A1GgWazgId8ULQ1CbgL/na8UsLyfC8CJGsG4MXvNR5mSdK3WxEWqec4XS8O+MytMaQgi0pcmMvPpMzjPQiEOmpjpg4tErU18xmTLqxzPhDxzxKFkooZDuJwOOJ+aWwV0YEPJy9VvoP1jTWsucRn3iDVVk2LLnN0I8DxWPYHHA2eofnlZx4OsPel6Q0ikx7dAobPcA/EgTzflK3tXdv/CEiHpZUIVS0VZoALKGBFhMkKJqC3w+wFCSjiOqphg4JGYlG7OUA7LFWK1m6HTQF9Y69qNVbjomM4slC38e33/yNY1B2jQigkzpok8ar1dws8ifjXaETncUeVKQQJnuIDzf64AHd8kLmkBPcLfUw9FYacC1ExB6RSK2vwC4WYEsL6CLVTlZnsjhk7c5kfTe39t/oyj5tz0M0yozRgFqzj8GwhSEUpI93shpWiEpg8n1feDcwSR8m4+I+s1HkkSdFLso3amisF/uLczkNdeqXW3yZWeHJDnJDQ5T86AOu4a2sgQadWrQWor7oSBz0SVIluXRfX00xgulpLwHWpVK01V5lOoMwWnaFC3v96qHTJWV8riYzTr9+RGBTQha6bd/92iHyfZoBpdjHOAZtgAaDHCUvA/0D42D+kFUWTfrNmGycUW55gNBQ+QtDPlqQwvOv7uuYUHyko+komPOdV+ozIJuxi7pk8+J+lZPN6FVCnAIeFmqt8nJEtEZq79V8g1tgkGLCCuGbt2tENB0OcALt4CL2gUZpzFa35hA2DOUicULZOs0qhTL1MLkCb81K9i847itIABU1nOIvL07/jWA/cLPusGlyeNVf9M2/beFUIGTSF2BG5TTwFL5fhTojdp/d9RQny0DK8XzOBS7XV2KOdFuq0l37DaevE0wEFwNwhWIBaa3xa8bUvK3GD2fBh527PUvwK7bhZ9Tw5KDBTorj3fwUlVGe+vRLYdBiPgrr2d2JNwH7faOcCxTp3Xq3m7idVRfsWhrymL/kf2VE79f+0XxuKgrQzgCHRv2r9E6UEHj602zYTsarZeYk89BTi2ySLQuqNcMy+ni+G5GmYSB+ySlVGf5joLDd7BZlkjVX3xUKN7eFCYrG6pu7z/a+m4dcNtIkn0GvkaeWfN+2hKa4e+6cJlbS4DsSIWjCRcWwgzIj1ZSmV6Hof9jAA3D7xQNUIrZYnW0jeQE/pKDtVuY/DNd5Ie6WqOLWgPUn8bfWliko0xvRMm6VspDDwg+hmaAXRRZhqSmCwC4wUgCVuZQp7AOPEgL6+wucyZ4Vxj/rPhiJ9cJHlKl4T7CVf3FsDCK198L8jwi0Ik2WEGSHdfB+xvMyD8jjqVh1X/6bA/4d71jYRviukUYZcFsihq6/d71SjrvMFFpKNtX/AXv/shqYgc+uk1JvffEhIKEhbhDr0g7CTpbWNC4T4gGkTnzydinTN0hRc1sX1U2FTNoOEh/3ygeaQr397P1ZXtZtpl+5cmPCN/1hgiq27eSdmpPFg9IQvSgx+y3rMoai4rkvSVW14ASc6mZgouqqvZ33Kwp8IM52mmeTba2TiTC6janKrmmxnpJD925+PanhZ6kVVjRtJhANw2sa1GCZTdmeNUwgRf7xPhdSnQ680t+Vfhn2Eg4hvw5aiSWsyX2zDGwvhIci9395DoaPeReaeuUi3xxotSRKR0MyG5R60dNM9DsbgtLv/KM+GZGlFugovxEz0JKk3p/0eQo2crXve5Ft4Uvxv8vGXmEXbj72x5VYuc/ZXN67Z1w2l7L+vPR5W3pb/OGP6Ii438FdpqTb1XE6G05/oAWsMSv6hZ1JCDmurtLC+wbC2M+daEI6zk8VtFkQJRbxmy66roHLvSqH0oLApDZNyjLoyzZ4nkzcSycpXqaK3wRqtu2rGm0vIJfuPEm99MgZYM5cvqEBG+hkmgZOI4mdsx9spU+V8oxesJa97HQ7e0CM3voiZ+MpuF4NQVOJW4WoDod57yUCizlo9DheWzQJOW4GRt44Uq3KHdyQYefNudGL6HyDxCgW0bXPLM0qUWKfuR7yMSJjMeyT0f4QjxBOGIXELEdCQ9MUCZ6BSuxus9ZfcX/X9ynpKsB3xQugm+Aux7vi7jVLDMjU99mwaQbNUFH1tU61i0tqxM0TKvSbEaq7nwFhueF5pg+iOvWUNU358Z+90FlQmLXyTTwRIAByELlJJdBraZMLlaxUN9GuPOagU08qz9UYqxIqBFjdhtt1HBm65Nzw6JaL8xMeIy8TXEZdy+ENex1lMuGl9j/EkEzPKMMDyLvpGUfiuU1rdQfypFBXAwTKCYeti8lHD4Z7oMcjrhL38ff8S82Rny9PE62lFxakQBY22TnD226P/l17AniG82iiAwqq7gKtz4CoKvWHiPgy6GprGw2fO97ElktRkmLrFbp2EmBvuspmd6VXHFfmzPFk1TGQwA5eHECcNLztETqmMmFuFnAfat4hZsIUObG+JSCCklxXkyumUnhnkrgOe8I66AZSKb7CM45c2ufbvUNOdMQtRsd477CyyKD9YZszv3mAR1gtC8yybrgf9foEfMbIIt1+nShOzkRac3JfD5/OVbHVQvd4t2A/8g7Dcy32dyqweiUx0BPvFxvwSt+74hxfOS9rrvXdsq+PrT2hN43axPlDqo7d6sw8aLrc3d05/zug6LNDnkaZR9rtn9kRdFjzAd0q+VPwNe+kIvB5Qt0LwxJdkiQVvg5U7pbLwEBEn1evsBKLtAymXPpKsEwhy3jWKAqXIt/RQ9ebYxx8roJ4WuotVbyukgP53wBazdquQTdZrkGdh/Xlz3MDdSuiLglhuCFQUcLnhxr1FlEoCGx/LCmqT9/Tk4hyMDxLDRhgq/YQh5RB/IvN4hm53RnXJb8f+H3ivDFWk9wAZRzKWCbn/KZyk7hzLBl+oNCpE4LM43sKlY5eLJ/FkamgdpW9rFYNCu1t85Bx7SSkBsfq9dCmPl691seLcOeWFJeY8kXVPQugv5kSa6OKFxK4t6VrRwzIwl4y6bi2ztxsS7XUFf1iq7RC9JXDnguTskFK3swyGtGnQNij/US8SWj4Vl8DdJzJ7+PcRFXqbQH+KChINcRoMPAKpIdeI68cV3ws7e3JNjD0fCrLdMONVOfZHWdUU7dsdImYPUvGMy8SL/eNmTHPqBZL9bmOLeb2AU3bQLPG+sigfWLk4rQEZKAVh/DFsBYvWt6iXCJCcv3+OG/88ekxJLypdQrWISLuPIBNhnevgRNHZSHd+aLyVG4Saz6krsDlfcdrY9qKag/ptGN1cxcF72c3pJvVVLgIVRbMQNTc+v4A+vVYcYj+iMebKZ3UCda736nxROui/FtksF/z1GTz+Cb1k8oFeSgunBjtUZ1zXJHnmorRaztAd0FOU/Phr9a/7stDQTh127brta6Pkinh4W1lmr9Ag6KXRffIc/SR8wHVKQDGUPKgV2dV3LLWLkCQbueMO8qViPoAH5RmPVsiH6109rYwuttesaWZ53nOF4o0b4SPxYX6lKqzXfO2asMxhHzjAAiHTOc4wQm8WAUccXuxyXlGdVpBw8A0DZbA82krh2kvshPMmQS4hW3ax9I9gfizlEqeBv4Vt14Lyk8DFUkB5ny/UPGt6ue9R5lFfC+jd8cily+YdJhjP78jkaD0GivUQKQU8S+YtT/Ph3FRPoY8+/1nfvXWRIgXAppKRd6tXphTD8vvNc57VjWJjWRkMd7PyfsyojmboQW2PhoehwvxbxUS/wURkp/UNgYJTiD6qHv2O2GChDVM1bCRdTW2whQJLEsUNwmS3VlujA0E7R1KYL+4p4VszeN8nf5QYp/Etsldi0CeK4Lv4w+up3l8Xa2rg4gk45V0KChQLn23TqrykF8V6RSFnrf4ejP+uLUO2AuFWp4xgu/pLGwnzHZ9B9AVwvj04q+48Ia+iFOBTEalIOPS3cuvN2Rx5H4uue7sWoEsG1D0EaINHFA4SpbpQKQP42aIFwY+GgoSmjE/9VHKh2hvGU3TGTbNNxFSmSiUDISCJfWP5BKcCneFUpSkOvIfDI/+lnI8sZAF5uns3+MmErk/HP4iMQLQAcQnEgRMXbIlv86kT6Q0whKEsT3AwtI5RFwLy55Wel/4HkNIOoNTHlnJ3OU3IEa9DMkIzB3tFH/nbGIRF3WZwIH6J/94VLqbDe5/hSbtb7YKXBLNwlCqVkw7y8YcrQ6PJoIpvws1I3k237p9nPp6v256G04wZ5ltbaL3oFQ7EcG669Il9HLdlf7lo4wnUDKHAV5YyrQ7fwcxRo2ZPzEO12KST/eexWG6HO0zmdSQLjFSU97tdEAXfH6qjWW5JtBVxCdhQhUpIMb+Emkzvl/oXnlIpq0TsByle+MuEqdCcic+b5kMIuHz3jCfpMHOvZVjqiFQubsej/k5nCC63VuBuSURwIzNSM23PRGvgcbgIaWnbeiIsWY4787ghJURcBvNHj22G0DRoZ06rGn5rzZ7ssV1tEYUPGfIkq5zBwrQw2xonuzBnst6ahtSN54uNv4aKeA1trywC8A/iNunDFGhSqvL9DdGKU8VoGTvxpq9reWOFGyFdG2k4PkHE4yUXfU8qjCqUNUymS9BVFiyIkX5+OokD0QkWf1NCYvNkcydu/9+m3OTH1Yfe8/LoW7JJdiuAUHXITEovqcVNXfR92vKaAQ63oz8mDiOzGipLvYRmDETFvOy3agO+k5uhEjF8HBEpXK+sfXidtINwRfMpMfDZW6pcSksJOXhhaiUAlXi7eFd2kIK34TOtHG9GWtkGTgNVyEjTMk3FNoZ8f2i1B68oO0l/WH8HL8JcU1KwzlpRFvMpbtUFl4pEF1Br/2LY90e1RVXZFTR40wTBodFY8s1jvwvT4u6pPrKeWF1fLwGvwwrTvzGTzTbLeUlqrMHPswuZBDxu8N5Ki0IvfTiEo+smi3oOE2bhLc2x5+dzh2m7PuOgMWISLxYNvWB0dNhuu2Yo45XDfdwi4YL3ZRlg9NCDbFQobCaEdbbJh2hut4FlEVx/JivD060frMOW0Qnt0PruChLTOWSbddAAuDg/tiaMM6vMheidW65jakzpqUjm8SzXnKCKh09JBtiH5FWXpc+GamrZ1hGAO703UeYpMkLjyWQWs8MJGVQ1eZahIro+7njwFn2EhJA8XhmZiEy8VXJfqGy4/+Ho5HcG+0az7obHA76Y2NoVcU/2xYieDjwnsHdanN4l5evdqKBYpjKM99gigMMcamb7rpO1wcYq4eMDnfqjxq3rGWHm+syfyCRuaRQZ5HxWvWtIYEJnxMrcxcJ0esFlDbjFCL2ObK40pvr96fckoR4Eh27VOfPCbP3c00jTmgr+WEDikzDqHbF6O/Jt9cq7b1EVXeBarN18v9dGD0MGqnROPFjuVZQCda/tmdeKcpO+76ttthPmPMk/8OpTaTHME1HedKDRjzzaLYZ66bwv2/UdRhXVacoGAwSqretXfMfyhE9EWluYD+QgviMjBqjC6LmYnXBpeG+RjUlElyGyUjCZ0vFXtmNrcw+57HMLY7HqcdvAiZRZEfl/KwD0mnHMSPxKDJayKKi+aegEQpef9xkUDNya+UCDRj4pJ6KINQweHXSwsKmcSesZWmxI+8g95gOw9A/nTcvWAuEGgBrhTbOmwXVc2YYYpr3e/6Dngo2qgSvhkeayMv68Wl2QNnt0YQrkiF3yn47Oe6TNBN71/PkubYoZaiVZvsavNyEzSd+Ko1WIXpdJibW6A32+1fVPw5dtWMtXCpnpunQTAVJ5vvE52q2BQcS0GuB9MTknhHL3fUxPCqFvJ74GvbSzbzAjKPfCopYzq99WJzsdz+wjX+z4WoXxoy8YJRYchVGXqlXlhHHGy3iqAaQXIGFQIDa40M3VG+TEX5zmb82Y/K4kd6ereY9kjK+BOYJuTvsnM4/O5HTdtyS+QFWlMkIEq9sRPypRHeVXyBxj+NhDO1d8+qOuGCiZWQOnlMyYwvqw4Ju5H7tZPg2l271uJvA1IRzuxH286xOOsMKPFTP6rfIbryGqUFoshro9H3IKOv/Gb3RDI2X+mHWbr9coTDe3bIsRXBDO7QNteO6Q33jpA+RGhdESuj3LtX6HYAWT1nOCUE68SdTZzyZ0EYui4YjmoJezEFiZlPw9i4L8B3EP3irFAfXaJ2XxjMrV8tVc9nX1JKkIFOCHNDgq6xPIcsgIiNtPEAiyBDYIy+OzDPLG3l7RX3eLVfpWFIbI7Q5gPAXegP35W2OkdXy2uvJusm6prDIEfUWlAFSwfMhk+ht2d7KJV+gwbk4pmgUfoajPXYOaEp3qFCMRWs18tS3TnYwyywazbch1brVv/etNqmKNL8xpY5eaVbTtP6veq5F5YrMZrpshNhRzoeCZkX9vfXoilcgKq6N7RIUq5h1mFRb7t5u88OAp9envNh9o4CMRj6vgV+FQlXGVSvW4oRFmOgms8QdoMQMQ9DrQhfh4oLWESGFAvmPPnp52YZWLgzCIJrkYfNRC2/41Dr3H/WWkpQ4UQw9RXMtdjDXxK67vhiga6xE14LKbQEiAIMcn5OL9Lf46QrDIVsO5xkkgyvzO2QaJUYq+aJaYmrMjqOXtg1u/IlF0i15rqdgtyZemzf4uTPqJ3f2rZ++nDyd/gbnGuSQiLjGbvt2I1W1Z10mM1zHPnt3HIuzoxo9MrjnxLPbQwmiBMKmuC79/xFmfomxBmY3fEIMrIOnZu95J0Ta1HTGvoBQgA8fTYbqqR72/MN8gCjzeVdzCVeHG3GuXAEOlwv88EYOmxdE5ojfUMBXVXxFr5tpQMkuku4+bwA/jcV31ym+vP47ROeyBnUTkrDGPXVlhd0ceF4DxSti4XSquem3O5HJYXlBGU6itLrv4ilKQLkCAUJS9utT4R5pTTBhA+fkIBNAIFswIFTI+EKE1GGXO23L7SiUqADY42gzszuezqnA+SPkx8ULd/3qjg+ZH7T5Z4rFP/eIngEDzNHxppflhaEKE4X7M27AvNCW5Tk94j+bCjJhScpHwk2KFBweUj4UB7xoR4d3Jtte2byBKQ0e7+a8G7mK5WwrVCMOpOHAli/vQWt2wi24H5py4+CyZV0cfXhr/LNTiSp0jaj3uoFW3W2K5hddh8P7LbMba91fiEiglvwW52tkM/a/Np3FDJm9L0xizfUFGke5YDt7nJGrhjdReKUeRVMEFm/K6+qGvuersBmC0yzOqSiCQVxG1aUJxwbJ4Xa5+XFxc4so0mqPoyKzKWXrKZRGA2+HKMaA5lvK/SufMs1B2u4Yy/tgxXkjO/oEyn1PGkGL2+4SRKxaCy8XnvNppLGJ/mg6GQG9VdRJf4auNvdX7WqipCx9koQkDjfa1LPMG+LNZZoDZ8/dzFOxc0nJ6TSuJjjlmZqTZRyZElGfALaBm/6smjn/MEm8JiNR4zcCPYFno70tdhT0Rqu0jTUIEtGzQldqwfoAnQeYQ51YJNV35DQ11OMuPXmfTi+RcM1Ukovkq9Qm5hMpyMlLqguBmnOZdEpzYEmpjtSsTuzRZxbBj5dDnUoxR5MLEsUO9T7PAfYCE9Cbc8NSwsAbRvNFrXHLrM1bCDP4A/O893p0B8ZH72eqo422N5G4NvsfLx12JATKA0lIElPklYTgN98se6DPe92IYABU1cSh+lhuOW83ubRL0066WMi6aSeXVrSdCh0Kj5yFRCwgZMFVgdCd1WwjTirkr+1ePLt2lcT+aE02m69H/znvkXIO/AaAkp+xwPfor6ttOpuvGOqY+a5gyt3dv6cpU4r7Uv+mn2S7+ZgJkpZh/u0D77NU5eami01eZZemAwkvp+wfuqB/7O8+ImuxxmF6Ic1lYuTN8khcx9b+L9TAN9GsRe6/jnCxx3X3RdPQT9QG1yEI3/6W03DUX4KI4p7Faq2ukLzlP/ZlMV3qwXy602q/TS6tjSUKf65GLHM8ighmwrVmX+pTPTyGdR8TkHHGDqbRyRnVNGSvdJAvFDWK7NRmO4BZKPiJXKXkSgmwNvfyy+Rs4hC675Pxm50eoGKyObdkSuaI2d3Up0kS1zA+QguGo3lLYWPeQo51sS2+eDn2r6GRZogN/OLnCUsAjyOMd/1I0J7LFOm1Nc/QremQPpOIXRCxqwqHt1ju8eoXsjjR+WvxVc7v1ZK75Xt6V62VG0wa/NeBcYKkyl1ld0a4+u7xC4HL9VTB2FbwLyPXDom8uQb5PwS50C2eBKEJz9JA6LGSXrl89HvxC7A2WvWrStgchjVsmG94mRXzV9Nbfn2hmfarOTU7KnkupL0a7rkQuU1th8QV0hDEcDGWAt1OW5vsuvIx+OJXOcE8qvsIJVa40tYqdyz/uhxhGjTDZCSSdAswqDG1gB+956Dz84Tss3uRkzdbbVPhAK2hZWUM529s7Ahg2PhCuXwTNzgy7uVrXixTDsrKVo1zq2wKdK0I752NDwt1YTprKUIIMEqCuLaDjtFdyH3BXoDjUcX37N1yfpUvkI0vV+ttTFHmSxsvzTksTy4UuM02Kthy3gkZZYBqqI2SB/Ego5zHTSO+RLdP66Dsb/atL1xHzBM1fLpBcZqZGnj7j8XCEsPHOyOAY0z/KJdTmSoTUsUIeVDhRDItBJMQcXoCW1eTb+e+GD1dXu6lhy2aAG254Ddamd7m7AzA5mgTPOpAfJ2qM4dGs5gyD9FCOysfh15mcamWc2UPjyS3+mkn8PWPy0mKCiXXgGdvuLChG7aybrhF2ulyP/l5mgTF7xcZDRU9I+8XAmcW3R71L99linQ8qEstpPIfsf3DL1FXMp1FFXcp5lGmDb543HSQUZpPqn97eiz1EmjxF0YdjtIdjJdyW5Igp2RZiuiVzXs7FlR3Fe+/pT0rjqOhbTL465eRmOgMQHwyxJvBtqLcfIgG52uHkBUz2exMSCs4B1J1Jpvu1Gf2520kt0bGqSMJae7Pvd8hyX5kRXeIdRYU8cmmf5lOudfKKZw1ssexaAQRMXgwAgeAUlpbax/m5yzYXSLkixIE50YkW1m9PyWJ+7faEZnOVKR2Q3yhzpGFeNxLdKQawCjYORe62GGblllAKgrF7eOqlnFCvzWUV/XTb36zPBJl3Y2fhR+WJGBa5hgWQ/t+ZQUE3mDf9HYUFlhBQwCW53ybTK7zosfJ/1pVTfdBXhMkaMkgSUGBrmw1oKpJajN8z4sIg4ti8io6mDBWkymm0bIYEm9Og7i9fcOaadtld614joFtfOTDqqDiK58w3IhITW66t0tQQvSYeDOWyX+anaW8417eAs0wX8iZjl+tItQsaD60Re3zg6HBTFea3afhPEWwre/DUWMh5orgJvdTaNv7lnvygkb+MjS6ohGm0XfStheS3yOPLsnciZi4c4pES5I88qKXKqY4QxTDUeXqSC+rxYM0y+yVDAJLg+0JHfVPxy1eombIrpoBlWqbi/05u6uBpzpoieHJW6H7Hg6wfd3R0+XY5jJjMrpjLOg6zL9mbIeCnmQ8K8HkU90TlYQfNLR3CZQ5aTgXUKPnq9Njg8vhELANFjWiRDzmfLkUO+AC+c0aoVU2F01pAZSCoHp49APoQdvNyg+cL+xUcRMy2b9X7PKOWKZZRky/zDCoIdjue+chNTdD1gNHm92tddEULKmAiHBL/Z7S2KKluNFtjXayRwJT+lXUuYytzm4S2OSxKOOOU+zLrVr1W4DUsteZSgeBBFrBNtcqe4Br2geRgDPvd9MhafoiLilPvzVoI+bAzcTOPF2PbE02LsXSnLF3oILA8Aa29vlSHw3FgoNDgRzh8JveBYUsyd1FFVQ5Mp80uzCGQBB2nvdwPdUFtSayod0Kok1OLmnPor0vuaE/Uqkl0bDaNG15Hy+yVOQ/ZX3lXUkj6S/Fci98FdVqPr+htkxRhyxjAG9ZwZSA5MkZdHGiH11HI85zwFaeDqdd5avOeqILFw/jFHHGkPuVVCBcXLQg5ON65B8ukKMOhY6RM2z5ntK7U8mS2C9uSXVsH+CBrM3iAiGFVU4symM3hY7dY282HiB0KgjUshkaFmbmPveGG62/LryF3VrhzpfRX0GRP4JXgRCT8eEvBPMFaSTOTWDLVpM7ncx0LZe9GzjC07mQWGR/rpymY5IMKfo7XSOPfNu2Q1YIkkr/o4BbjH+hp5hfwN5DmX4X3gQ4CD1snvUp2gaRmzsdc8P9xMmWiKSfbxvVagEvXDvRB4eD8XGg8HNmsktY7BG7dba8lO2iOhpTNHnNPnuSvJ9RPrpoBVTSpSedysQE8yUNMG/AdkRmfK4pQPFw7MY1yT6Q0/IufDzVhtI47wRtGFqNSTjXNAuloknVoHNWvcGdiPEe8e4ACLlCs1dC5saAsd28SnRYyv2Bv6bwT/ZJMMV9GTBSHBeTgnv3jZdKZ7f6SF59qvrkk/S2pDtdp7WwI2gybWvcvtqP8xB7TtgYbKheCrxzkZ8gwiCUryhZFpn43hqkr0GmgMmfjnsYCTtqvUs0dAwupKIKwlmGrhogjfmk5DbD/KJj9trST3RmGdlQT3k4Ddxr8sggI4ZbPFVMzT9k8O49NXt92VjcP6PDyAglXDPiP/JilptiHrApIaXkyA7OHhIJkJzF1GtFXPvMKYr8Sg2CFiqwPBYh6KY0idMSkuFl8aTEdYL66uofOm11yDSEer6VVDeYRz9FNstQ+XJJQogFa9Sg63KKLuUtDrwT0pllDxmPZea4dhHF5pW948Xl9WV6xYkUj7Ob45p91u75O9cgmOnnejGkvnPNbBwdciE2WAQ+jkBquJshTA6SdLKhDXWp/ZX6aSTxNgDB1BaMoDh1dXvRvdxs0U8Dfe9OA6Lzw8I2m1Nk37LAv0Rv9gSJOZL9QWBq1rHALyuc4Sagvu0rCfYOwLqN/c6u4YfsoGTAcGolCbl8P6d2ab0/dTpjMY/FMVAcPDjv5XG7CWrI/a9EGKGi2Ak18Aa80F3xGPUwLElQlhckFQPrDisc/mSz06TYBQVSICnOrZ53wGP4x6yFy9+V89LEN69sURq8eVOZAzQXkMSy62ZomanE7myIH8hwjrnOhdbW0gH6vSl0LxIyoApWlMWkIWh4BEQXIFehkKsnfHRk+7it3IxJk9prQ3vgTIrnhz8snvpsizs9zuuy8rC3+3SAMwN2DnmATVyjyUP8XcZarUoyU5MRI1cF+0FRA6JiulTz8ozgTeldA1zhOn0SUYdsP21j77qD2cMU/NnxqOGgyveILXqNMGPdAtwekkYBVU9hCk4mURcf4lIAy327bz1HoSt0zlM1Mrnr+V9JNyActMllK5XnBW0SaWymxEPXGh+GF/ZyoutDCukSonJ8fzRtUaauWHQIgX/j8wejOoVBkHriqVezLQKk7NuHSq4jehCFtnQdOeMYP0yuYkqlTmujJOKqT0vXA3//R6LWC40wxCXRqzWFIvQxKttxVXk+5LuN+IY7iJxUV5f6/szb/85BhwE9YUdZtWIIIJihgmticUILU/C5FI+9JW6NIIrhksXPRRhmolQSfagI+cyGl/G7xnkF9viboGxpNsELASUomCiTIRr3l7EB6ke557cxaiM2vmXG+9UCdPriOtmo3HGFhX8Ry0cdEfNiYyhJvH3Rhzm7PzHQlWCOxCG/JJYs/pmIcC6ObIlQYYT5sSQeJeXGpacQ3S/vnN7Jgmeh1ft5pLypK+jSm9dzPNynoDQERLPeEQOGfZLUeTa0CGEckGz/knMg/bjzhkKp4DI6PBxz5FXCgSRa1zdeelzjH3ivbwr1LuXOTye8ZEiDjHzqxIdC9eRq39gmmG6tq2QKjXzzlf4iBAtNG33q/V12JshbTt5Z7WfjmL/GzMIS7pvI1jHODNzHD+x26jpntzr20aH5QVWxGyizw0PpnSut+4BSX3d9tySAKibybgp49CbkmwRo045ujz4obly0+Pr3ybJNayLy3OKaqLH5dVYg68gX/jbv9m9v8axTNuiyGOstG4gIRslaBN/mllGJSesqiyjv9Knaa7cqCO0Sq9WF3ICwOpuFoPUnh4o9XLhBou2XLw4DBHOKbNfGquhPHZPhvFzvTcd/Y9zQBKxNu/gUfv4OkUO1PHWVp/YW+iJLrx9e7/SjwuuLDXrfOTqsdX71VkNnWFxEvLT2p0LYkt8XijuucZPM2nyuaV2fLbcZBsbwIJbgFGTjXR5Gs98W1kzrga7uJxMelbuQ3zyLVhPAnenRy89LcqfbuwZPEnGH23glOziuDiLu4jkhc8okbRxaHpKCRGXSdzqc8gQRF5/3hEe12bnVLn8NHxshkoNY2g1qnhE+yislTIfeaPLNwbjxokKmgSLr7a6YotcwyVbpE0kZvfww2VoQJ4EdeuRTOyALtHL51/wDzwp5Hnhp2moO6UHw02mSbMcoDPdkhSvxF3iIMPpmxKOvoob3qyiSFFNa7r18aGo3pSCIFvBgClmibfw8l/1IEpvUVbIwFAsqZ3oOkV8L84pSAdq3qzDcGNlFpmwTDaQvn9fKs5N1dNkyVOCZd3Yt/N0g3t+oIx1QVoazDRzSnPQGlT2bZYufRQZs3Kalq4rL8qmpPMmx3mfj3fvIh120glBxc6jPefWtrVd65g7b3R9ap/6o5CKY/AG1T+xDggjPma6O9PnYFkheysRP5GEJwJxKB+c4moGGlasiH9/61mlEpMJErUVo7WgFDzkKchjmH265A16VusyUWgD6EwDMrYqsG1UvUVyYhuu7plRKH9PRBepEIAY0fao3M5NuwtYbQ9QwPg+PCbTwIJSFBT0qdKyH18NonmkwPCuKwiPwmXRpmD5vh/szoHzLWKDz1mo93QfTYO2injOff+hZqSscfTHrQGnl/a2C9eh9YrIHEkC7WidZCHsuFfaisLGQuaixP7+IfwO/SY92yM9kbgUAw7BhdiPHyi+Z5Z/QaC0as8eKsxkXSaxG3bWwN2jKpOrxd2BG2z4z/MFTCImyxI93TkVctNv2CSu0s/xsBCyrp1W3jKYYob0zZ20UxSxebGuihllug44w/FPTbrvxBAry85nj6JvI4W0v41nqvmDu5wgCZtPfk7SrR44+lb/JR3VGWr3MnPL0uldpCQ9Ayxtp5Q4tUNtGDUrFPWL+9EgmckHQz4yTySQuSR4IPD4QsD0nYZ8zkM1xj81bcNNlHQxvBGtFyMoKqcqzZbL0JH33OSssNMonTFhilMFxGbJ40qBaALumBs7CjgUwPh6Z7jZ5zkjQ7UYz5+thNlaamQ95vuFhvpZZwSF+0VGVtVS9RUtEVJ+TeLHShFHFjP8AMIilXtqcg42FKLZE759khyw7Im+WUKHjv/M9Wu2ZhupprGtZXz2hCtEHCn8HG6ZLF11TEv8Zf0a4yNsg2oysrXHBp+poRpS6SYGAGVYJS1YP+gd7SEsTVfWkpt9HlHLw+DA9LHWUOReVYmpBduUwZSA8EHPOZ9vxpkM5/Lo3jj1yY7Hrv/t3S3yiCOwScOfFBZGYYCru6y2pQTIWVYrwSwCHUMLw97WCB2KmKHJTnWN2dkD7d6cLmjONajeVJOBjh3piFPAgDxE2CIu+60ymlXxnmhlycYl8GpsGr27AR1UcRMpLoU0FT/IksW5vzQaKpiwD23Wl0LvUSzcVGdF34e39dLAepsGnedYYBCzNQd6UKViE8vrNmrpmdTnjAvVkuAMkT0/sFH/TuzgbhRoyrvBEviDcsO32o17Jk3c9Q1v1UgnZDw3KBN8JLDDTTi4vkT23RIhkHeOUfgEJoavdjLSHwJ6Jz25JtyhmfdXjn3n8NXFeIfpXyNVrAJHzlokSOiKaHlf5bKceqWxrA3KRYHAg/N+4yD+Gem6n8RDB9mbc6FjKjImKes8ESUtB+aP+Iqra2v1aGsMdnGEdtPLCTidAR1BCxK5v3ZxXrz9O/myuQ0lLxDi7vHYVIJbxr6uBwD+T2d+ACmgMG/DevrLrNK2MSqcnWnFdmdcb0vbYOKvFJgihZM4FDAFrFl1dd3BR7M2om5nmnFNFLksdki2M5Xrt/0czBMQiSlisuy5D8/zrzIrSAR/hyqzaC7y26jgMmzQNU2LHs8XVBzsm0fdljdaD971zK8kSrgegadjlds2Lrz8xEJKvTwc5kXi0GSJFljcMnvQItsr15gIpMXI0UiNpZBJi9913KDCa4T4NfFcHaHAl/Vv6/oKEQUM92ImPnGUYMFE0L4g2IEmqFePi/G8cTlR4m1gvL+XGvaB9uJLP4lwwVPBpQCyJov+F+VOmmiEAMrNP7YWrHU3WCCpUOiJ0TqPLGq3Upc73NYEKa/QQxurvRRVQQHyu5c43WMgtoCv4+U7SJA/0VHdYaSgaoaYL1ak6GNfYNr7TDS1gCkGbxxmfqgDerUus0635vSDeCGMQ9uVUQ6Z64g2F3PlJSyGgJk+BilPkMezneixFAqwqjivKmvb78epxPsjDapfBSmmW7aSKhSevkLcfsMBh0svzZytqy0v5nkeuk4kq45QUwVLxc2GoR3DCkPxEn9xsjvNIyUcbYrLEgqSqeXF4SrW8cCd5HY+KhRq7X72+AQCGnjA+sFcZbbKIgPMIUYpZ97AypjA14T75z6R065ukRksDb7Yf/7JaDSs9VduIAwBDbv57VYy5yTQMF3nxqXgjLj5kNEb+DJHZb0WNUie5W6ObHXzzJRy9ichhSt4bTRimWZOrEswxEmkoJtVFPCxcQlHk/zGHnuZfTOr6BZ6xYXYhqOEiWbfPmF7p4eNZjr2V4q0GVPcAzToQzg77EVZcGfAOSsEy3Zr5XOhzwgyigw2836HacrU6OGnGBa/mFTR396XHOScpaJsYcGmeWblkrlP3CxB7goEXwmqmD9k8r7YnfjM5b9tTYWZ47PRDF39/F5GvKgf+zpkjJjQDz8Cy/H7WfpQjabxFrJJtkax++UmovJZENSz9d+Lx5ddoYmP/1YudWrjtneVx/eFDL89g0W1lnOd0+Fe4f8ugYNfTakHYuJ1FITgDZArGfHpIYs4uG4HIEml5hiKd0nC/dDbMNI1osVB0Y0f0b0b80cR8dcaYoFdmtVjc1QbZfqv6wytGxsuvVDJ4f9Xz87K8Weha+aPZ8+pgdKU9FgYcMkJ9DjuKowlZEAG/MWfWD8cjXnYbhrP30ZNWTRlvmNaR5z4gvFLfa3Y2QFr/hMRB0DdqoYnHfDJtfL6Fi43dydRUQzhirrJytv+GaF24N2SthjCWiAVw87rdZRrbjye8yBPfvpx+9nFowLFmRmAmj3KjD59aZeNkghFViUR6SNzM395AlbZLW9nNlXvyfsnr+oCvCWYnRR24+M4X2i7xynyrb2Tyv7IuHnSClcIn0qvEdCZhSBI4vHm6Gf3XkBHyiz/8Ap+NrioxKLGrmGR6Sc/ER9hqeugoCrX3X3Zwn5iKX84zXU4u+yrroT6mjpMV8poBCZVKu8ilvqQWLrLvvIUqgW45TC3sKs38kFC6cCyPZEHg9pxWeIIj47QT8vhoqX4NqGBQ2rG1EDs4QtQo/exiavGsb0J2THf/uWZG5UycyaURRIzFkxRgapf87II+MXqNMN1aSfDkKstOPql4YOH87wlHqqfOg+h9ugXDi9lN3ehNdXTEyA8c1Uj/sHae4wgBZ7AyCpnNprP6yyK/VULDtTdd8F/DamCuexBs11RYEh790ZjFW3qYBFibyZAtm0a6wGk7DBY4Tyz7YD1TmWPMwQfe/e0gi3wE7E+4ILkkwUPLZKj7B6rFShwgQQ1Whdi3TXzliuA7ewwINcMttkgayhOnA3+HBfdLY9WaS8KaibNsNL0CI579XBHZBl1FBnltveGU0BTm2pEkt0T8rwq7aujg9eJyDI9e5L/91X2J0DJN4k6ndQbm6R+IlaDI9juaePGRIuPaFW6v7kBKYnFHthjQ4gRvBOq2fRng8ns7XTHWBadtKN5RxPLW/3hvqGtqMuqX7AQIf6n1HkD11D3t62FND9LFeGzh/S0fFF2emvDYUN/kvuQ2xLNMdInHK8uYHYWkCdeOGy2c5fzgY9z+Lsv7rJHY4Pf5Mv2BTgvTexybuq6B46kbseG1b4aRS7PMynMICJVdrrevuJ7ZlB0Pic8x4rKUrN38hGjdYvZmKCUGpJZ+PzWB3WX5MBFEzTqEEodPz0KYZirEWjbuNAQQ6q2r+5o0M11RDGD2neYeGitDyL2R/oTop9gyu8zRv+bmXMQAdWxOkrJFSyqV/I+tgm/JD0MdvCbuOvBkU47/HtchLY4Vcyc5LYI6trU+Sa6aOe0strB383r5zodTH/jL6qO7gN2jHi+9vCks3Ebhw2IsRQDSFxqy3jts6SEihU7qjvC4FtUifyG5L4oyVONL5tPdY7GsC9FqwStDHKVUDMLoiUDusBpb1zbStHoY3WnlzUyAI32ubTYLAiDawsAOTEfqgAWfY1nsQLqPzQg9iHaVRuht+dJyflN8miDbF7t1Von/JyVL6hcObQYesWcFKSSiRYDBvcd5HKS/1uf1X9LTGDPppF9CisbdmajT0E6XH+5kZBDfFGIZgM6RCtNhujlZJbGO/9JL+kUS7B5uWuO8ClGsZ8lBlBVadXuZQOc4y5G79HZxp/upX4tb99nFsnyBF+45uxeAZza7Yak93LR1CTus5nTfllzxdeulqTV9VjQRUvD8hfMA/cAM2jv6kCAUDtrPJ6PO45TCMrypJa5UpPxA752BBv6wQm2baHtrrId8Fysi09rigjHYSrORiHWGLGmv58K55wLfK8PKORTFwuoDWiqxOgkMKdysiNdms2Fb3En02ha8Mi9ecXORVcBw7gC4f87x/Ou8nBQ7+tpAbVTuyySyslo6aAgD+drSpkgJjaRTEGSVylVW3WTC1lasUsUxqRrtnHAjPMqrwkshA/Olw8z1GcEKxiQBikP3Xk87VkaCsOdY/Le/sKF9WcvkBSFPqvC+yqYLJ1vHBaMTge/fTMrNAUgQLz5S+TPvHqdGyMTefYYbMd3QA8UcIG4lr08h6o+M0eMViNf/03Mrm1xZ1buC5XzQiXpz5OlCyt3y9xGHt2DLPcONtwFqXc3bCj+EBrBRzke3QIhk27IN4m+FAlRYBJfmcPYklanMCmLlKEyAp+0JBjGOBuguNZVhRskpU6rN2L6uYMg+FZXRwEcojxIHAIAiyBHk7grg3Y3OCFgeAoOp1Cke8ZSi0dM00umOVzt4OUsV49ZDwxqbOK5DGtPdKcRhBlzRQlpOSD1ME4GICWqXk9n4BtBmRE+kUcCdpT4whEmW8vytOONZ65A/LYgKguRnfQdN6fR01CMO3Q46Vj/a36fZfhvBN+XSLf+JvVMI+hQSJgU67nB9Ki8u6qwBSnV9wdeUI0zik7kt+2gdzPuSF0JdypyrOiD+LqBGtrd3nmQ0745ukrK1PNLBlKOUC0vVF3c7nJqcyUeTUxhYzThyc4pirJHVf/5FXWHnSW5IMu0mhBb6OR0GEbBv3cPP4zm2+o+FUs914C6VDte9h5hU9Pi/eqWNNsf4Rgu9X7aj6Ftczm/pDOs9WVJQ7Ngm79KulqLcOVEZZNptyoRoqqAy3Q9IRBucedqwBqSwZQ2r3mK6PJbrgoOO93Qon2E7jZDLCV5qDZLo6BvPw129uMaOmIU5G6MqaISaTj80iP6VLUvLGZ5ZepPhIXN0JHC5nMlfLkZPa/109m/d4Ecpixw1xyrGvr8f13aQ/jAsC8mHpWPKdCyClsDrfu0jXeP7+RVHgfSvjGNyQHYY2xY2h9oP977gY7B9i7Bur3TuVg8LrDnbeh0zfD67RtrKo5mXagQ1Vhz/yTyV/WZoLjnHcj+BXdnfZz3e8SuomjBhXCEHjBvrPnBm28qxBiG/PW5mb7MiAvnBDigSBhg9hqdgvM4fN7ws4eEsdS5iRS5f7aLH51X5CkyUp2yQ9WiD/PLLnIMi7FPUiFb5QEszW2He4H0ecRXLgeiF4CLWbOGbwlC/iyZi8rI34TYM6PmXOm/e0fhjHGBAR0/Hdd+JFG401SDAPJ2j0nmIyFA5OI2lwh+8A3WoSnMHaXNzRGBiSiRCurH0lBmkTHwmVqAv7Jgqr7qmr1i+Wt03RP+U3Pg9EStjInmmbs5PRMtf8MlrSf6x59iont9DN8pw6hKKCiLPJDgeXyGa2wzjLsPCrMMLG3Unc/RDlJOcjEsumhr9gd8ZmaB/x5m68elljD54DH4AvZpCQb76tpNWAjQxmFE9GfRpxBOwx3D9kBjVUNn/vURfA86LKQWUuxNIjMMgTdJ7Ev0+bBal1Gr2OhhowjywzOclFRy7fXMPq4BDFO1qhtc3yq82ZQqheSXqnydmFiJuKlKVUeOVsP0UW9hTZtDSjBfQlJJSBtjtC0dx962lR97vLfXpqXf9Tq8tIi3zr27YgrYlXrjwU3ojp+8XagP0R+s5WIRloDdEni7l0jFZlo6WZMqS/kD5JJmhANQ4sxTFwG27KIMtsptE8J8DiCacECC0w14gzzJ/Ib66mShiwyBSwZuKVhNMoqpw0TreEgwiXK/c/rS3Vb+OFgjJkZ4JABrVJFzKbDHvhxK2mmSAPVgvRwy228ADcVXjv10zMLWChTh6o5D8p54nhiNhC76d/9tm3ylhYmrs78feb1LP3+xf6WZSJf/zsLausxCGbvtVe5xCo3F8nKmOPx/g4SNXigx1Y6NvwSM5i4xPO96JitpuIpwiK10wkq168Tz7Ycrzpfs7krCmr76ocVSJbEd8pTKayfX1jUYTQggyMfk3R1beUBVpyjJZRTV9YsFUAkaANf8okX7fIyDLjmdHaf4vZC2AIb/DmJUH3+4TkeVljI/5HtqyFJao0+UxbKQLcqvp9EtiCMgarW+60mQG6gEF3HXmubtDsCHiK5g1L3rVU2JjacKWL0I3m9xFfsg1wrTs2sAjI8SngfpHBM5QMBh9DMs6L5gQFriC3RYhfPEZ5+FHjRU+hUqn48ysDGid/IlQmU93IGi6oIW0VdnrbnrZRrCICAcG1m+gbU82Z/WfukziwHS8iE6LOF1UxpnS/g1UDjEqU2j11xXmrLrlKK7PckWnzPnb79jYzY4xjLJbIHHdcRiNys8HVmBYXK5Vk/4SmOfyYgo4MVH8lLLPNqbqARlTSFWmQdMwGBps6ZQRX5JbNavVg/8j+SIDjCND874ddjgXxvcSlbae9zm7UaU2fpQA9RAvxWPkV9QrsVHAyFjZgdx0IqCNdvKU2hoS5rLAu73Q=="/>
  <p:tag name="MEKKOXMLTAGS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/e29Lp16KIE5YFVc3JJutLLy/A4roDhdVn2Gi9I3acbOzqtuPOpAkXGbqzgVQPee5kG2NIJjNMRNYVkWxAJXHuDZKBm/i4l7nX3TJjtfzkaeyNLBK5yheevXhvEi/A4KdYJ5zelGAh02Ybk9o2EhV3TPjntPcI6OjvzoVr3LZY/U1oJGvAwcE3awE26RzqZv27hyyg1Vr8b5q1xGq7qUQoYdAy/lauC3Iy2r78SA/kwcjIXgVewosyHfZdmgknE+Z2lRKgqC9m2/ryekF42wzCQN9wzoGVyewEkxsTPHWKtI8gpMDNg+gfEZ2bHmycGBUs9dapGonZFmjKEqG8UQbKDwQKWWeDP4negsOdO8ctdxU58QUiOqwoFysY8A0psjGQP4XPc0nS/oomVVU1zaFqkwxRxo4sycp+cVyKWfKBcdSkSktnzCJH9ziYTAjPSIYPfHwzTFpNsw53Wha4gPc7FopcOG5GlSC3rlcvFv0QMoAGpDOMWCQl46UzUD7CmoDBsZsaJ+DIySdRWASFiDnDoxslprtvKpqeXl0INMDIiPgXwKzpoO9z2QbJRC2YPTLTzxcNpmJV2hTndqlUWbh5S5P5cG77snCDLYGCT4jLz5duMiNZvlDeaSq9VwfpKYHEfMMRzITmGHVQWDwT4o2boJ5O7JtzcfgHWwY82IFQqYknjX795QQ8jIVEMVBLZe2I4FC7EhFmlyIBsbGPNTPSkwwlzb50q4euPj8990X7HdvGH3zf/gSVbtQUfkpnWr5yNPptmN/TkShY3LZpAJRGKI/la78pI9YizOdpM8QDydPd6qsmnmBxbHqdc1Zrt9lfxivGgZUWxk+A5lOHNNA2kekXVJNF6PQfdkyvlLfP/p9Lv5sr7SIssckLqMd8o1yj/Zo70zW85UHdFmuS2SbyrX5aGJVMYgzTzsOModHySg8maX4cp48Pq98cZ5uP56+uIxeJGPBLAtibWHMgvpFu2NGuTTZLf7U8Rw7JvKGoS/yaqM7F647BJ4yt2yOY3yLO/Di3Spvr0rvj5k5w9JwSSboaoBsuFWAj6I3TkkbxPVlqXx9d6G12a3fXbi/6a9gCN098V3rvWFaP9/qm1gRFslncOurm+rGw5vGzWoq1aIgvSC3ov7Eg7LY2gSBc6l0nA/ZsGot1W/36q13oE18BA+clhy17gYV+BoBg9YUUXpcfmFPDS2kDEFz0vifd+rvvCIQld2lYUIIQTaOpIo/dX7L32Gh6qbIxH4GYmp6702K6btnHwt6Pj58A0EBARhoybOvWhX46+HFvN8eiWwN0jx6vU/FlYrXVs84M+7ZKpD2KhgTeN4hIcvpO3851or5XNIDd7MQQ13oIsX51bI/Es1TMR59iJ8gwTF55Z/TvIxtQfWqQCGctV9AnCxAFG+5I99hu5e7QhpgKzIp94bAj4VsvdYpphDVmwvKyfgZ8cGg8oniELDvEnQEohOj/SwpiikJwwXUBG5i9qUKG6ZI02ODW38+SZmm2fdvTMr1MZ6t4ZJKN4dBT4fDERc85nnralD7+6hC195VW12Xj8eIb+ZfmQfpgHaBbHzzUt+1Txga0wVDLaxygrUQHl0nGLFknYYJeuJWAEpIl+mWxR5lcJmkT2iG4FEEmIDxmc7wHDANRi+DYYxkAQF/+uraT29lN5Zi9ptIpZ0NG2pskI3W/9TgGfyQWCWR99pJeS9T5X4UKaR83dlTFlWWqjWCjiwbV+D220DPCjyJNY7+SOCrbe4Q1l/z4fqWahz7QqYIIEhgBCmFZ1FFD4ruiKasyb0wNmVf9zaaNfJoOWq4aK2gluRuw7gBOL2RZFUxjQxYPr75Zp7qilTHe6q9ShgXV8xAxruc046uAnYHTCZt5FUB3WuVXw52jp9TTcrRfFWMV9IV3zix3UBgpkZWFWKwX2nuElIdJ/O3wIyVlw/YQcmsaAMTUs9V2voCRhBR0s6kgvUIOghdz6Ku5pjniglXbKs3bWb0WgjCDx7p6Wbu0l1hYwTYV+3FMHo7h6HeSTQCBjZNxp7WT/qHMj6HX5EkoJHjokuIcO97dS9/ktZEqv2tDJJaWYIh1yeEia0qlLOUqxz67BhXuwvrxhKQSJ8ofs07TTW8n6qbxA6UfCCqNgPGXbSZmnzC9LJ3SB8myxm/cuAUpJeSWEL/8w2VG4Hbq6dH9cSe4ZtB070trO5GcQBpE7YXkY5xwZyzlhjKSU6xO1Z5nsPFpZFybyc+ighOcWSW+6PfcG54Flv/wlSu9+vEjSqa9b6MPSz1VnOHIhS9WPzhEzu3/MhVWRq+PVazEnzo10pSQUgq81rvFGZL8n1r4TVaxg86vlRu5moHqfF5ov84jVyv2xQPXMeKcuTL36iWD4/r4oRAlOLwF6SKTaL6IaInIovfndK0c/HtrTfFG+KrZT1idmT6tPLCBbveVo5/xjoBav5czfkWJGDZWVvVtyABo3TPsYq0UnD/7oC8+7HOZ9txLOqHZC7tSSmR9S/LXPhRs5KDtzBmoQSBJZOizstpGBwciOMqz4qQEECzcnkueqBzEk9g/kFIDn2UtvKqLfQtsLqMkOTc/PI0LH5YkZv0+1Sh62tv9HgtxgkJo7DosNCqSJrl96NI5ZMRXTNUcL1kGYPny8QRxl9ZvfLMpYMKWWN+FRry5KheVegiqd2SZQgUc5J/rBtHmyMPAARcoIYK9eq3+Vjzs4fuZOb36cyhg0yL9OV6+NlBoOyKkc5hhZYrM44HhN7cZPvt8QErlJln+eZJNrsU4x4jKvmit6gieL1w5ltscgHDfpdkPWfAtNTqKc0qgEAGpguhQ/1/IEjovbSQdUXjUask//h3ohc764NAtbjqE9BEvA5QZ2V1peAB+84y63vxqBCmuplrbUi97ww2xrj0D2fopQMUy4y1cqpJSdSjwiPZ7Hisc575VTYLvK6JjiX1Yq7n4YtKhTPYN5u+QLae7pFKXz+6J/KoYqDEq8eB+7J7eJeNhFJ75uNFhPhHD/0Rvtkn5kQCjw/oPr0ci06unUNr2+F+5MOrnsh3EtjgxIlADAlryVkXfUvyQlOb7zLNt7E+WEHSAAH/almUi0z5OJhPB9Q0poRwOqGpkkB4JrFTRZa5Cb18GTxpNkmZXsP7tnd+C1d/B3Nr4fSwYryF9OK07ORoMRf1C8nMMi0use0f/5HLXGiE2xO7ZpXwRscTsqSl7viHiRBYmrr081tLY337+6d2Mlh2L6dcKBHESf1jxFbAE2ozH0Zcrl0lzUPXsGfQ9aIeQy5lvfyITcZxMNxKJ0mwMOed+0BgvB5ZtHuWIty6H2y4ZwsTL4Vr8KUfD0wqFLMaTCsUbNXrTF3kZYLoJXO7hjXELpQcUeta1jRU8flEvqqBnaDwcWojzem5PEYeR6Bjd5oz5HLZO1DyWaEdWO8RFA2MLlFHGV62sHvoTy+hNPRxZVKrUm/c3EmsrJAGTqyP3FK50oH2BcTT46INy5dZeUSzypC5QYLQz0AZZnnpMwh8F0UyOaFiI7p753jhiSOU00zmnOomr9ICOjFXqpfZG7xdJwFefDwfiEK6tmldq2m/vsZkCmF6+x2YajpAuXfwbsGrPR4ssaUlGNm6Gsi2HBHbeSgBkD3J4BYeJuDuPOvAjXRZabuxkBONlDAPyah12atCw2bALuj+vzB5FV7dKQ9bL5E2DNaM5HuEplWD6IVoFFjbyiV4fUiVEnLHRabVwm7py6NdmvZ9c8XjX9tfYuLsrPDcAAamxhR3CG3qEXsMUgkDNFXxfdxmdyGzjXa5mFC8LWoH17zBJFQkneAosPnZttnoBSItyqxe76x9lBGVlzgfpBL70hRukPCVoInEjcdiBVivDqRfMqVMIdKgi/MtIJ7/xNKMxvkPY0mkEUIi7Z0aTYadLe16j+nQXGXccaV7Rt6VSAfHGQSlugOdhEv5Iyy2CKVc3rXsDZtJc1N4cK1j3hLfl+nALTPWKmRdZe6xBWEQPO573Rgiu2x4ZfXWnx8VA1dAagxzrp6gogoHSjIkchpQ1PPxDbF9DqGHB5eOo9V+7FmmHSIYf2XdaxAzL1R32rzdrl+dSpmr38Gr3UE2luG/+QpcNUeyzYPy7VurcMXmbaS8hGwwJbKF41ksNthlgtJAGVLPpt831EvTS9Gzs/yCrq7iuyERb90nQufxqFtFvyA0QsG74UhglMJtWFF011eHSqweSU1r3u5kCh3pp+fcYX9ZUb3tprkaInIKXvZiPas+j8JP2L7JVg+9diwRSKMOyoiC7mKeaioOuCugbbBMowy/PTqVt3YK+gt0dJ6MGOVNs+ks01EWPpIvC8FPhdlS5r5YLpQ0zBGKyHZzxaCifD3pB4krbWgYE4uKj8yWPsPMJGaTxOyycMXyNMJsPorXjfOqoxHJvQ8fQmzjma0LAgkAGmAzNmIJId3pOt61MshcFxXbBq0T3BNRb8CwOEG/lEJn2Nc9NnHQ7PlEK/T8V0W1oXwVDWbRJSMeU43ZyIqhWmzHRevNfxEVqIMTTzMG8vAFqsC5uV8VAagj3mtCy0fHqcxwmESYFNr/xU2/iaOz3NF98ALOzlnaRTDdMsBV5BQqnmudfL1/XVcfJE2rniYH17IrLNiigQ5t/Xe+U6Zc/DYGaVnOm3oVLzdqgb7OOj/ixlfGFjUrRx7arZFNHFxPYvppjPdj+VWbccLBthEgrhhZPR61J5PF+/cr0fzMLvcsitCzaPXCZIL2P5aAJ0tGm3FbQkLQ6EnwFcPqEXWuN3slSZGjpreeTt2p0+OBPo8bemuFhAkZAYMM8P9lcvIu9ir9cHMoQzhstHJ2eS4tFyw4wOW+JLWh+uwiPzEWhbqvwl1AeEt9jHYpvrLUgFO1CI6xH5yDzKAmGMhXmE/wa9Z/UEmHVcv/CzIkVfjh47t3JMFn2y2+ekb4Df9k/o5acF1Btia1PZXoTXZC1wJbyenczNNPn/re09Tns3UxlA+LY4qh9FglRl9EAm+609pf1IOUpy+xbMvez1DMvu+EpC6L1ap/EGgmXN1An7SAcdA409GqbhZi2PDsGTzbUtvZ1/0aat+ni38jKO+8p9GjaCy3P8CTq+ZQYP4MWu6SPYBi/0PZVPRZ5qjZpey+QyG6KgPHLMcMPEFvudtCEGZD4qUuYY3QLNFrmt3DU7EYT4T1NMnwq610y6haa+jz5HR73/i1ycGCYSCC2XQ/n6QfLSk4OfQMGo5f6h4SsaLWUkFphMeUc+sEL28cqVkiePVbNpl68OV0+5XXtXn7+TAsZ9FoguDryVxqW4fzfLcwdq0McgecqR3CIYzaly3yScHWCbmde3kPd+O4RwWlyT9RxXIFFVb/ZOQWFo3XfJQyAlXoxiVyeAzX3OYsLB9nJOAS86Jk+MbVZ7bOVB7UHn8993dUtppOEgRQwLjiDoQYZ9n6Lq+1RLysYCQix8oDGES2XKGdL7LFbxgVZk31uv3SR7Rst6k5734B8ALrwLHEw5B211oGLMkGqlyJI9Jvd/8NyxJFWehQ8a4YXSk759DdFG7YBtOAKaLXCLFYmdv+nwapQXneMevZrN3T7DJe0ZxIqzVypeEXSxLzfSHp08kHNsREN2gZaKMbnwLJ4gApYApBnjNUL5A67fsyg2fd46DbVZY1u1cziSkZVHuYnOc4tEfDkV1BwmreNY/qErOyGeH+A6P+Vx95AxaUqjradR/BDnLoL0ubiarZYqkmX7Yvul1C0F/yKhD9IS3B5XZKiYrLamQVNXYbnT9C04pSSmnD0FGpLLT1wIxeLitAaPD4v1wknFj1W42yaIlO8Utwb5AiAHhIkW/ygoTPQVqhb0c3IbhJxlO9tguDajAe/ACAU7YgE2CXd7luVw7uQRL0NBHXX7MprpS3Fwwrg1xX7hYe1zyeBtZwZ+bgZyV1cH9EJ7EjjOlgBS1UrrKYJPSsnTAxdHilAIJLdQ9BsIF4u2QontyxHEjVvDZUotDIxtqhAB+T+/sZs/qAynKyOy61ghY1uPUGYISYYlV7E0N4z3BaOddbQjYZ4ylBoNrXiNK7A9ScR4ECaEy3XpP6y3MKAxRBndoK6D2glaEh11ayr/owFpVNdk7CzsgyvJvongIdLqFdDl//LRKi/MChQb8oOAywvKJEBUBafN/5OXyyg82Hjok1Q/97cgMagcktk42VdI/OpeO5mZQaltDhBBnWIA5Y+1QytN214OfY0BNLe6KOAAEQLt2LIpEt0P/39MTb9yYYsJkfRByojQckrQLF5T6+WDFeO16AMuM2fBdwdCijxvg2lS4oPA5JcSIzDw6hiZU1+o8l1Pt8EdwWsGTghSh2+EHYF8V+++nBtbAXyzPZSWvYj6MaCfkeW9vcjlQGguImIpE37iSULeObsYt74CCBg3PJrBepBPFtN+iGtDGe+RsKfZqUDQYJjXpy1086pCOH2qUKNNjKlP6uBbV17ppJX84OgKQdqZoygPYB/NoAhzYWBmBfpY0jC2eQ2XaDyhsXSadehZEF9mad46ZBg1CU4J0y2q/57vUQX6AgGue9YRbUssJ7Nkjp4zYsggxrM2lHz+bicaYqoHhPpLoiFlRRVGb4+fqsADWVSXgfffVqv7RaLx9I0ecHh6fpTSmUBvST4e8DW2UOBQVMkjtYykTiNipewJj+8cEoHrhqcZScEHFLX9YnsZwF65Gr8HTbpz1GpQuhTanvgOfycpCE1fdzYvrqacdAMVbIC/u5qcZmBPlgJtH7ck3LgN3da71lp1NqPHVlZzv/wDS2y3/vB/i+u5tWwrZtpGJLGIHPCusQwWMu/har9hjLK8ubjgfqASkI62QbvXleu99tdjD0fbLRLbXE1qhGtPhqst/YQt4igIsIU8v6uUvva2UE40hiyZMgMaXgMf52FxIzyzv6KHyTlVvSKHzTPgSfQjzzQSySATeHpEYueAgoF9mDXf6SL3QCV9cO+BayuXHSpSqw9zgiAtld25FNVkGfxbhtihMVdRFKWA8UvG/tkdzZAInsRoH81s2TY++23wFq1kUiIztehT6OFXOxeVa+hYxm7OOJ2La+OGW0D6nQ3H3a7T/Vfif392n3YO5stWwQXyRIsGmsUTHt6kSG3YEXhlkonhjdmymkH24jm59oraOoCFvpaAv8dtTHxnXjSpsxYkh6Q17g115Qv9fbP3151TMifsYGIa6zghQqf+0rkmuYuGptPA3brFx7QbGJKROx4YnJ/eoQrWnPwiBVgFT+nj5pJJ3fiIYyw3jt6Tish/+VJqGFLRH0bX3JOsraKEHOi8L9sGOrtlF6No7q4XTk2v6ltWF4f4GiGVdmotA5Wyq/zLRcW0AdcxsYS5XcSvgmhF1oIxifLBkOyXawzaoLKazXjDGOyNnLCH6MatvLLi6hcF/re/nH4eC4mjykQWfWiyHngmYo6NrDsaMxeJGraawSZiTFU5/GLd4Vlmo++sYOPbIHLZkejAy9Uw1iIUtJAcIMFQSHVEArADWTXVDxfl6HdCgYlbyzExUK81xbfqzpacZN0DPHxMW3siTu0/T9ixNHL/7XhHea1L1NZeEPk0c8LJJmFgxixq3TEf5KnV86up2gUQYdfw1DWcRZ80Xu5hHOVpuWt4OY4IoAruvmg6yvvAP40+M+szsCooT+LG/B5T3p8Snq9yMxQ7rMkWC+kVCSJqEfp6dqqGf/dBLLwn/AG13YkppPnzZDzccjF1kGu4L6iCSm/qKQBVdsHytjQlUMfxx1hIw7Kvp37zy+ekjEm2g2jhZTQao/rMpGkbioLOr+uI8vkx9I7Fsm17z1mrS6c7xjExFjfikEjjqqwKofO8lhvVxIpxkex/Ajq4N9Pr5SGZ+fKXSKUFOXrjpoUbBa2aoXYoXW3ywp7sOtEMrBWTHSxLPDAXGngSW3Jtp6EoJ3PUIFRIG+lXdmehpgxZBHaRYFiBCe8+qf4G7iIIP6sgopOeruYHlRxjHMeoJsTcBh2u6pN81jsAnVU+mI/Ae77MedW4XX03bVR7GDu6llqIOH+HP/xZpl0/MofqZUk+nv8bspJ1itJbCMCnvhWYFJYg4OBaMWlREftkfCGI0I/QVfETuYGmfJneqXZ7I3qzGK/XfkQ9oKa7hGZyToiJR4DPuXfr8usX45ls20Yp5UxzDcGjm49fR0mfSP3dSYxfyMs5ExukgNxLZ522UN6bmcmBHb3IzSAeJvepNyj7qvVKhH5tcO24U9xzyElCHKLJkFndxGexPXU6aWTRLvuUllPan1WCgv9K5jp3vMTSZSgLIv526vXjMxn3McsMDfMsFGHUM7vBH3bv2F+Jzjh0F88ROB1gqwoIqkJnXCy2lc/udrme4FYQQcrso91xuXEQZFKXNF+EKR+Dw2vIrG34QfuG3/+t6WENVA6aEEfO8rksSSfF+5qa+U/JRvy8213wnn6WL4grXUhJylMIcfIqF5Zarp3cRLpTB0AstctZoke3m1P0f6/gPqEP7rfSOyC7LjiCbiuaDsU0G0YhmENyvd8+YVQeNvenHT2HNeU3LhLA3HdWIs5eCqPmwe0NOPcBag2Eetw1K7m+M2hczzGTKQ9HpD4ma+dWPzqCHx/nVM8iOsZy0WJQAyR9UrF8Bc33y/BZet+spWe8rAH4AXNjVgrvv21faxglQhMz8ZXNjDM6DII2X/IfTFngyASTbhmJHoeUrjd6vcJNJbr71tKQzt1WF7A+xP2jTHJ38ZgSX7nHvPyQDglXKlcmyKqHtvnd5kgSZOoM/xYYwSG7UgJu/1JeWeJAl//uirTwlUOCQ4a56ezVztkhZzoDWcxSwbzrm296hLY29zIq1HFvtsVAZI7WgQQ6EAmx8EtUuz940vF4PAiNjapBanxD8kP/+iYLrXyRZ4ZqTWSQu90xkj3OOLsL+mfRRVJRacAg0z43GNn5aZAZIM71tk57rpB63vj6bOBduV95WUbyj1Lj8Ciw8fyY4g9uV+07f0KN/MbvnizIAAtSZIW2j2OvU5aHFri9kbBjo9XunAcHcwIPQmojXcKW7nUfWc3haAGjFeIQWOcoSxrN/AcUkBQnO9bTca2oTEvCT9zwJRzEt7W5/q5UAHtrObevRe9Ujw+4Y0cXU4CWf7pRyRg7frgA01P3KNADAHQlnY4EWtzyxGPPPA4SvL4nUW1PNTcb8wDZ2jTURW3iCW7MgIffh9gn56XVvEHRri/KuDa4ybA3Ue0zMKRwnpP6WMe1dYs4aZ2sBVTlC8N7KW8rUqQDSmspstZ+twSnAjiQirSFqu73raIl/HaGJ4w5hrzbEr7QDaf1dM8rFFC0bPEkI4PqvStQHsfeM+iSDuBOdd4DdfgXMC3vbnVIvh1CE8kGApnR+4nUOxzr4j866uVTy1KB19LIG2vJfQG7KTi4/wMP4MRjVab87RsSy2+VgITibJvGbgFs5ULKlkwZ+K8+BUmDLr50jcJbEnrPefeFtQN6VOVUT2xQYvgKJQ+fErerT+3w3J/OscoNwD77lyrZxtugVKruHXijC/+0PC+rphj3HfD7g0mWgfjVJ0V62EHi0jNDynpGtWckzaKcxOUZr8PDlKmIDZLguQV3nnwnVj95AUOWn8CRwC3Cx3d3JnkOv1aZfsvu6DReaQe4vqMdGx4Bc5pEu1138ZIyu1qvb922HM9j2ne604l/CwsrRNy4nNK0TOSs5F2zlsl+MPsot4Q8gUv+fgy/tGSYCE2kr0UPEQGPJN9/Lhlt55ZoF9E0ALn/POs+ictClyrTx61QGc+hO6gTHzEENAPBAHiUOPZfGSnh0qqQabmYSgnv8mXVA7U/R0cgBCR7Zozo1wWWmnZshtMY375azFEGXkECrKTCGibiajnYBX7L8rcJ98sBPNbb+T2VUwe6N24cSfRxn6a1qKIt6TISG6o+05sVgIuHUNYIFIdsWm1jSQDK3KdROzMI9yTY4u5EXoRnhAaFzTNl4ei+bn4JbLsqAVXUjzp5DahD6jqGP5mV8VV/7Mbwmsq/hVi8DS7HMoAI5t+xWVsuzM4WoEiBo4mAcPM2B6ERE+gYZZpKpoZIytk24TKFcAJlgZI1NPiTzwQnkvOWa6wz5HFyjzI/XzWNEYW2yuZ7dHtYRjjEOzxQTUxuJrAcIpv7HItDZJvGEhhfWreOvoKxm2rnsOjI8Q1vf8ivpM1arIOyz2+lrjAMEj9MKmJFGUx1wQXECkgBdncVbDcREQ9QGn61I1OSsm7t/0gG4DrXw+mpU3cLFT0LuZAeB1lxGPNoY6xpBQitoT5FdrKj8p2H1Yy3TKIWL8tvu1UYRDGrftuy7h3TueHlw5Fgz9VuMfnGakY/VU/tmGweb1QLvFUnHl7NQwfDN6lEmww0vQ0ew8RRlhWdK51AO41LnmMVGqN+6dSDaEnMvVY+I7lkRLw0SiGCLyEjUYQ7Xt9WyXCiWtGXjh6J7ywKafwzem8fvprlUYzy6QRQmdIWDZSsKOKT2Us7yqpxAyl/Ac93gjY2txspjHwDncC2S07HbONN8KwD6LWFla9DQEBLXBFjBB2e/x/QY50LFglFpZWJ+1j1P+q38ouOPdnN5W4f/5rsJfSfAWHhTUDZi8GFOEzPCp63K/OND3xna6IKHwc0Sza9TCMBigDpYZ8d7bzZddFvXZ9AFXHm008CIRzfNALnFepK5lDjZP4/n/ts0iLTNaFHKfuGGDn7m7v8Fx4ZSDn+7ESk6v2kfmhpMQObzfH7uemT9rgHSkVdn6MqAlYBVptjxDZxKxquxnnBemqQDu+7frPPnRFtOGNUjzV0E8rGy+Kublq82spUTiBt7BGAVEaVjaHtOZvTyIF3+/PYvJBJzVYoY9DwI7J/63QGYQVS4+xGJCQ018cPWzQy/DKIktfOx0A/u7hmm0+xXTyFOtwyunZSD4lDDNHTGzKOfCtms2+mWtxPE3J+hylgxhxZjoSO1NJ7SCMn9zOxCWg2P7nz2fUe13HcOUhW6EtHm3cU4d73yLKgVRyFhFgECl/9KLhbZj/934AmcKJyP3GE7kt8pH8EaGzFxttv0rV7GnlA+mYPIvbD3Td1j59ln0uV9G1ZIA2uX5dsg2xaGKLl4o107H2vf+VgHkR1QkSf5AsagdIHtcdr0N9VjM8e2O3OuMImS+PJydx6S8HkNhO6u+VS5hu1O/cYKSnUECo9R+Ys1zgby/CttTNf8YXS+/ornagoV9Mas4+oSg1KQ3ANjR158f1aNfWSREqSA17od9lapcuLJ/EMT8Q9Rd78P+IKdACNvwHjok0+0OC7Idv5PB42duL+3yP+GYPppg2p6gnd3tslXQlbVkspY/X3kDNm3Pp0x0danvFuh3RygHK3EaEm/qoBTS+SuEJHvZ2OxvgdQpuJfVSZ/X5reko/cUeb84xiHTu4emtKiK7JC6Pr4b9M52WBVVV4K9SRoQ03aoKzdbhIZvgB1bdyjXbKwAl2bPTTvBOx6c/2XN2oNW/cRGJAWSlpETXFdufJpnj2kslSOS5XBJ7Z+1mM9Nj6BSZWzFHGL9LLO+OygElzRgujTvWfQ1UqZuyPqlbm+pe8jULHG6OQc8xtin0QwkkPIamsOTxH4FMg9xuuXXM/8o9IMfIEGT1A49t7WLWIm+rCduIHwKHCXPJrfb2SdoexS4WJDXFoMk/CTk9gg35F5kQefApkvqNnGc5w42gHR+Vv0DyGyHIB5E5kqZqM1JUldDH+bZHu3ZpaCjhtaXDKxHmOWiCL2xjixRfWgw33xy6NhK+wfn83vMRWqIF3NuLc0Lmc5AS0dids9/P+kwPSuSnBwGLuKxmQgcGUl5XPha7iGOVdjhoK3AZgj79hIleAxZqDpHMoWd62A7OkrmSVkB1vfO0MIRegEssSZsYDtbGzIh3QFmfPFSUZTIcxehF/P419Hb3wO3jrPNAHfqNCRx7ExivGybx53Xr5VcHrMiVTcmsMAUhIWtBlePjw0CdJt2X0cE6NeU60WDIMw0A+PjP+os9d1nQ9tvLyFRCsIsinvMYYqXta+WU5XoDohNmciFQAZcZHVLq91AxHnIcHAm3KqHXn9TSO4LnXt4++UKmcjteXbmqH5zPvhH9v6Z6sbOZrQvUNn63338VrBcNNwf75zBJWN74Y8pQPk3FTz2WVLop/Y4N4yZ3NEO9OMJHXiwZcuaHMWhPLC6bo40wsaUi8aslC+CXFe1HtIUk0P+XK7dOp4UTJLAPpIpD2n+fK0lajb8ib3wXgaFkrC/ij9Oy3hnV+oE123u/eP18P0DbXeNpOVIdMhP7fj38nLGg8U3Dd0msZ0hN0irjTE/TuChQW5TUsZx4PYwH3yA87v9oeCNmlL2o08BB5YD63+oCcArUhDFNWEhgkf1Hw9ipgZ/vD0Qbt/obYPVCkZjSlc0fISq67G2HV+UfcRAsZfPSZlmrXbO2maQFsq8oxog1VbUCFAMEbW3oORW6cYFDIBghzJvdJu52hytJdusV7sCnX+syUGuIvrDsRHpW9vQuV2BusiZgsAakqSfJfrbqnERVywQlPhnq5tSj44dG2v0Sl0ULKyDukP9tW2Txiykkgq5qDwn7/Bl5wKQaLP2uxwZqiz+s8aSrPNM9Kb8e1xe8Oc80FFI+XiKV5bItBz1n52khiWBrysphuIDiH4bk+euoPfrOsCRtCqvl9H++I/bJcGguS3gyp1765CceP2sY3OUxr+EZxIX/Tp4dU+Z6nQYPZ45hGScEFJzdisN3IWL9C7Jh+AwIbt5wLq/cJiwmwSCkmYn3fAcV8YQEeAmEHuQ3WL/ycDM+bhLXVaRULJaPUNUAOI3LPu7TVlrqPtpAS2kdb0wZxjGuIefZc0yHhBHII6tBxtqdEsG2rgJfgAXvdZK/Hap32AY3zOrYRY1d6rQ6SD4AZfE5LSjOF/1uqjJ2zQ++L3+aI8tXG4ZCvpaegLpn7i9c2uYjns+SA31XSiDNBlAQb1ExMRHDP1brMmpnve5gCjnxtMe6IyddpU8WX2KpF6WR9vL6TpQ9rqGI6GEjJxX9fRyw2Thjgete5wsMy49SjVirrNC+oeVotnSXoUAw3yIV8ROsgCIz75/zikWri+jRxIj36N4idXJAgpf4pQ9AyPmbJVTACPY/VWEJtIUcrJBo8wZdYVEDUH++vY2I5i9621kR3T/b1yrKdFNzc2iI1XWl1N41o5vynplQU2FKCSqSBdYIdm0Hf1LEWiEZFRvtUXOi8XhuX0TPwky0ngDpYt+YQc5HeND0ggN/JfftvyFDz0Pi1nbfYKcPbJmGYlg1P2IV8CS6kH5rEkXFCFGBdd2aaNrITnu82awh57OLr4N5od2B7jYTxmB1RpaQnIiSK6dmS5IF9h73VPBXQIU7cgqAgGUG0SBZdMFh/WidqyCyCOxc0bNSqnJur4npfiD7SKMd2M+40CGdpRdbWBPzp57Tjtrw04aWfzNTA9MAAD3+4dOoozVKTZVWt3ZCqyxhIIx0+cPj33+MWlsD/EWx6t2b7LnLA2X5LxSWAzEsZ1iaopE3WTVWkpS0jQaZoYiYK9wCCIvrG6sJnU4fCSVRHbej2vpp8FOoGpz/g3PyIXQVRyFpWDHYq2q7ObNGelPNLmyzUcNmgxomev87r0u//stH2iP3S6GZxGq2Ha2BXa7YsER+Iph4ZruNXSWEzn/g7JzBCvFk3fSpErDKpOkBzR4Baf0mpx1cngymzVFLOBSOgWlbVn4LKvstPYXEtJvWBca4MmWy70widitVNbNRcJOkSRf6hvJ0krWfvkx5+WZscrhV9In+GnnkTEy7Umo//xgryTjNatODHe+/qh6zGKoU9VghTLsvCzgHS/Xx/ntihb5aHK9FHLY/t7knCD2/HchAMBmMRwCz44WFPvc7z3PGdv4kJ5vw59XRXibFB4pFNMhaXr7Up1QZg6J4EItzK41K0M2xxvEjCiR+TOFNkE90yHtJRy0Zq74Dky7++03o6XKS6PAW3BvdDLtMWXise6/87GoSz6DjM6E0dDR6jBWFnkUbL2zxsnRJfAqruR2Sn1gtbFduekWF0QwkoA/Jr7hvqDk+C8MLQ8zAvghDwXdD+zAduLGAW7aGHDMVrvk+FwanbIEkKX+2hypR73F/upJpsGIc55fYC8clXXUMnL6pXTyh2fFScNq2D85LmodDB0OfgoYmLEcs/JH2ldaLPtxPOCHHPxbbGoTroWa4xqa9QKlBrSDi3e7hNo+DNlat9reIXktpcHXctxb0kCY1dQcuIduhlU8kIiCAaOEg4YpcavyHnVsb5mza6Y3mpc93/b2Hil+b6BO/cA7Zho5BHgXRu+4OR5LlC4fhEoKrfKArQNQYnknqkRa1fzx+pYlPvt+GR67bFoNImrMpVc8lq1OszwXeBX0zvzbsASWZthIYpfnoCp/7SXs4aSDtHXgK/DX2Ckk//6ZC0xxPySTYd++qg8t92VsHg4rYDBRaI2s/9TKdVQs7+wT+UefMH3lJcrFaxkTqrdUeMxSgvHxN97nzGmg3kiEzwRRFJnnUAGWY9NT56E5jAeuaZeDfdO2SpcGuA/rBYCjS6vnLp0Wd073umZnig+nwxVqF1PXNjEHsU54P67C31N9zbRkBcMPsK3uJ1XXxcZVi2P2gIJtW3QoKbFbS7BHOThARAPntANjTdNkQgLR5GNJ0AxaXhto0g48QTVjCnnDRNk6AnPM6f8uiOZ2YUSeLipQCVFAIK3yg/9Y+eDDYSH842e6Hv5J0DsXiLIsyu+wD3/UaRC+4uNlA+pqN7kKzAFtBwClk1URdLwyAaZHfkWxZQ9RJzYXu5uK0lIGQrczT3ke8G7jQRsbe+r8Z4estEPXeb3oTF4eVhz8jnruzxzYcJUIWFC+899reHDxFqCrXyuSI63f8SwB7h9UHd0ZeeyY83hcXTkXuKYnZsNGlikfWMay1QxtIWm2GwKdI4SS1aRPtngm2dnWmK6rHYIJt+RIrwYltF0xbW+rIickmaVeHLvePBEhKI3hXE4omOE+h3UdYL4GG1BqMsSewfX1WyHrTbKQl9yBZ8pKH/iXmhTKOIgGVKlqkYLKWbm0svx2Tnb1Y/NLVWIWd1a3prIjECxaHJL9mkVTvqdqokvzAWcMDMNK2Osqao++Z5CAtyR/agpZuWBpeZWt7xIQzLek8Vp+sWs7i8BdWkpHoj8gHU0WW9Qbz6QNbraDWgEV9GBmHQpIsmkkxhMvpJrzwi5kELuNEPzLN86d43Qsaun7VvjkCQlh8O0YVsvq+7BiwujfuaHl1ffQHmXOp2W9t3Ns7xIU+GfJEZBkd1gH2pOl7ZswYlb5LzMbCmMr6+9H1+fmpkkBNygXO/jfRgDKoMDltP5jNz8t3i+v9zC7LXwlBNuzOZAZfip1gvESwGJ3YHIj+LNnvdrKS6SOi3WKJ7kRHdohPEVoK0FX6aFEQkqD0sLIVk4SDDO4MUW3yPCjo4dq4J3XMj9g67qt99Y2T2+RBQUW8xze6HWu+aNIuB5Yfcc1anWYykdgmRUFX3fRmKbjWPfadHMw4cRbmW38WCuday1nkyHX8e5uJ89bmRHzOgegnMG1ZsCfX22d4ocwNWOz4CIz72D6gvWhkZgzzoi0IHwgkmcRq8hh/DIUWKjSaP9GsfusB9e/I5JGxfdwtYBbTTGseH8ktZin5yEbKY7hQ9EcUYexdKc+ehrfRDeDKjH5vjH07C1EHI877nun/8JLAwOQMcDzYLJydIW98JDMBru9R+PQ32FEZdBVWvoa70UZfsdAHmCXd7Dt/duBt9CU7L3Zf45tv9v7D+SIqZKtAZAiozd77PWaUwl++z42KbYqXbHL8auVKwThEmg4HAzxFm920/3seHK034f1bgSGIneIg9FRxw5UE0w0xGtKV9qSYxklvty5k3jgCd+QrLkRVtDbynQAfR4WixMrqTnxthJq1PAYha+yD7r8+fIdLHMZlf3IYYFG3fUCBb1I6pb5bxIZtyyW+W65zEzhowQRvK8cCOUZqQjPElnQIvBn/e4Cbcb99c7d007/hO4TVHIdlyLvBuYpGI3AMaTcCq0ZlEuHvTZvcduHHfUEMmdJnSrI9GIGQ1IYo2cg+yoTtIl9tU4N31/wC2q7JvtidxKPIEjq2+C5bIu4Fd2tHriEN6MW0tiXZfUN9UgYzmwO0aT7YTSlQdu4Lkrlpg8/gEDkn/wNiohev2wxPkRTTpvyp9LI1a4BWzmClh2rPINneNSM+Fv+Zjk3mHSfxeczPXlZx9RCrygaqrycp0fR1j+x54z8Fx66oRLZCRFYIrZx4eWvFDQddxNUnqj/CwV9Rt+i+Y0YCqZjNNT4pZt4k3lKIrVlvfg+3/aVkSLt7QD3TYPYMNWBDcEWIzR+MYyj0Yi/XZCRBOheiHYo72HhURhteUJuOCfvJ+WmsUs28qNnLJ1OlMCJzd1RXZVQrDixve5Xkz12tsMw0ZIKsSwEIE/QD0b4OwQ4YgMTzkzwMKg4Oj1rrEoGfvqugm9gHI2eaTZ93t6oBkzooR3rCX5fV6Y+9R1/xWdd9aItP0XpoqQBarUxf9VOh75pRLEP8H/uxVnd6pRvbnLby1TYhlJU8tJSgPRpy5K2z91CjiFRWvt7qZDo6d+XkU9tgQ+gbzO7DnlmkeX/XzFAe0AYIkcuRyMEmmfUPtrIVNPQUVMxRBm4pykFNE0x+5FMS3aR3+EsXj2ezKCbRQcVaSxzBItpKdXtVYBAIbbX1aOq1QTlkPZ0UstUdgLLWIBpJumCE7GS4fQU4q/apXsVfEM7uwqRG3TaTJk7ic86lNltufn1U5Ner/xEpC0yReMKZVMpz6sKVX4QIe7g8JBKpu+NRAsKFENcBVW+d2atXsmXVdi4HBW1v4ZyWKgfTNj2+LHBIGD3i8KbYqDg6i3rMmlPkLIPdC3gsEUZ+UkFSXwFzcKxHMgzgAfPzGp3FJIZhJmVM0ILfp9h9hIZKX3MByn7lqXpGIjoBe2TsiMW7XHxzCzuDDIbpHIuZv1ooTcSzLR+e63gn3/BwzbMUBOgXS9yAAngTBnUEhnAY5wcLsIOj8eccDFTY3d5ds0vIKcg9PEBmycgQgXdWsk7vQaDCl/5u/J5fu550AyrRBcfsXm5qSU9fBzwisL6EbWPxH4NxgglRTF7ttA/CE8UEiXlm1robGmVbCcU8wPL5bBrQvLm4k869zs6ly1ebjSVaYxT5V8jT+5QW4Ouw5tmJ7RyINbUsvrtAhH5nhIs14BkEfom9TFCyo1gdwcEIzQR4qmtzTU1vStEtiGrT9CYvrY2avhUuBYMFJXPJ7IxUdqcelB8c4lfEkHTXFS+xhaO7sgL1d71mfMcED7rRYRZzssw7C8g98sMW9VzsE26JLj+w2aVdkoTsrCKuteC1SAv5lZygGWFy8rFDzAhEZUZoeD3Zvh+6/zaYykIZQVcmQvfyep1OeZNbJHiNskgY+nd5wKZX5Ofm4ybSM2u/gm7zQlnEGwsZNQ5eTIO1/i9TWdUF6bB9deK/Bk772BArLYv07sTaCTrx77/Pm56Be4/u8RfiTMblROiLdF+m08RX20Ohswu9vtI82JESYZCX2PNqqwLs3hHnF/PL4LyQNDw/YGVTYQA5appVAD5PrPoO0/xeNsKTZ/pL1uVl0xaKAR+UuqOJ21FnjHBJBVvWfV27/wYqwXzXZHfzCYOpPax1WUx0ErfNcmVgjZaINuDgW8esasDIe4m+8y07bgtd6evVSYvakDmrti8Ita895wCAxai3xx19NiUqkVoj13lXMcFTGOj7TMz24KJs1u0omF4HuOZL61Uhq9WehBwuhLkYMG1DKhYmtvnBTcRqho4Rk+jfiTweg7rWw4CyHqjfnye7Uz4zmHgx11hBhiFFlEpjkeDOlCxV7xsPQEI4R/7vJKCdS+hPnGkZrl2/PhPU2K28AtKp2v+awuMqF3rxNQkZmDJ+/qt0oydXm3JOycaOVHQohZIgCN40yjmOAMJvYoyNzADBd9OwEC4VcDEIzBoyBE8SEftG30n5m2ixbFUKRLhf3l6Q1dWfZi1v2Ltvn+c7IKHRgv9bqSERuiN7Cv29Z6wq+4SC5hRgXLenmpUBI2+r8tWbEz1w+8mcecXvJRh9KjihVJFmVm1PFP52zt9PzdadPH8K62zMlpOvO1RHjkOAzGPFVD5bLU2LP7shu3ndiEX6dHIAND/0MFEXRJOdQEXVd7dlpe5dFYbCs+KlLrZ6+DyeyE6mnNYOTZTr3DO/xVi7OF3CpQAEKKyJOnaHTm1YVuv1MZckRzfk0SbHJONxVQ/rZlg9ipfYu6VJnAln62U6P9Bf956bwyrbQJXLBGKOkRQBqA/8Rj4ZMkazdjX8bE9JoHxrmar1feNOKA0EUPNvDb3yLgkjQUm5u4GJ3LS+Of02Tlsn9liPTu/MvD9nZHr52bk6uS5D+9HTYYKYONVx6m5UJmyDm5PcYLpJyDIH4HI8YiZ0UsC1mREJXnoJShTfZI2XbMzp3dGB1tDrkPyf0/sZeKYMFa9us4H2rpheD8wWdERqaPYIb4sjCkUJKffAv5+XtlmglRS85d8F4Y7c1EVbBr2xyZhJt+kp77sqarfBk4Z3WuotRZoISC1M3TYLCX+rJc7UXH5WwsgmzEEMG3thyPOkAGkmTNHKCKRKpPGr3C2NFQhVqeSHAuORNwVgOaBrbIclWmXJZ+2vBZmPN6YacR0n3TOrbc0aSRg66MPZs8UBDn3YvHYRa+G3xW0tmjbOZWrVjFv4oPJCKb/fE9uLvopmSl+gVTUNwMTSyTzjKpYqw+rhxxpRRPKvRqW2r7HoNawgsgAtMdILIbHo8wEnDJ3gov0IUrxT0JWeYIwVfW+6f5ebVXlpoqLnguADLeQRHCVW54fJAWE1AT5YbIQC7Db+DC+1Rt4FZfcZA/PKK5HayoWo2a33STGTOQoC2xB5PnrRrIXcxR9LNHOcH3V/6B/M1FA211EbVXvkvXYESIdMbkV51EMEywGG1AEr4BIe6CZ0iEVMwjr/jnqHmzae0KoEm91eifM8U6YEZWlB1dBni3gt83ZBR2jjP5bZZFBbRLW+iWyP6H6WFqZ0n6/A+zhzXW3PvRRqi2N+USbLozaXPlJi5sCGSfTZPjGY/PsRfZEKIMk+2zcSGE9uv/LVqyaNnPRLuLNpDrt4xyNO84TY+HI1WB3FQP7MjmpGCotrrgAK1PI26+dB5cdHhjSCFt04cLEn6jGjaANt2kjztIiI14n3+dj6p0Fjk/St4Lp+pKkX3QvISoU6SHb4BJB0uXc8McdIIvHZSPQw6ElLALKKIavXkVwnyjCgzbAAszXKaNyLAz6p9u8kDbC3+pxxUbKlv0TED9yMLue6s+gd4kx8IuuPnRDot8baAuDxUHLMVwY7G1IJFUC7iEQKCYONGWOKHBOG/7jn90lV7WTiXUv/i6kBC5fSGUwum6d+uXu3+uClPFw5FolA7ikya4ece4rRDv1fDDuCsAlYWe4Kpd9mOuRDxUbCWIFQk6WmYgVFJdUFi+ks9wmbA6qXL5cqcFghhCkpHYFAFQ/rV4heNqZZot5CjD93R1jQQmcO8qn/D140ZQBzIAtjd8IJ15Em0g6qtPQvC6DqiZkTllOT6wTzZvWUwX+XcPvxREOu9cEyTcjwKF8DQ7CF75iHEkiYnj0PrsSal/vs7m5LZixJL2rk4U59k6gF4znbZyVPV8VpgdNtbYUAO3KTeKacbxi9EVeKI8mKDJ/lqECxfkjUDmYXhLE1RfPdvsCgwEuvQGNIMCjDxeN138hjyTh2m6+hEqIao+oIKcYyvqTG8+g4WVVVoqzTW0mWigkMbuhDCD05SRNIs6INhx4FDlCBixgWjTgvU+Tx9KjwdlLXpuhAIFzPzdB/+u8qEPgCJeTKDl4y05RTS3eS4yX9Hgej4F3glH5irPJQ+IG2aPyJ2cbi3cRkce1dqzFw0E7UyC5zL9Su15PEPHWPxhJgHk6POQSr4At0INI6ImLAQLuwvpHFm43/AKjTjKl82lKxWlYqk2491X+35Z7scSB/nBBlRCNIO3Inli1PG66Qz2Eo/vQJ13l94EfLa5oSPSAY8aNndcBd6ORr+mNxlO5iCYtBzz0vtKZNpwwLx/G+Z+ocwQ2TBh8Ekm0l0wo7hIkA0Xd2u7ir8p59uM/zZXKbeLI5oPrZ3171h5kgvzeRwOLTGRTR/W9RArbdJ2JoXQYlUNN5BnBgsSbHJeSsosklwKl+Kxo9TAhi/hQzU8VVjLDE1kqk+dR4Y+K1wXXdOK8EBUd9nTnCPiUx9PoFmscn1BZjLU/Q385xbrRDwa+zccG//ksZW0Hl/hDxYt67ZugrLWoyNq1y2x9zxLSXrysRilZXVwIQsYfL+ZfBRhADWCin1C198WDcrFHYfdE9Cp556mj+jqeEgqc6Qw56cyP+ysvqcWL2V+YWKknFklg4eZ65GI65Lk2OpXRM4cpfKJ6BAAaXfOsjOavxOeHZ+suMVgh+GUdxIU8QnjVTXi8TnN1DPOAALxp9qQ5oKZQZy+mmrU9NfDORd99445hjgQWUu6fgZ1Fz6tbLov1VMVPJJUmYG668TMsIoZm8dpGJH9QL2p2vfsUgAKRkInHH+otUM8NbOP+VOECKq8tLqtz3RVvqKPbKq/aI03xQtrGT/pb5lIHP5EryYkM9H5R9tipTM62v0iUdm497nEGpvmT7IY4ZqxIrLu7njGURDnpeI3BJJuWrnnUrsMTjsciqUPvmH1hqEDMOgwMqmThOxqTOOw9WUGwqgU19/xx9jJytxVEy8ZODWg02B3nPdjeezCmAjNXYAzwUnEo8E/9uGn2qB9FcWmVdsY3ah1hGMxtRhL1/PFB38v3Y/3FN9dw/WpA8V2jlWfLCPd52oJKn9X//3afW0zaOFW5pnlstXS2gtm3fCY3ZHcWrgYQCRYx2G4HRqL54Orf0HLBThn8zBcnsl0xFYK6sFUEUN+7TtbKBvF0RUVuNB8GlVftUK23Pft/f8538ko7aT6MJpd/si0AWrVZ0RhWK3PVN5CjDpte81kSCYkat2MlkeGmUv5Ku0pdF1QbVyl+8qixpcyc6JZpCdAlv2eI0KXJXITIEtbaw0uCsfx7LfZpBdHjw+ML0hVgmXhTd2ecpwAORK+YgGwF/9TZ4FOtho/NwslsvYP4Zzhb0tpE3fGheunLgT4VuzOqwWIgIPiH1Lwqx1G9G6xElaixoW/UFD1jwqmLzwiQyPiroFQTu59gIcrDBIzN/wOg8siYjWYl7f5hoicrm2Ir9F4flNb3kjMuqn6U4BFsUQ4YeEmbAi13lo2+P87P7KuJ48U4BzD3nyfanGAjtGoeT9oAigjOkzjlptK6uikJ/GtONLzqKBCBdGEbrl7r+NhFYGYShAZZTvEfcTr/xXEYG6nRPMqjHRt7T4kG5ZivX97H42JTIj6aZlZDivHUzrOyqa3dtdnMD6zzMloTxM2Ng4oJLsdoZG4xrrPKrz5tbigUclFiIukg+D6TXRrkLtZmsnnprhArMu6hYvkoQpJ0gC4eKkRfbFhL7uVYvlIrhTHSwmleTvMbpPQ7Wb4eI6dB1UPpUkQKKQlBZDad+iJD+Qj/qeWsvJJQLpVjoA3y9iW1amkNn1c4lmg3LIrK96eFzkpMY7PcpzizUsbh6ILht9sFrZL0bJqXDOFSmHw1CQA3jYuZFf/bnprhmaUVXug2745H2/n8Gx3XZK3YAkt6Yh0F69IQ/7QQvINeZ+zQ5UUiD7G/K1DSjDS51D+/wSsAj4LvPHStmRWFKMQwr4RFS4CK0PHxjsH2OHG2oGtioRvhJ/NhjCgfy1+EXBipZN0W4b8H4fBqI1w6h1pg8AfsWDHND5A2bhk3CThmYAJabdLvSa6Bg79m4Jg2t0kn8PaWsIOpfvv3cwJqfWz8br0gy+NzSaEhOa4CsvSDX5KAFjM1hJ6Jnl+w+tHfB3rQYUuWEsELUHdIBiyG5/COCFhRrVcuHRmpy2yIlkQDLQRN4E19oa6TSd1+aLa02slh7JSuPRHXpXzsFBIYfhLdj8SIfjggD9lXUlVnUL9s7KLSZdfwMgswWgTY2osNw+vwkWVOkzokKvXUBnLXEfwLEChCGEoovhTio/j4Mm4WMucv0EeNXmkZwJKDZ04mKb/+cYRpcQbRILA4ZGhusiyWOWI2DQrJxYKXanQUAvUaMFRYQQwWGfljAU8DlHgomEso24SsiHZyf0fKDoZfsiijwq1cgZEC9NUPDu2JcjJRNZkWhJxpHkkZrA4F/8LTro+G73sJ2WyriB79k9cQz8letkD4ecbTF1vPSOBM01qLhsXH/Vdi5VsFKf4mfH6bllClZwl/zYebXcyKf5ipWmuadu4armBtEFqNq282bj8JVzJjLAKfv/LA/cKK0Lnq+VS48Ye3RA1/h1hVhvc0dZ1+KP8D7SPQ2gLQH2akBwIxLNKJ/8+IoYw67mZgiiloNzpHmk/wBTFt8CEgi211mK8iHrA4dhllKPWJ/+rg2dvQHeqrM/SKJdE5hCi64lbgQGtaP0kom/3hkCBAkrcwmlmGOjKO6kRN9OsoifujcN4+6krI0GbTqGaGRAC5NxwaAKI5oVu0mOKzrl27IJBIYx7em28w2wK8aTZE1HaGrQqvCS7FNLnuQgFUbJpUMvxXjpnI9EPKqNo9SI7Lc/R5tLX/EBA4SGaRRf4hAfV58fJboXhRHTZ5GHeXg2d6uRZ2zQWFhERWkgOcBF3Uo97QOd6ZSCiKtENStdNSJac2Y0ykyL3QxmcFkbknydP2Y8d7v6SiuFbghQJy4Ea29jRH93rlMEsoKfyo3nZBj+wzsjVIlAUKgMNPqasROkNib1B3IZhUPKBeldiO7RIkgfu9hBcGKa75thoin2ZTAf60Wxmyik1iu9+tYXrS+0zyd+Qyf9cbySQ8DpS/+Hw4pi+vrOB7s6pi72xcPvTZmYMVsSDorlaXStVR+x7hf29n94ejAsl/77IZzDUTIAQxfkzQMF5NxZgr6TTOd85dj9tWmJWfDqC72KROMzMnF55HcI71C65nzgb34/uojX8pcRNUGfzANlQnFXBc23oKjpHe9Ps2DWJ1YdzrDUGfW8LNoaU4vh1Z+3BWP+bXv2k7tWyirchuTcGxNcDhi5324qfhwQCYKN3CxPvmQlNV5tm3s/0g3f2ogQu6SEdHWTrQw89NTKIKVC1T+4Nj8oNtfq9ZLJpY+ic2wTDSV5TYz4jwgH/0sCKwrjgthqlRiWzWRwfVbjG5uK7hvmLQ/altcI9IPY8W6jjPNF62WoVyYqy8LWgITwlRFkxv1U6R3aFalETyLlzhaZAZGAcmwDZRc1i6OnHl//WAJ2QRrz0KZxhYxWmcmmWLMXx9+tmqctd9KfkYKRwYO65gQ19jJKHj49K0Jd7UfAQAH8ZPSkXoTkwPiF4nJYTZ5OUA62hGAofWFUgL4hXw0+GdCSmdrvCtwJTgPD9ECWiruAToOIQSxWuByK42lvhOsVu8vMIhKDERITHcMcpkjzjfom9wlYL9yJCD7l51H8fqjadm/YUSzBqBZJzvjvOXhqqIezDPXbqgJTVJrJgCFuWF/0IAzqx0YFAnoqav0HTIjHiqAQfowSr5JxLYEWRaBrr2QzGzEcjqfSeT2JN5FblTlvmmi+jCLpFyaErU/0IkxdczWdrN3GIEaCgW91f3Tv1+AD5nYkLTjUi38fxMookziVxzlROM1zZYEBO9WPgWngBWYnRUwC+pJy069yVwvEb9vQtRmBQ4a3Exww1Xg6Kf+6lvCF5Bg642WMuHQ+W78+AsjQkWU0v1j1wi+M7I2zxUq0uZ/qPb8TGwRQavHkdRmtCaPFcbt5l2oxDUFb+kfvgShLFyNnMgovaxNpf5yC/eXdc6BC6cj6t4d+HtCzLFK24xuHnwWc5oNGTGmUHGU3vCUatnc2s7QeVEtLHxoscKrUUC5mKWvSJuuXl67paYHMzi2PwNcr9CXatosHQC5ZuMFUM/3+YqFdNwbBc+HK577T3J+RitdbumwlvVtGRMComgNYwHgPp8yoQFaOwd3ZHjas3l+Brd+IG+aaiiIRm8ExUF0+S3Sn62V28slOt0grs+I6l9G1wfkpHl+PXDNqg9NNUd7rWelLkY/VqrSNa6mnlCyq0fTlqjztowCE2yNyCNdPeENHuY+Okfjn1kz0/Tc1XOctk3zK3Yt3UbuC0Q92djKVqsdXFjo0rkm+HdHfYhDIOH6Z0mG5yM4X9i6O7HsFfc4cH2J+zIXV7MYgmuD4zE6OSyrnM6M/sr6DoZke1Ea74wkJTUmaQ8ydY0ky6ukUbXTqFMyauwVumPMnMAVBMcg/xwxAkcZ0KQGfYWlggyYU5ysgitBZeyiTnBIUr9WsY5HrsIZ0J1IjN/vMDkg0tcpH5XAUC41krRZwizxlwILYHcnmRaFBJ1k9r/9BvroT0o+xQBzjesAC4TjzoLNo4Ro+XU09o4cRK+R+9aC7e+Jizju1ocGrfNtwxoFxcmxmKAz14Z8o6UclZDYNhuSmkpvYH//wLWbLWM/vOSQt1Hq2ElVsH56L5qFX6y3/i5bMs+lv8MyBKKe5yeDjaOQi7FLtNMk60nM7q2suii7B6y5VX7kOaiJ7Ff+gACxKs1QkS/A6m1/7iizpbZgF3UvgSXv5w4svgQm9wokcRg887rW7dp6ugjiAqVF8WbC6MBFPX2jY+FUNjC1JWDsxM7jTgSgaQoVvK2yUQS79C8sjhPnhCbStA6zNBP7esMvXrotXhdfjRkhJvMZm/vfZ9/TaG8ysL+mkgj+ENrOuqTzC0H0S9Xm54rFVMCuo+XvJEm8iSVzPky52LAPF1ZbDhNOi6WZL+Me7Wou8SXDo2DZtkU5ZVyytVe9erAxafd/jp0n4Xuxicz0gJi/99lTFnQUaiIqwnS0Vl5u2kcJLfzBnzFnVF48EwWR99z0HEJAFNQhRTXZfHHQ7ezAIVdVRlloGRYljhCrrM4LQH3Rzn4JMPhS6cYBLiLEmb7I1bwQjfN0ANmjujE8Jw7KHGHXcd5v+zqpwVLpOnoV1/CdgDTSYHXxRQy57HTFqd8oYAHx4iuz/abtJ8vDR5wl6dA/qFXCxFO8qwVRgAlr947RwgE4wmvR43qET+yP5SjEGPzIkfbc7tgjd4HswGciHRMQ8+RUNKtltqsN6cJZYwXNU1lRHguoJxqWgqlzYND6Abs/DohUkRaK0aaU8dIFpXRoA5h36Ff7j8b3LjtFrhiCtZN3Q2sJYAHOgGHeYL3/9XuklESTszAqy9U+f6GkRHbklcaaz8b018WCe8KDO2Y+Rudsn50u9+ewFMMzkP6ita9i98w4dS4sTo88q29VIP+HUzqdXOqNritIENwES+ahSdjiIgwJockgGxXfZgM0I7nS7Qii/vlCulEOQ++fj1HS2yZE1wkuVrP029XWnj7Bd4eNfseNriHRjI0hBQLTfTyIaVnnASkSDZjzgHGvCUnIbCPzH5d0JaKKS3LUL53aJymBumdQQmukgMSDJzayr45KviUpbFkxkpINPrxa6xo8vMFePjp7+O4HXEH90VPlpoh5pz2cFm7m/epS/eiLrWnaI+n2wXn6q8AeTn02AzJflF8D9cnb6weq/66L0+q7ECZGAeI7vyeyJacXn9SUGCFXV/GX6IrqxjMUx2xAQFO/g9C18t45q3xcZot5hf9iiPlIyJPCsWrLWJck+PYbzbMBas5xuJHsLIXuBmoawckmHDA9pUjj1D01n1ec4r+u6gJ2Io7OEnl2ew8BqKjXXIAjomvKDAStJ/EF3VeYQnyq87GKp8Xg4AdpTV1v3UFbVYU+9M8CXETqOc7rRMyfhMF9IzFW1dKNYjYYih1wFhoAuey3MTNhNUDrPW57Nr8hAiV7/IcYiINzZNJX45MI1PwTMzRGEpujhohbpnSHJsdrh4zhFBiG4rgzwMJ2oL9rBrSyfUP27Qcq1iN8Imk+Z8cKVvjHXFT9DQa9oxscysK9Gl1CfgB/L4qn1MdP0RYIru6h8TmyO6VIgZQ6AAWtKmsVPiPpD410flfW+OlAZtU3HDcnSRDVtGamZD/lhcIhdk44rApzJsS9h6H24KC784uhd/LaTtH5yYeY1hhSXHRg1uNIGk2Ubz9Ps+Jm2YiE6hP8gWsYj+7mJS8Oa/8tDOZs1+sQ374Uzg2GbwDVjzIL+Ht+B6BAYQO4NzQCkdRQDJ7pL6Zbjbz2GFaqVLCN1wIWS1sC2Qib7QflpPJ/UgtZSB8XqfansVRLhTLlj59EorrNvbjVLiAlWF0ahInWrUuzdUx8uoX59KqtWSPEx1mhQrnXIlD2HwWnpEdHNEI/+8hGWEsErQrL9t02+NU0O1wBy2+WKJNhK5nsGqNYAWecqdsW20oMzMA5wrf3F/nPzsPKiR1GTaDkHe5He3j2KZeW9YZg6cwmvgoA3PZs1uuw9NkohVBGU+cr8ePUwwI4g/6vytdj0bGQgb99bxAYNxlJLOluIm/cEiOUkevogp8F7baAm6lDNLJqAOgFvRx6mVgu51roQODqQ7LGckx8stDijWYSta4qg85cyH9ktWD7FqBnp4soiLA4jYLMqdfa9/S66U9/Ub9hLMoZ13EPY3GNbiSYpsGO58IMh6sid6eHlKCVpwlGLH9g4aCs9970rvgBcgVM6HdP3YeEYMI1o0NKm7FeqluqYpM8z5XFTeu/RODjIEBUTg2Is17rs8xvR1dxBAw/8+KN4LTDbVJEBMPebU0q8O/OVxnRN7jUsXNUyJyZl9XMJPCGTj4f2AIvmy6KXkTPn4/DbVrPoKy+vvM33JZyuhYsjlYzG8i4tG1r8j3f2AyoVJM+kKsgzZg0aiMP53oKOZoPZZUF7Vyc5lE+ZOThUbRBH/FAbTaiEuFJ9nyO27hiW1KbctF5+TkzRu01mEDOM40ZwHcVtewVGGBZ9uDnH/em/8AqA+yYWhH8I+nvs2oJZUHHFg7MnMUD9nVDwicUDl3NCPjNF/n1Vw8x6g7NZhypTyxuDeIu6IXjCUziGTdINzfKGYypvbG1dtUyqP+FJX69vdmYmb4I1HMMhkytdfzxhjWHP0+vkrUvZIQDiyhTM5foPaTeMGMjQ4K/vF3QkdehsBKVNb9jCAgmMuRXYMSAb+ChkMtKIFylE4dlI3nKOOvPGRLWrcdigjLTSIu4C6elIsv70X7QejY1XCeJCE9eWGL82BSH9Rxx6IfOOFDB/s61kLdDXLtmOHwv815pdRy+UlSp9F0k6gy2kvqvBIDdE36uDECYXYTzzWqRv+3HI+FlqzTl2C6EjaxzvkfC1Z9QyHivgvgV3WTsX1VqXZHCt2k55qd+JHVqdUACFwss0JjEJkDnzj/vSd9OFNhKWyWXEbr9PzqEFLs+JSYR4rw3gIGfnUiFb5D3/kIqQsbmgeNp+qiYecMau+MkozgWXgMHUhpz9i2qTchsCU8l4w8u4hYYB7ipPqu2HUuS/QXeS+/e67ZZ3q1VSxkFmT74CJFZzINmIsvvZi3ceolktmHAPtuszn9LFvbnL7aNYsq6G08kPxLabSZ3CkeWe/kd1ShoQvd7eFzhA/eSRUTyEWXC+tSQFBu49GQUGDrUNc2WtVHTFtOfqNlsV5TRX9KODKUM3o1c0IsdlsMsgt4htWtpJzDgrTMNjsHtGciclTALB71+NRHpNvOGbzi1ik9cx0fZ4/X5jwG96NqY57RAEeu3wpR9hqTTFnUc/MYGvDUzs+ZuQow+B0yQQVxg9mIHqyzGV3oPjQqMzfbdVipBEDbeyiV75IenVLSwCWKhbnR8wR2ESXCfudXBBLRGBRgIOaH51c6HIDagnig3PHwrGCtS70o6NwdkojoTq4bVBG1BKXoRXzMPb0yxrzcQ1LsFrWz9FendTrIc9E025K/9OzbaPXK/A9fRSKoxZQQRgOeyaffBnRsNatRPojdXwlYGSkWn13R4kQguoVR99IN4L7M00rGz/JY3kVcliYpya5HScUnIJmWnSnVD7Uyg4Vw++u+DErRDHkIxZGPAEOGzXLFgwxj0HzoGkVkyGw7YiSK1Po/tJPyNFhlFaVJ6M2ppZ2SQ8XTmRRzXNoPJDCY8NM3QjC8o4p/tUwciGI3MzDCwomkB5xHBLhJaMmKKPxEKAc2bMutenxt5dy+m7tOFadiVYwZ8PyPbeR49qdON7yufeI0hEmBcEE5V3SKjX2nGIJiwCPTeEnQWdgvZZ9ql9kNtGTmGcObpD/zwrrqkWx6rNBKneofP8OHW0oh778W15j9AR6zt5W/1w9P3okotY47u5+U8bbRqelSSJZS4ujW+EoofPriuQBt0c8WySIMvHvVIWyn1PYVR663HM471MTdfEjS7/9FzB9zaWnGvLmkTG7Ms+LnRhXuRZd3KYaFU198BjIHkl3KZNbLnDht1I5QC6jwU9qhhAmmG8x0FYUmS+FR06zgMV1CpCL5jbx80QHNH/d7gJeSNmua6rXNrHf8fiiO5gjFj5Hm0uQB6WE2XrAniv6Ce0Pv2ZxlQevDyGjRZFN9Tcm8kGHjzeFpC6EAyL97/hlFtOiPrMfDXXg+w7wwn1dx7fIuCnzjwmd4RDgRSarxvIrrmQnLa4xZQ6K9G8Oel/8s56MIUBt7WJM5Azpzb5ndmw2YMqkBye6N9UjCGXmk+wgQG9OSuR0z73/D9CFqH1ZbYGoBAipf3+ssv7cTeMb2GlMeqy1dkspm3e5POFiWqySpKwSIV/nusLAzpVMWR74bNaNXsWS5pr4W99xLDQCqRsiDdOd9fxIe/bQQ7SDDYvaOMcRo4RjIl6eY6fuZd7Ydf+ziTURnAfPX2oEwI8PP3CcM2/2D4TMuBOIaQvR2LSpm7PF0BFIP/hCq2gL2Bt4l5gvsP+vsenuMrf0qVXk3QPioZwEcmk78sRfppjOdauNcgpmzmAxDY0j4mV26AczFYhjFb5maBZYhRZ3Zf+2FOfqKgpsbdZfMMsZhkPh38F+U0Q6uVAJasLBkMm9CqdchCdiLBJMRfyHNmtDRNN3pGms/rEs707QoAaPjnyKlQUgcLsJbwlt/KAynLSd8Ng5/mtL71424zTt/sJg3TXK1k6jMCEQN/Q6M1lRlg3yJUwWS3y3aj/4SoUVYQSDsDQ4sCo0ZoZPAWgt81s9yvOf+oems1crusDc3P2jiAssyjXioAeTWyeDyOPbZPwsy/VKMwWWgZpF+NKklnYto/+K"/>
  <p:tag name="MEKKOXMLTAGS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/e29Lp16KIE5YFVc3JJutLLy/A4roDhdVn2Gi9I3acbOzqtuPOpAkXGbqzgVQPee5kG2NIJjNMRNYVkWxAJXHirbMtobphs8OOqn4vrvloGbXOUJFwid42Fj26DsRKFrf0KqLVyXIUTUU+Pa3Za4BDeVO5Mdr5oQ8DxWGRM+J9G8dt7XFuqGoagaAdoJqVfV01BbhNbQJuzlWN84B/gyIEGcBaHtDQxuVvDcv1VB1v5cSdsdt+iD6Jf8g/zCZFUaZNYGWJstt49Ptkz1W4q0a+4fhol+Vev4PSvTs8DcsNI52GmNmXg6PM9F49b+g80Lug/cQIO9BfEoK/I0YXg9afSh/VVFqlomVrSXqJtc8qCFI7h0Zls9TpVWr9SGwboout3lHHVJlBdkRlB2Y95Z/DwOh6IgYGzcp39k8H1X5dmieRZR4Ti5KAJj0hfJwXr9oDD6yma/cQ8vsXPHqbT1s4kVxIqqu9tFuUX4INOyrwqzIn3UCBdiNimReSl06JyNIYnDfQ0UF5PArBLW2LB0QjRmdHvnvNBy1vPYHAuEYyIVTxqQYAiF9b1d3UdJtFXod6jHmt15srQq/vuGqh/2WZycxom6xcz6cVEotS8htaZGu4pRMi8bZAppKMGS7W+Koszpa0Zvjj5tvNBGiaIKYwFx0+g0rkc8TAeZUMhad6+4C/5Dyu4cnityANnts+zaMQjMiHV6qxfxXARgMngTPemrMLJ7anTaYJWywHEbNIQ17FrkhMgK3sn8glVctoxMkEemToQzvSS8mUC4FARP7FRF/+kKBSwTzeIPBozNJku4LuRUEwuaSQGCvGwq5Kz8vDnPj97/f1PwGJXTcN+09+nWxoVUa+5acizwGzGzI5XMsEt+urMzvDPf9vhW4RlRLsGVd57ka3C6MD80khsRAvkjjmYxs3yf0oLlWbPfE8MYHHlxphD8XQrdn5lfu+rzaUwRPaeAurUAlFodODzE6f9sYIwQxUIO3pkJi8mfH3DlpEMBCGC34DSVE0YJm0ZJxdnWPOz2OwmEKI/yI4eCA20Q7WpfCSJpmRLhaQN2r1QTVMzEnDNepi5+KimLj7vxcqdxfKLGNsXOc5+m2f6MFFp3EPsKvDY3DUDnpIENpcmgkTvM7R/9I7HOTvuxk1o6T/p/2n1OZJBjjeQwao5Wk7tS6R8a+sE41EAII+9Fb5hInCbYBag65TBU2OSKIxBUa9/eZcK5idDP/0zkzsE5sr82NKDolT80QSc8jOQeOHQtG6/7sPyc6tLCpXOIZFH3AtyTyOxF4sp+WqDEcxJK51a1dNiQ5OarlLFy8sRsLnvtvyB67Q/32Gq1cSYiXg716zhQUz1b0SeUn0/ge42bV3oIvlLE+p6A4KBvOSXBD0yxVQtzF1Sx9aE5hcpwFWNuCZJMSkktacFR71YX+rTuwqmbqEGi2dBaLW3o3yF8AcNtNLK8tRbPvFjPRB7xerwA7COgN3UJrqOAesrFXbfrGCzG0nZ/NsRmgXhsJEKcjmxd7YJraNhpzngJLqa5OSDuzPybawt6DECPhdU4r2cxAXxdDIv6vwZW8hderzXfSqqazf75wY2vHuSah+ja95iyE2vCD/H4UI5+CjSkbBvvC4KYNd8R2z3Ik4pKA8mRwo7Gfev5wvYDu0nRQRV/sbDF2ek3mulQh2OP+UZKbss8s+qkW83v8aYCktUQsJVQFz7/C5K8luAV4H33uasDsXHRpQAkuQm57m/YvdJeFTHe5kZl7FiokH2twbl9mh+ZinaV/DcL1qo+iM32iY11fFqdRo9DdkVmgGZgSB12wMkOWjrWDJR76AS+T09sLrzVbQSYsQow76pO73OA7E3wyphbKVj2hWKJNK0zHc1LHSXsjWmkxyQgogYYkTriupJUoL/t5Wgi2bsWcf+T6LXc5ZRgIkhOHVkKMYlyCYpig0dre90GtSSSnqVws8IlTE+qpJ8+iAprR9oxoSOYbIzJ/mNGEWimx9QmWokKe+Kg0eKX+up2GZvf6gCLgLhlTFiZubR3FDuYiKN0iw5FEnD2dj7GSrTEvjm2f628dtvpVzQjjPHylcvtXfQnHFYVd6D/tqavJWKYRoBEyLlOjASraaBKkuDi1d+ymdM2+Nq6kTOhAIPvBMHSV2DxRAmdyUcBWnTwVTNJyfDQMsJwbEvqqd3ZLkhJ/9Yl9v3JEGjdPvNBT+9XKrKo7S/DdvVxOEC69ZCnZUQvaHXj2li5QChxpIPhyE69AabZXCme8fEUfFC/6zrivhPzYCdEHd4vyvHpya8c2etMLj+XZQwlECvUy1s5no59kIs3RJPfJO3Fq+MiuhsmTEN9iw2QFTP0L9Z1yta2rsr2RZsvVede3aVObfjdaSBe1k62k6pLtJlFozAC5+x6mEjIxugAENjDO9X9T1kZmntsJEV7Y1GoCaUKxwEEFJP8GipEuWbQzrNjhaYK5YlXwk4Yxk2rzoeO2XYGXkXDaebSWaRHRu2k5pwZ+y8hp0Z1j9eXpNMqVc6aAckWFj/FgkPLcXXbP4gHzB7pPLXtpGTc049917RdWatcckEpye8sbvQEHF7b/vlOHiRZXuKtUP5XXfTJBNssb2vJOMHkYZHZmqw4G030wEdvY0nqb9OWUSiAaQopioTMOmFGww1+8yN4BmRajcvC1JBxVURUPGLnD9oD7FQ+2OpHH4f9r2E0IsdPtwoS+biIWX0Tn6NHpkZEvUhX+dsOTQ6bKSuizBxQnT3FGzyYLq5niC3upehuivTkr3bbBo0+V/ePaZ/v3wxnLR7UMvNPTMTaVNPFerAjeMRaOq//9e0yAUj/cmG3v26YwfxqzOdX0SBn+WBolmbKVctjveJLCzYTqP/rU02EMYEDkwmd4ZkJZU81y2oZf0FtQBEFVl61fuA39avqPYugzsGZJ2OMrjFPjPOW+O7E/C+oCLpEjvcCpgyej0j7qvoKWF+1/Ml5I8i194MfyZwp6By6TAos0UroHSeiJxUtbnWpP7Unic8FmK04yy66nj4AxAjI1WSbTs1Ur41RQJFtiVxkzaVvR0tiVfndzGnaR5bFuUJRF1pMwJX/Ef+BAMCG2IAQWQ+/Vp1zGZbxqCJ6YcczVJD5r7AuvTgETCw5w5OR2+rAFfo7V9M53Z3vNmpKw6xVQFNyTWfOCF3fC5gz+yQB02+IelXJjsX4tUGWs3NsQF24X8F9WRT9N1FYXcZznAFYuivzdf7rPLbzFCIFy4W7CZB75JP8RJ1M7SKiTkIxkn1WNDjO09ZmbE5vMHw7AfPoYMZlRbWzwpkHiWFpjknSnmECa08KHN3B7kOkyI+J+F+SKq4uWZK+lIw57Ln4Kzxa9uWMtTj8rvENFibC098lLnoExX+o/nUrlbdFqtEtINBdNZxMKnRo5OmcC/AlUUlRBOJXryg9e8xCHNDDCymcRwzfzhWUygLW98MI6kPAutMkBmIoSCzWr0Zm70c3ujlU4b1lqIbUUeRjrsJ+QL8hIE5EByYH5aY4y/4VK6SblwT9Mi8qKxhhdxd++CG2/bJ0uEiQYD/oDFadNODCFsHP35oLRSY59cFYeebZgr0F43nKvV/hLSZyfrCba3lxi74QXBLjwqznsSC0OduOeipAbXaAQ3cwpV3B/5qoJ+fXEWuwxdDARypZW1Klf2L56xMkpXvsxr84GpmaintliI5rizf98pkaHgd3FGPWIl42zQiAK5fHS5qwC5EO0n8bBwvofPAcTKB0CSYYMqARyEITRVa6d5cCQyL58dROXjbkU9TaXNWDD2MAVFItrBXoPVt1SB7yPAdoy5ckSh2fTdG2GQgxyo6sJF7/rnjs9vfm7LF0LjLtWZeLA5NL1QZDCP2Wm7zt3S5Vy5rUziWQpn7vDZQsQ5ks7F/JUNEZUMuQ5ojCZLxmKi8ggAVbbUVvFf+ixiMxFo4RtQAXItYBA1UaryNdbwsVx+R1gCgWbFyj4g38c3P19cxILANK84fW9s0Mg4s11oEfW9Gfll7iR8M5VObKye+kFRvu0sBjGE5locicQjtyUFJf6CnXiDZaHsEc8865ZFq5nYFC5tu5Zl5iIni8siiZWC6a7sNnV/58bkHWk/spNboAps3VYzxfE0Wqeohv/5e8BAzDff+VT1QL+nvaoElx5MLAtxONFSlVZAjdJBYCNtLL8IiBiQo3PR6tWi/6NMP1K1tRNvPsCne3//nzEkh8aXp2F4lYsyNPdfoTTVpvSOIZMZt57wggEv5pCvQL+BfiOlaHUItAyl7IbbRzgXWq+bfmSVdYEAzyO1ohpDzVVFGEKt2KiPsgYKmGMngA7N/zK53KDvficVOFhU8ivP+830hxoLPcXoO+UN0n8tw5YdRhmCmDqLothvkXyY72ZPqlMtKQ80TWONmPQ88Lpe8N3h2RZryxk0aRtdp/yPkNrGYtW4vwenQViqo9usM+EYKVmqTT5Og0kVra6bgmfwI50DkiPdqbVwXm87TeqFRsdepZ0QH1yXCvGmLAJC7Dniza1+MWslfE1fTBAGw8KNgwA9zVON4lG/cNQh5zntPbIOok/MJSB6NKX14ogs7RkOZedu2DMgjdAwl2wJIdSvvxQK7IMKdL5O/Reyc9LLMAC3hxw/ovRsNsjIYWB+pv+M5TVG5vOWZLchFk+K3NtbOvXK5js7zd1W56i4s9RiF+IZSbF3guPpf2UA+uuGEkyb/qFx0QH9N3PQNXerP+NqyXojbWbfQ9gPsFxnc0SwPimpivGKYOWXC3c3yPbeT5wvlLoO6W8QfXiSVKj/93EI4gmhyEcwKIzXmDKre861TQrA64ivyBclsbIRYXiPqWz4VoWd1KqVM7XGz+Mn2uRDQinDJMWsLcraTzk1KjWJupwMAOVd7sp/uZ1N76xXwuWeihTfAeMP3VSaL8pE+fYxIrvpj7QtdMGh5YjuzlEYSsa5qUAyDfunUp75WNnMi+X0DhWmeJ3ZPoK9alkpVGtjWhRBgJeDRBFxHNOZrSUP+l48lmWTO4kCc6dzTJe23M3GlnAjel+ncuFS9bHEVPNyw8vkmI9+T8rrJGEnZ8bMWyxIlUJNRK1bY8N4XkKrGrB7v9z1+mK04bbx97kQqZYhqQeqlMcW+2nZdwlo1oO9fwNzwApzOjR3LwugL/bsXD3A4eVdBi+atuGXCDPcWnSnQ6tAZtnf/iso+AxqOc93vv8NIBz/1yllAOtgAw9oAY8hX/A2kY6yNVB8SBMTeKx5T2OCz99/Uh01JDLvQW1af2JoGR4+ZDc9Nb86X5lThp1TX4sBhy/m0kJ4G6KhkhcfcYq/60oUj+TOlNj9dmmYs2evgK8uolxRGRrH/S3hLh6W4IjJj5t3vL/PquNlfya5d5pLlNMQSOlXSxZYEJVp0vkeqXHWPl976GvG1PBOM4pbQUUr2rsR3/ZHplubTXy/qYzA+SZV2aEx96E6n6eKekZHG0i+PB5IQYFizBGmMdnWjIcroL9KxgKq3m10mvJPoLR8JMqlQW+oFzAsHQ9CMujWt3uxEfoJ0EDDZsN0FC1tCOE98/kiXreJX+zPW7gNpnefH6Iyry/ioAelda3OoQM8wFKqdWdSvJs0dcO2VZgCJLX6CaPvZseIMad/zE1lRI3dxaz8ShcfSXhRT3JxYL2bnFnGK5ct0VDCNxl5RWe10pCbWcOetj3kVv1M9CgVoatTFb3Lj4/YUj9+kWVXkhUbUDQOxS2mE/B3/4MaRvO1eb9VvGcmOQVqLWdUdZ7I7zFRgTCcf7XWlBEPhAOougczNvn7a4NK/ns85PGyeBLdcPzenF3mwUJ50DA5/p26mXe1T/ib3oGYCKTgbwhr7jzQ2b/S4Zk5lcysL6cY9x69cV/dF9i3s5pncOZ8WJbL+EMrwf0MLBnqy2MyPyvGj03EW3SpB8U69brb5MOMt87ccoPIWXy5naEstrY0srvqhfimb1MN4fgqM3DNMCLro87amsJPu6cpncWiNrCqexsWHJuK0bHKsQFr2cFE+q7vgqyOqWOiwVf2zNWLMDuiZs2VcmldfrmQwUKry0Yl9LYkHazVotZ6gl/ScaKhRq9pJeHEc9x21PiptThUcu/H2lubHNvLm41ff1uKP/C5dKEn6hHKZvIQ8KKWYcWtNBXTJuY5zG5EcCi2hmucACaltfy/0gDqplMN4ZhKVMzhyVC1jGv6i34XJZzj8MC/XE3uH7ZyQL8KYfLLXhmGp4ZQZOpVgtB1Nk5e87g9bGMOQuRD9YpmouZqNfgpIK+MhhGOzKS85jlznSIxT+rgzoObV/lu2h9UbuVkme23ny056S7TPWEqXp0k+jfSUHiDgpq6I3rmHsmd/g8pzZKEiPS063U+DkvhDIJ0L//ChQZXO88yRL2iVjBu87o8VotZFLn6FzwVYznfBFREckNNMLcQVWpS1PHAH0O6TgHtcqAlWc9tYWpCoFgbXQGVbDz47NlAWXVg+jqQVF8iHJFWJdCwRfbCsbC4qRpyE8QEN2jua1DyyUv6DmShuzkegTP0z+DQoTIJlFkDUOzyqpH/Hv+WGQqsoAqHlCpUgmFBYwhUoCtbjAP6WtLZfhjRuVtq8qmgd6bh3jmOlbVjfnR7+K3TDkkc6HSvoQU5DDgR1oZ39vMGTZEaH50k24++gBQLuYcdGj+JDq6G6S9dGTSH5IC5n/XImjiP/I/YY9ylMB8FzwO9yaWEzELIGNBwCJ6ZIq7ZIVZoKB7tnMuHj7eBp/OdGXi9C/1ADXIhrcPNKnIxLsnKru0i2BMHqg2WeICfup66SqVZOy81ALeNe2eeZD2lPad/2dfJTv8nl9hM24V8J8teq8z82fG0/IQxR2yMD9MEvspGTRHmXt7DqY6aSU0WMEGxhAHvSlTvuhFBuWKVqhPBNoiHjKZLn9iM07MdDP7UNFi5B/Bs160CmqYlVHfxiLfi2TQ1/08md6Fwh8roHLBkz03UCTBSEsDfc04UB8syht/tMN59NRdb1exEjMu6q3tX3ugIW0dQ9UBhCzLZ4ojydRJkgIz1RGWrphjju7gwKg1Ru5qGGuXX7dXDDQMBOwI8pmRX77FASe/ghP/3A9QCLTdv0t+Zl3Wg7JhUNi8OvQxh78m7CludwxvC3jBS78PurAAeOjXTOKvQlb6p+PYFgaf28l5YxopvIro1JbqDkl4a0r+xGWJVs3WquR4By0787Jlw0kWeDBUVti+Yw5CYA9VjdiB6fYk0aBJrkkEp36Q6m9r5W4fu6/kvr5UpNBvC4eYvtDcOlbd8llAwb34PX17nN/5tFzNnYLzZsFNP0xDVZwethv9ilxADNvp5pGeGGD7LlFON1dY6TkJBCg0EcplMl6fO7kIeIKF5moefXO06HUS3tihNRsOrmHDXyj9sATYvJVg07FuhBwKyAs5sY9BckJhgcivYILu89L6qs+xM7NmX45TMjL7TMbmH0M9FvZD3es5yMgRLeIpWxW+OpO4r35lTWLQllxS8pIAqOzcvtoIw7TIOb1P6dAZgP5fwxT5z1C1zsiSzmqd2ywBc2T+O9xv/+Fijhw5ZyO77/9e0alZAMQJXvWRXg4/cKizKqPInSTMS/HWn3NZXt0PJFapS1nnkteFGd+kJE3BOqhJZDo5J0q/pEHbFNOi/lWYeRRlobBoEB2A1YNPjJHeuc2h6b/Gc1TC9SJAq6ZkR2THEpu8227WlWl8bJFnBNPESZK1F+xOOBozagumNpPbBCy4CklKO4PpB43bJXIM/miG1/4wD/XkTbsbILcoApu3y/e2RWlKNpbzIQNGVPMnbE7LYNbNBm/sXWQ9l+3JDKO5exhYzqNCVcIknH0wb4XVfgPJqBFj/UWFwg/hsQppoU2VRSXILwLp1OwIFdC2XcpK4OiaCnnj2eGposQZRRkBJhVGT1QsecutMXfVsELsgm8owaF8wqENsMf6KvKU/qI9woCqcNU1NZNrkogsqgp/uU/5lUdW0wd8UTJoaghWpBK1NxgAhy4WNUD1abxtsUY+eFooW0d6Qz+DRqBTlvRYXSIS+BLNV3S49gFoYv1OqYedBTfLSca5B7o3/OFicPOCDF6/3rXTREHwjGHwZ8+6s30WOCWxrl2yfYgaV2+XqT0fkJcVpA09L9LofoTjugUyR6s+FmdrelntV+W7BV+D2X+CVIV3iOYc8yfXeERwQn07l49fijGSZ2mX3QmKRQT/k8NUfLFVZt11vpC8xJPFp1jzBxKo6Tumxzxl57Z6g42muCKfozcPeI/zZRWKn+UahJCCBIWZ1GscZsCteceKRgk3ZTQ95cYdAOVllsovCin/ry8a+zvqHL3m7wc7ggm9fSjngMPRZcM2YLEz/hQINRJI4zBNqkGANHn1ezGNOhwzWTRv/GcDY8bThsejmVN6sosMZ22AlQ/UF7nUvtzTo+LNTGMglMLKFcszpWplAy90oo8eIeRecYw4jr/Bf9dG4Z/4H1+/EM0GMvnnKI9iwLSWqORj+Hi5ka7eS3uzzpAQwAurgiyGln2evT8LA+Z50RWG+7Oj66Pkw1XBeX3vCTmCr6fQuKT5b8czm0HPbfl9unIEaNDL7bRCftaBxV5ti0B5HsHy3LOqddDmPASRtNLJqVYjuwKKKzDbZEyz9mI41gT1LcklEFyzcUzYIiBgqR/N91C0JBpspb9Aa991BlUdIv6mHjR5rqWA8ODRdE6zHp5D6LTgc5LuTsf3sw5vCVGnwleZn/w4e+x7OxQ7ckizqEeQ6xiEgJ6BJ0JiafN607HtEMpBPC7KYKflilSdW82VyrkBo8n/9yHnEHGLJxIrNQIJQ312bODXXK9Y1VaWD0KO+7whiyPLymz5rfWmRqWkN1uVP9auTlsYLNT2Q55do58tIpkq6j4aiHhBkigqItHQyxcZFOAk+zJpe80TEUACA1KIB958EtDfEMfFCkdPhK9mwZ+RX0iT3A+hDDankVYBmWFHW9z1V5GEPen/ZMMb+mT/K8CQac6FSM2aX7QxkFuG3l+/JJ4vPQ/IhEZW3/JEcBaKCM/Rp7AppcuOiPYT21N82YkJg3F4OPp3x3huosC9w6dIpbS3o0XF/STBvWjstX5NW7qXMvUQfe55oVx1VI/EtvHnCoLY848EUTTo89wfcgDhEL3wyA2UeyxGIS4yiQjIUJ1Yr7/o76Lx0NcmzhQ91Gu4AGR5lip3OlBIW0NASCIm79vzCI9LdlFclMaTfgfHuSELZW2N5hh/TkHB4UYgyOaTHaNdG714ave6n2uTYMpBAj1kA8agSiJFMW+nBI9LbMWW5hU+eC3eH0POfBR7M6UqGW1XPhxzBLG6ZXDxDmIl15DUxaecvgOS6V1OLJ9I1ekOq/rbXn31eil3xtfD1EqHhrQaUTAg1K1dgLfjz3pYnCxgHDi1kmM1TnDjDRCMk8mXUJtp/qwcrRNipJyfLtS3zK/4WVje19RaB15Yw+IXWsEFBUW/mLm5hzQRPhumAVuidtYnxkM23yUPkqMfDjpiR++HjqZmPvVa5n62WJ+8+yp6VSWO/C2ZH0+h0DaecmCNOLM3vW6DzE+imCFt9QbeH5n2ICgDqrXMinLOwTKR68WHvr0gIyH+YtO0RB0zKXC8Xq2p2Anpv7NsJ+nCLiotApQ3YhxbciGnxgfrpCpP8vl5WZUbtzMH/wjjPCgceq3ZP1Za51mn58I3SQXQsae2e4kFSTI4wu+/RD6W4v5VQkNi2B196Aq7qCrhVwrCBc0kbBKdtpUt/K4DzrZ97nCISxrwMQELhVJQK6Ii43z/bzpGkE+La5EquwBFgwe8wPtUHu6HvnR8GT6CKu+dO63UTdJPtPHj5Ckwpde/REdngaIqlvQRnNjg5QGxOKzvCYrHpZ2iwMumbRtix22Ay8/CduVyuTMhFo5NJxc6Pt3AkCYA8a1t+KNbR6PGX6lm+qh/8GUKF0H5E3koGNh9Gu2yoQDpIY++ZM63zvs/O81VA/Xbk6SL2fCCmRw3NWPFezBF+U/p/Vz6DPhOUV39zpyCdg7cKOS15i9XamvnsETFXHejB3fAQJIDGtF0TD4MDZFP45ue29H1R0rFphPZs0bOOTIab02y/NX6cbMjnZgonUfEQtBLIPLvoEUq/bIuGYjd6OSOnTQSa3XSeT90za3WAJf4fsiOimfR4RVzGwVGN0P8IiMOSrSgKuKOXVA0KAZeIUwPN/bHglsNoSriT2TMuzh21bhco0q1fkUX/VY+mzsw6OQ8g+2aghOYNWkEn0gJyiHX6Bm3+e91Qv7ZkQXov+BrAg0dJ1OkxpXq23Z7A8weIO8uKDFUehGjc+F4NzFAChu/aCEuyy+qwV+k33Kx9zUY4mY0H98OjDYaYDWfMEJFa7fnFg0HZLw68cCXVBZDoFSd4x1hDGegXiaoEyvasoRNvJwecE08++u0L1Dtux/by4ugHd709tadpJBXXP+idLhzpXnXUI9KrNf9bMPlfrM/cGM+Ej2L0CDtDu8a8JsfGbD5CRSgL/zA7bO6bVRcUlxfTYgx9Pjv2JI97y2aIdymvr76PaNn4aiQu8xiI8afN4XYze5EMGPvDKPmLNrwzhXP4+jF7XSh773hs3HuM2gFKlflrWZHptjpkSqT8OFIm7TLefBU1X8FqK/aTmusZqYmRZf1Q6isWh85r5oE8YaZrUqosNK2BH4c4Kxv5mDV9UEiNI1JEzDRvWbv+bDa2viTVCSwViCDbY11VzOnSnjVfAQjauSAOfuyIj5zKdMr6RPcpxDM1eAR1NDso6CCQDyeAroBgZrQtdSv0ILU1o/+YNNclylw6v8SW7JPSJl8QlNmzPPfFYf7DlmcX5Sllnxr31JWTNQO7rbrwqDd8wyxQacB4sQdE37KPL4NBc/NeBNXO3OfGoTerXXQUp4i21/ChPL+MPH9jvD4Mu0CVML6k6ldCIunvShIF3l/GTrEeG58Bbauh2ew3Mmoj8OBKkQaYOfGf+0FnbYRa4cDAf0skfeV6L34BSYV2M11HirRqzC5PHkvUpurwk7dvJw20On60sE3jpo77KIZgOSETC1L0EoWjWhwJV/FcZ6TTXg0xJWSPsDIutZAeVQ6OmXa83EQUr/O3l/lmb+iHUPQx/AsNdX9JNOE2y9Mlly4YS/9vWdzp5wcJbZk9HO63zjzhEBMMf9SmCxUoPBeJsanFwi4fZdCnEp4FkyoBde0SsuzDR8LYEh7iXr9yhoNC8gyvCnFCRFYskVPD9rgEQqItudTbBadxqMOumZSknEHwjQ83bACcTdQXnAS19ewIPOpJzeaziPQ3cdv3zTKYBXA6AIViLso9ZWUCGlYhzaDrZW7LDI3GeR37EITHIVvXstHX1tCLJ1bl5hgjmdJhjW9e+4+ouGDBG7s+WsgqCygwlXDxD1ODbxROMvIc1NmAw8Wm6GuvGKDJPOpzP3SPkO0+mYdR2kfjcR2hpyTUiSx9v+MJTlb8TcTuc58P5DNEMVf4skBpSjeBZ07pGhp3gCU3jf6+bIQkJiIZ0/eUMS7/zLSfG50aYWs5oQQEPEVSIXl+7w6yl4d1rfh9DgOG/iQ5u8lepFxqE+zJxiDf4chbvQck6h9s8+2Qw4TEvqnBDMkNgOmE+a+FWa6wGxWvg0anm2n+XAacDyag5IqN3wIxZTd8daJI7KXaSPLsbHEYKas0+7jmlRCFNCw6ejIXoXJ8RV4oyfVkQtPIzFL2xELrncUybEE/9bpOqywAfCQXyJ/DeHlFZGzfy2mJdclji0ICv/+uDvYl4E+ix1naDXMVDWH68a6QddewCQWCNpMMmKTm1n9ivpp78DiDu0QE7A9eP7vJv41GtUTCycuF2rYP8P4ouD4IFsw4KDcynSeNQH8ARqMcsX58ZSCCqkoKJ6QhJ/yNw4M3cK/+vcFZVeJPRnXxwIAPDg9lquYlKRkeSsRU6/BuBxPjMVjeWNq7ivFy2bMA1LqP1JAfQOr+RburdcFov3NFbdjkh6jY05ozcmsDaNa1D2f8cE23SiNV7G4TLUkrfJ97BiInUtspfJ5Ru9t9mIY6gJ+3i876suVWQl+IAj5+Gft3DciMXV9ZuYdNlJNaN9rhSiw08iCnT59vpFgXGhn77f7vZ4sUW4CGfelgDCMvZB5ur/9+wOjwLj+tWu6TPD2g8mjvcwcJXstiHNOMSB5BrEcKTZS3jqcXkcOGRU4MwQsWTYJQA4kZ7UhkuURWfhW+uIRJ44zR2irXROFghKptuhGwdhe1UN3NPTBN+B+yW2h4vdw0USwaWu37+FsVz87fanzG7yE9TxBM+dVLdM6zGco1I9glNrrdrZzbdO+TXoWpxpyIyagznCCDvsTGft2YcDiJNXI7bvW5L27AceXms/p9ya4pOJc0onw+bP7d3afW5YA0WeCzdVMZQJphUoAt65IQbLLoBls732yA7FqBwYI7X3Wz4ZQ57RipPwCT9Wgow6Pw/UL9Exq32u3qyEtuyRc+dTTbrVwy2gKMA2wxqFeivvpO6K1uVhoGB+GDZAiNJ7eHnyxg05aZLI089j/iXSRk531To97sXsIvMcyfUr4z+2eyc+uz6G5c4sSlytOiRWo8v0yjoUZr1JJgFG5EJ4+HgMDKiJ3NjvrZUPgSmO1CpXpSEu1fMT7/7lbt+jE2Lhqv21ep7ALGsyN+jisP3iqqQlNp5qa3qQ0UpGKRnIZJF0zOXbbOqE1oPASjkZ6+YGZLM4E0yWCT9CnOmvIPlbucYcfZkQbSbMxfoWfTdqT51vkJg5QQc4bwx4ODydm9WQgTtyduuqDMGduBmJf50rbgBDcVRkN7fFHuPOPDHMM9IE4ORtvU3KEn9d+YizKS6Kx7ea012AiA3GF/ZUpZKQQJ+FRnDhXFbq2GGMFIXDAqYiqlxrfhS1skdwGPymj7Blq7D804d/aTyJjukQ7REAdE4yBcX5RXKH83egNm0TbXQul6Q3QvOsjRSB3dK1FfvkDZrZ4nM6DIwB0NJiXEpO6aKkD2ACY/tJrB3Aimaj0Rm2O0P4kQA+GG5OM9971iB0T26EzE9lUhjQ5G3dwGC+Yhx0nF4LTwYCEwOIf+Zb6rj7Dnb6HboGbQnG6eF9QKv7KgjbhOmr0XAEyux2dP54MG71OSkTxLdEAmMQka+FXy5r8y7TreIpZFA2qs3IdCw3JmUga/k1WZBWRjtkX0Y6TE09BCV+Xpt6qMDFJbkn9VAWsaAjOolQ2Ne26H+fX2qBd0YVuxyTGfLnp7ZvVQHVZkNXmLV/xNHiw3PmiZGcz3M4jso5n4XfCYmpKZMtBh9WfkeZsQJLezjrynvBTiUKurT7VckpZ0GYElLgh1ptNKVVd6hqGJkSVO7ZDqPRQhC+V32sxvy6+zz0oammZQyrpm+Gro7ObRf5lDpF4jGErA0l6xt0YVRz7hV19m4EAFdi0mQmjc/TTJ+qMdxCl+y1CLsn0QFDeWg5BTtYBIIi8c2GKiM8aOVCRQVFKEYzdCJd6BqLXnFDlVVqQh8hNmDfvXqRdjK/xpQVww0WPWZQRGSRhwSCZtxPdhZaNqmEsQWPewzXzR5370y8XB2MsV97EGTdvs9tcIcszM9bpf+RCR8cpjXZRuMk+D5iM/3e6Gt1waWPH6C4Pfm7dzgKNGOlp0pPuyXK+UiFMfBXsOvmFvP0Zdjkr3s9jqMwESeEcPBnnmdOCyQ7hO/F+w496ao3/rsy8zFL4EIyN/TaNKPfzwI9fJ2vVwwf4eOh4WoStwQIGgF5mCYiyfdE73WKkib1soKBN19JN+FvKF1p7sPiFUm0Y623qZtCl//1HEE7sGFnmiS1/h7AS5Erdzgl2386fxZIqeBvjZ0VU3/s70w/yK9+7EryQwzdxKyINtk8RSvKZId9UkE/PCpqagiFbVR3e/PmRfIsqUMwCepH36zqHCUiBMOVUI/4XyW0x6/XYwNStM0vkEOrKPfVQQeJgaqUofVrf7+dN67ZbvrA64IlFT+MRUAWwqyKjGwjdzt2E4kS+ojQLAF/wijTTvJWyQEZe4PNWCTOVjQS3UxviH0D0LLQ64Oh0hnor2cR30wq06c5Ii6Y+ufL+9YHBsjlUXDsKqs8hHSBlaDNkAYnR7IxhawVCO3ZibyzWUtZONAu7ZH7XCdgRi+JVmqYAZwN08/XugBv88e5rEUSVfBGkoh2ShLnTLNUG26BEzXw29ocIBkyjcHGBH4Rj1XujGZDWrOwJJki2AFt7b+75v8ObwNgsoM22gVndzjkrUfkyJ8PHrx/g0L+NImq/PsxwIm4eMrz+W7lk2IxcYuc8A94/wfy/McXg+/rhfocECaapEQA9FcNi/SafZTkt/U7Hu+znuc7TY+oodLUmSNVCgPRPVZPCuKDoIGKpYOolsyw0x5T/o6nw3sU0ReinRCh5rLm0yhep8XKBa30/YBmFdI60i9mA7n8fs5WkE0yYs/Q1V0ZoyCp2fT0awEzDAyhH7Zlo1xByNOUOvdolFY14zyWzh6qrzZxj58ie/AC7/XgOmCoMfaB1blyuOFhviLE9C/aAo9b841JmRZwJQ4SHRvgz6RavW4EZRwIhV/558BuJje8DOYTbhnpkJ4FazZa+dtmNixOfNMg47K/MQaXQltidkC5nzSWue3q4mGMhpEIvwE0mcfOOzLxwZjgmpCqT/cZowzcGSZqH9nuNlL2JR8ysS4aaz6xPfljVnGW2PDxgSS2apuzdwGEq+0hCrIein48G3S6cFgVetU1o3rF7Y9FjWcnDRryO7JuGD5jqiAkQNmFxm/YlPmp9ow/grafZEm5iudubxjmQ5ewPoDO1cDV56iPE4D9nIZbPro5Z3slUGj4ezZ8lHkf1l1UKkLmjka2unzvQbUlXmeZFNLw4PKRQkZjnF3Q0EHpKZlZLaVcuO3oazFoX11EanVbOevZfHGH/2sZ1yWsVZAFwoLb1uoDYVbcsXYnkwVfYtx6fcXzI6oItsjtwJhSlg5TrvkqniY/t29Wp0s7AuMvm9F2uCUm0cWsCc670gnO56soskY5F4IOthwRqk/I69NThDatc8HiIbNMyXiebWmXWeEGJAQqnCwxQKCFDX/naUateVZVzwYJ9ukAZ9xajbm++Ywt2tyDmIoQhnPgYqc4OzuohdMLQAWbFY5mZKlCUzhVcPmKrl54NRi1+LxUPHOGsViKHoePU73TjG25yNulxRFsnwh5FDOvKcuGlOMv7GmjEOlgq/HhiZdcuiwhjg48zVnsBwdVHuP8J739lMpNQepMbjkGjiQ/fXY7FXTLHAUzMLNzploID5isnSBIUcMOGlxVmrValIsT31OpVTqqPrV1fA2mkFGbr8DfHslJIcTYKfVNbCRbk4Nt4cWU45J1YcdH6NTm6IgzDMVtrQnGV0LhXphRin38pCjVooVNBFyRF8GJ9bDWCj00vcJI6AxVgHvaVjDnMtzl4hN6pDlreEu0zdbY0hZq61offwjQ+VbMnjQ77wMFtWAZb1aHMYiRQlPoCzqGELDsfb7StjwnIAm1iyBpbxmWhrspkN8su8zqHFS+1TjMR4NmcfyIeCuorT3Vpy2qAojoREG5tHLXKpSrkolxG9WYBMaHjAuPh+IH2UsMOUfxs4V2BJ7RNsUz3BQw9ytpo1ggxtBA/67Uac7EshoBzGwvHJzI3/HiIATCtb2rxqW5j8F8xfas47MJhIu+PjSbCus+W7VbSbaYHV3PrUX4k14avanIhc3ia/wGV6s5yNF7S6t/FvZeOAzmQ60JmJK6KBJrCTtvStDFirgwLu54C1rbXq2riatn70FMD9HiD2dCUpWIdAM/5CivBSwPytwBZBn1mrLRC46q/wZ/GtnPPubV2Jcr/K0Opo05LMNwrhjHL4fLNL1qyaHO38aTXXVg39YROA0o/rvWjZ3Ky1nOKir7z3SmlEla1/8fMaKhAqEuFeArcD9JcxO8WajkZAV9dgj8prudqcDo4r4LiKoJJzBFLcIvhZyL1+UL8HbN6foRW7UgudQhQYzFIMCIu68AEWmQHhBrvEZNI0b7UdPHYH7G9zq8g6rbW6JAs1+nfsRfEaHsyRDCTl49VPmipaYUrFX+n3Q+9dD6v4JQKHYiA0gJdiJAqtIyjZyiI7SUdgTXuC+QoguOrA7l5WJsAR1tJ44/1QeLuBPWTrzp6GlwMMVEINgbSrDP7oluyHLeWLuzjKfyJDGbJqZzmPsuYLncE+7u5dHt9t6k5b8C3PPu2w+exSdE59f0It0Lklz0gOYfJjIUat5nRE1RtNRp8uCQXXwooHqvfpvfUs8zNGZBAHIExlAoy6C0sfJ8UlzirHhpB48TuIhPtfyfEq923gZY2ToMQlU7ceOmeiy/Hjo9gYufZ9X2J2Bzrex0vkFm5UHHofE+pSZAnIy4O01bfHPqy9C9l5Nxs0vZ2Gl3BtcsywpoqShPtKTVigrz1MUlTiZekblT/4oh+FNaQJcxOcLsqHLHQXqLkAnwE9a+4tTi/IBckzrfqxFJ+gMAUEGN2l8bc0tEYU83tEl/WLCWa6LJs6sckIbxOAZnVIpNRDxEJTZD813UtGDheq0eWDXU3fM4r8OWH413tfuB4BtdbbvGvGND5Bf2dpt1EVRPN5QthgfKjV2GaTHM3tTSJD1lra6UnTMhp7dU5IVzWSdTXwJ0PyyQB9eN8NLWCWReEjSqCzsmrg8n3qgNHaSObf7DsJIwOwhAdy4UYxR2wuoGhCz6JKvb6z6lPV/S7FVMnMlpcrh0wSvE6sIpLAJBMS0w8dO2EeVw6TiRLIEPjwXAv+d0OumzQeQaL0udx8Rt99SF3z6RP3ZdoqeAIOmZss8j7a6RKMQiGmI/cJyJwcIGePfEeveqVeld00l7l+kko9UdS8LsTQaYRuCJG9R/mCVsYo6WiIQNzUzFOLqVfm7yXAxIvYNv5CeKwtsE2gnqnNUdPsIE5d40Nm5gx56ccYBGRd3k7KVmOPnl5z4KkWFTNfDNlEuqC5ctIgWFiCC/Ef7zhLGB6mxn2L0uk3JNmazqM0oHViBELm+thIqq8pE8K3GdyQl2nMeZQBVXtaKzkl33Xc1ial/ANdv+srT9iMWrxUsUzIjrG9gYSjIPsa8EgsANR7rEBypKCLoonswcMonPULQnt6nxPNJ3g81B5Dqd9W2UIdlcpPfgbyAMvpOSWPLj6XhWORRMQsIlEA9EEWeBZdJFWnkqEBaeNoVaq+Mp4PhEppkQYTqp+3iumvuoNGB3J9U6IzLy5Iywh/rW46xZ7PtujRORq6KEKQ4yhIccj0KOzBp5e4Pf5myomvc72MxnOeNu9N1Wz64BHY6lb9YGWxBFIVQ+KnP7k8qKwkJ7xVjLuIvkbwqotjfHeTMHBOA6eGGUadAC7zl5XwtR6g22p4ESNjIhWkg7efAbKsRDlNaicbiv964hgJ5DoJ5zo9+p1JsPgFOQyooKvaONjKHill6HY/2EQJCX0dRCQvcYIjyHttcl2fHpurmA8LCgKIIpJY5rf86cTPGATqPSckdIc0AYCEd8ZLfBs09yTw9VP2NeXCqls+dh0BHIcZMA2RBtMpVgE3mOspQX/L1ZYzP9pM3Syb1SnZxSNd0RYv+Mqur1khn3nFJdcGAyp+4PAb9cg7i2GN/acYA3AYFBV0L0m30OWCn++3NmqynriajPaR5uko2LNauE8jkshbRu6dltRUKA/FB9dxVDY3xILwYeNcnAXkqnxECJ8pyMvDD0qMB+cKfHagbfejpMr8SuZd7z5PyT5S8SD9K6fv6k/6Wd7+5EXXY5qJ7vpezGFmzf6MeZ8KV42LHcpPV31snUTJFfAwqW63KydzY2il/qm8MoB+hX/V44dFevuJEvtIvGI/Cd3Nq4s2ukro7pfTcXlPFi/aoJuBrD/37j6/xNj56hAfpUv9q4YW6+fg/RjGtkqf8AQJ/sfzv4JyKMaiHKwn1rt6yA44yulCDqz/6ho8ookvkyqu8HT1f71HGAMFhSY7chJgwEbf4lcYw7DWOh2e7KyMBuzJtKuFPEn2hB0oEIXAnmt5m0VstcG6RaNNiX1QpGNEq5UT2XHrGO8mggCcqocjwZsRBDvLo01/Odgr3AtwiHFL3OzHXUyC2dBa2dnveeOa8hYq2gk5Mk4qAOw2sAZ+tVwKPyWa+yw0kfLPX5Or3t7MsFS1lQ5C82Tf7gRZTbg6bssQdtcEUkkgB+wsGoJzenoh/h+GTXzD6aO0TUB15IeCxjkLrZPimm0mQd9nVQupXDo3eVtXh/bQtweZEkwKcYFQTeAys4F/msS1giicGx5eQcmcP9qmox8NonMB9uY3cFyfPF/BNxNwLeKvt+SHhnkFa/eQOlrMS4U7e+neBuFKZleAcXu85CBvqkNcCwWTwZOIvrVpgjzHyGfQo80lkUr+qd5zLNeWovEesmbM0gd0EPGngpgd8rYnBC3ZSG803DNnt90+0EMiBD6Qlig/y57n7plrG9CQUlf3sj/QlRPlgG1h16J3OrbMBXr3h6YCa2Fqw9DWdVRIfqEJoYJdd9kkjFMl8Pm8lo66ajmHYkNBBfCqrkKkoRLhYczOjGQxtvr7HP5u0m3CqpVKQWJzJ+OBlI4KbaSEoS3pVlg0Ecv4u1hSBtUxGApcjiFnZVmaDrFClp73le7FSu6IhF1wuzs00NOd7jEfvRn5fOeFa48YsR7UoZO2guSRdmgg+9Pect/VsWtbe0XUzpdaLOggVvtA1Ihp8PV/hhUwQR3eUi3BJCrqiKFDyM3oTRNzli+bG6YLPN7tgPO/DQtCQfjeoKZ0C8dlEbZQrASG+ZV6GuRhcvIh+MDhVfu9YhW7PBNGsfYljDnDD3MbLF/KX7PYQcFjuY8nhW2xyz/1r/WDedDH2rsl56evY3jAxHyCvDK38tbX4vMM4DWIw91MA9Q5YNpHOkNVHccKlFDgLIcpxEJJwMXhnqsr+7ukt2MHt7W4yRWjIXVCZ62MU92Rhwv8ov/qVMEQ08ii55HVwFPHf3tgEUZT3EpU+MZ6vzNZkhZ0PGyqXy9L2JC3ejamcDOQOTj89Klu4huFhYaIDUULV6Z2xfKFuWczLyNOVhCc1eWrYzNlNfw12eN0QkL4rcDY3Vn1h5iNkaQfUvVt6L7xhkP6CqRfHlH6x4JOP/5Q701n/itWPqfj7dTpTaLl7KsmSztN79ERTKBf8TXZ44Ikuayek52ezNhNG65q3T9kuTedC9YR854TbtRllC+f0WhPe6Onv3RMApvbJ6XIE1wY4D4hkowQ76wMNZh94wk0okmKZgckaSVJleZoKAxza5k2gosaoKMhkxs9E2KXA5qrpjipdr+pfZhay10Rss8Qvb2TEOdMx7y6+QzYkaawsvRXAVXx+b6qa2KP8/oXGis/4PssgzTDAEYUJ7iN8hgu4a/P4A43o0KLEfNbr1WDReqbom6acZW+ifpsAB3v5hfRH32SQB/xQaOLv/HBc67tgGREpo44OeIMqe7qC01mpSXejwt0YCyNlAKnOxf/cJtO60FLqz5CgwPQODSKNAJuiKX6wRjFNpKvqyicTcPyHlausbC+HsBfJjbxOrjtPhGOExZERqk+3V2tao8ywmW8yxj4mBAIEy1XR2iqUl+UgkcVy7LIKVhBc+TVwVMC4CKC9haA4GHyrv5E7RYd4F36FGbUObUncI0REthIwQt2E8zZSVf4/xTs6OpyjPOh5CireZmybcCOrbY5IHMrT8YgvQRumkD/OO/lVuw7r86qfeX198fhswbmrK+Y49hHv+TvCoPnX/eWofJ948f1UziO3xMEGYl9cvcuLSHdb7E5o3N76qyKzDF6MOpqqvawnEOjt0IdzTlFDGMkrhMbCC/vBGro50Us9uLFwBujZvtazdN/5GxCG6jTVn/7NmkrfKEs9GnAHtqcI76Nh8aMl2bdziqNp7U8wurQvrul7K0Lb1YVHLwKJoy4V/viYX2YfpI0j7XYEqfdB5GA8naqGNz+LnTJiUkE7gv/UOmgnVDUQ0iKmRBkj6a9pPUjm5LjHldosFWDiD7HfmVpunqjlQoe6KmgXKOCAgMi4pTSlCe5JwTbKTe8MrIHH4IHETWo7czwTblu1p6dPSYhgS4yRw9u4uAnpKk/XHL4aV+i4IFOUswoC0BOa97sbxuNAr/MuqG7JB/iNItohf6js5ANXDrkL+ML7Wl8I4I4U1lDB5qA0cgtWpxMRRPz758fUuv9WRqA8gg2W9+4GLLOWckPvqiDg2Ufj9MDH+Ib8tyYe7yyeSfMyKBpLyCBSjyBmkRIbQgWhPsLhtICqZcwti90V9qIYufbUvJXY6lByqOy7vVe/tmBHX8YlWgz6abCiUJwcKnt6A58dJio85WTS1lajrNyse6S/xTrS7/jb9VuPc9+v2mfufMwf91U2fwarKH3EqvRr8zCJLXYUPJYiBjWemgy4URlIB5sunVy2JBVgrMYx9E25Ida0fjAt5NnucT4S14i/EtMgdSAbVpdpE2iai5FohxCQAbO2fg0ybXpd0+n14pG16FMPeDCEDiH4Ox2WYA+Jh3cznWrLL7XCuKFIWZirSTUCfTbeohkzvInwVzOVV+OhlP30PxUglaoRta84ZUab3rxlbHknfIv4E2SPoh+L+Cpo+LiaCa4f9mQZjH/Gt7xOhwcgHy5Y72hP0eo0MVGQq0lUX1AoA3iSQshPDuGJ0amNMMca38M+GAoxAx7wrIlvCifzQEhtAbP+ST2Ne11MLOyTlWt9WVtaIJtQIirhobxa8AcGWcHsA5v1OyvUagfsOujBYz264yw0hXjoX3QMR7N0ju8XAIQfAkiULtgKk32vZ0pqT9p2ypWqkAhHfOrNwKgsiUlPFiaeyq7G3rXRhlDGH09R95LgAeUSSDu1+n+Lu9g+I1SkohqL99EKY0UI5p+1+KrHf865j7ja8Zh33yrP53iDBPX4o7NHjWeDfexppFPTNjIU8milaGQbgIbl22iNP9W1XIqqrDCsivAFEuy2R6sqek34ePbEzP0wpda5GC4uB+r0bd/K/A7wyhA+i2H3cwsoSckaWK1ChcB0J1H7kiUBEcR8y5yL74WL15uy71qWLABWpSg02mNm5nel81LIard3yOOiYcSYwCpvqzEl1VotrkR/4ThgoGKl4ohxCQDVXUUi1iQemZ44jnCD80Z5eOURTwcfDW5dvcf+sdbCtU6drxVs8WPvXvhDH8nuzrWLal/VPSIebDuVPjOolmUOVM0TEgUxV1Xl2ihxrZ9s+cXNHup1iHVE9EAgp+2JBXQ+/eN5CdXLjKNfJTnPQZtcfVKZ5xeDWwVSmhkG/or5rP39WevpsKwyJ0eQXQ8WBobMQHO+t0UuGbd7xfP4PQ8Q5Kl2ZImbxmp7kXr2SAG3+iRqzMCp0JEtHOJAYMGIVC6c6ajTEvvG/vbwjMbKrqM2xsCYsgenI3q/wsr2R1/n62hGpkNwEQhEnj82UqoCv2O2ztq7xL71mzPNpbS4bO+KTpkYlkQPVhMMDCsIypYDFbFYeuavYZAAAYXnGc/iMIhkBx9WptC43ZVMNi8ZP6xDnBeo2zXX57Ab4ZSEPE3aBUPBtPOZYSeBJIuj9qimR7wPAhcT89XOzlnsFchQpW21eonR9XyUBdSiDYt/cWxZMh7xPgsEUvkfnnD5hdYrFraITvudfNGKQJu34JvIhKMoHXUnhVNKkHpSmc7AAMx3vfzNqCgyuu0B/l52SpzpufGEgDaCsuoZBtgMs3J5CV5Pgu6ax3jKQYr2UbvqUx3qMb4YAt+pwwO2o79q4vyImkxSnXIUuztsYwrko7b1c4VeRy1Bn07SlvmEQ2UzuKv4NgophCLaWTHgALK9HaotyKA6TltqCELGV9KRknNJQEUkwOv/yKkgFqF5JPRPnckETRIYYNuhfV2OtoxgCZ3dVhnnYT1gR/G1d+IhdOqyB3WtmS8/UyxnBYcv23Y+5dMSrxiEHzv6+68YU0fsGMbcugXhnkbPwPAtCsRuZCodcigIbO5G1XarEFmN4DDHWhneNfbgIm7/hywUarKwWOBbpz5QbtZ8pqRmXXfeNKSCEDzfWXIkP3PAp84ZwfE4QW7KM+2uiPytQDamFNPnirDGSegY1n8/RL83dzUd96giH+bD24kcVfmXKC9zAzNCgAV8XlcQvB9klyQ+OiTgAaSjmQR/HeosrxyRruXYBJSLXuW1DSwmwSz7R4NypQuaHWfkeMLHgcPGuowGJ0ANYdLQczYh7CAqAuxOPfhzrnBVglgPwIS8OfLMZ1PK2mAoyiAu2jTS2WTndIp83ZomN1siYiXziOTWceQeC+nmYEWC17aJqFp8sTfWQOQFWwKXasbspF8uUtGENg5NzSJTQ/0pd1Wq1ftcPUXlnAOqYV+5HUrckSOLSetart1fMyTw8dx3ReCjgQH7irQxgZU7cYAUQUG2pmXWA3O6LjatQFjKWH6NE8TJmMdMSt3ZRPm+lU/00/IpENAE2hGykbB9CCSZ9md07JANcEKG+Mubt39GyM0Zlk2vG/8nbCjCx75r71/je7NqVYkpD3aYbgpeYXAi+s67fM0s07tG7K92nSyT09UqIuzBSHNAU2KCi+Ta8x4MGguXzVAUqu8ExWixXRz5PmmyO6OMneYP83asYumVDc+wsqlLGjjMwB4r9meG9baHHlOOCHk4xZZCVinuDYboLa5Lx+d+VdPxFAJDxuDTksaPpcBK+XTsZfMnhdXTiYjc2JgDmdvd2ijkWG8QqZj4R3aRb66F4vRUZoNfIUIcagM1YJcJT2wbIaUUayQJnEdguYAeh+5ds69bnwgODNDbWvuU7pnZiI0w86jy4GuCLGEuReQ38JjvJt7AB4nU0lhu791SCpj0p5/XAtP6uRPBOOoCjdkCTmXkB5xOCYeQ4Gy0Z4PPGeHY/+NTmmYf6B9ru+JvpMf2YOckKPwcD5XsSrdk0PYFducpAV0nOk5jO0HWPKZfALLhzgW/aFSESb9NV9SRR12Ct6vURIemnNuaWLNUFrasG9wlerqyN+KnqO5tTO9xbU8HMqUnoM81ju44QThPFQ4FFvOyfo7vLmGESAPkziqdhXDK85n+cAg3i0O7XXgouGe5XXDnZtdkdoaUo+kh8/ZZXW0UmWOlgYuGBu8roHSxl56Gix+1Vm5RfReJ2icLFligUO4OSI3c9ayu6yNB6AOpcgiXg0zcWSB6hEkIcu5+x9V/08QaWnWN/cEJr9ssCs7ZsZd6QrwZuAuk1cypLWMEnIOWfUeRfkgWSTrH7/6OteHUkINYP+C7mSvgXfkaDBRyz/73cjbYPF9NnrfUIpdm8G6NAvguhjrv2rF1Od8l79lFBnfVpzR1menE1+VM59GQm9nYvAsFvR0BXlY0VyDgQlq4UwJB7cENqa5frR5BuFcchRv4F9ieOzKgFqrME41BP6wJaJaI5JBZl1eMTSLN99CBJxtjRZlXheJDWNZ0hxqEn96iUxBzHqGWkC9/f1zJNs5cDcDTOPVI0XoMTGphpvIr0p35hyI8T45eC8ZWb6FgtH92VUFM/IPjEUXErL3tzzWoEYRW7dP12cMDYIUWTpwzU9tJapMCG9FMEd8ng3TgYCsG1CrrmbMkyKSTzsD0IZqNA1C2oVLCWs9kERFKPAwkaXmG4X+Jss2COU58okv2QVveMFJ7EsWVnSN6rxpOQaWKQ25dwQMyJFjJOFd8Mz0GakurmHdYK1y/tOfgL+tDGgu8PvCn9PepJZihvk/WstFtcPsx5kx/UBt0Cn9KTUGq6QHAQezmHTVKCnoHJZqJGIzIaM88/KLOrohL2gzoKvbpQMurYO8O3kARWyPmkg58QA4a/2oEzvWFewMdb46AbcmzQclpK8Tc2VMO3EshTjrhfJtKOF8e7Her3Gjh8dOcAH/6X/MK5M94+r7DdqpJA48pd41uBDCIXLtN9ttbjRbdQWgjmuVny+O/xyjcc7+aYYTyCyOJ+H12ljM4IsUDzbULjDIhcMkGOpM0UN8WnAHIsPyCwf9BAEjKP9N/8tTsjKGjEOuJBzt5yhzHWgLZzdZ/n2kDuoe29b5VhEpKCYq761B9/hjszlAzB4AHOfpTr4xniq8aYDEAocXiyl6R+d6wl3JUq97r//c+vFpnYg25e4Z4aqjYvQ0jJoU5PZneM0waVYJ98aeUE2va16EF2IW3Vyz7cSAhNhDarhuSaCVbuxXOoFxdEzWb3Rt8jGhHo9wDFdPXTHCdOdX5SU2kXiyP804bhSAyXu05yM2/DYSTMwSlXu/u/LF+RSY4hum0gBfgWcxTWGJH/8pMbFfNXL34JyNnrS3EAarautLZ9AQbIWqDRtttdPx+3bS/V3zweCTdKGedPXROexDYCdPSJpTHVtfSK99FNA8cKl8r84crGTmrEa9zdV4QnmnS3ZNRr+4S2lljKACYj22W/cWycycaro8Q9nVUZuwJiqaDIWsxBRxrHJuNYpMiagQAmm8B4rYFyWJQBE2qemcJRFKHoNRauS/KDdrDd54EiW0DjiZZoPECukfPgmY3URbz7NtkRHutaiYdlWeQ99JS49XKMXT0qG2MH9uQTvsv6JlY0Eo0UYw2JkxvH8QCi9wre5/WVXWDaAJyhtdFoRdv3ziC0QsWCX9sQxTj3ZBjAyRX9zuwXn+4DZLA+RUMZqEuyu5iU7uLMTU4rAZBdbnFYTKcoEzuuYEzkiYWVsbVT3czj5Icu+E3Znead3CbTcf9gcTlf7X2pF+MBpU55vl/RQSBmkfqF6jkSh98DS5B518BOkLJXE3p5XzU1z+qxX+TCu+kgfDguOIrwDK0PLXfKTSSxH7kLisfX5eELar1RRiUDmYcCTtvzZwNnPVAoxSAxk9h4co1FtUVYNyxeiD/CZewL+4TgGV/NKYgN0Xde3102cTVWmljvFUFMz0xnV9I/h0dhJYAVowO+zOOzc94JsKhCUp8cyxUjC5chtCzkhWI5uh5t36auyaO05yvniMpHlKxhx7aZjLeFWVp3Vayz+32v1Mf+YqdVZ6nVuuQILj1byXI0it8y7b4v3zTMHz6gzrY8GWYwP2A3LeFiHkb44GtovxD1O8txGa9ceWo7COlr9t3N8O88lNmcw7xDR4zMf6LPkvtIvMFSEhkE7uXZXgQQl4Fc/FjCcu/IOw/GynKDSic4s2i916BxA8hMLFrU56+e3rGLNMX5fMVj2a2usL7cB2AibQePcZdZBgWxR1TZaPyXRHT5FaHh6Q2aJGAJpF7sSxw1rdcZTogylZEQH3atPEm5eTG4Y0zBBm35bq7ZzuG3AX3GMrpVbQCmS1Ps9vj4EiYRkXFrBzU5uslNV/bvsh4EaFIdLMzh161yxRyyXrtvcbTmY6igtWnlSV4aFjGpPVerHhZiJLT247Cm4tlYWsg2apZUMAAn6DQLVjHx2cG0inV9HeyzP0oS4QoQ3NktLI7sbt2wMnOVhSL6AENw/3Z1GehtFSHiJwpbMBb5vLqnRO+RtLncjlkV7+TPg0J3qQW3QHk2zvy5SqtiA5cnloyQurOmWilbRUzEvI94rSS6KxIdCCE53vfxuXaGwSMdv94fwzi+JcidFm8qr6Z3eMGUfKhuydOCa18s0vU+jJtGpra8k0kZa7AD/SQR4GCQF82XV4H08znCAvXcD9AU19uA2i7xL0Frd5g07LaNwBrDZEw+6Oy5S/vjqBCa5hAdfVoS8AX5ozagpYCbhE4pTKY2BFqIj2lV11i+C4BQz+TNABG7qdbdoLbLyvmFIk117zByBMABGpgDfRuP5Fzqfl6umGbGq5q92buYNiywhCZX0SUSk6cHa0EDmok9RWCM7y5tWIdAcaSj2TwiKQl3icfSPZhkgUZVPnp2HIhXx0FAQscjLkV9Ei6MSB/IrrcgUyDRS+GJAqQ9H9VdTkmX+Ac3+c5d4uyuc8v7L2X40N696YstgyDOKYx16CasUd8pdptrdQ6WqtJdnds+0MgWZrfgwyluIs4GgknBCNWTMc1cbeSuC5FARYg5PZXjQfoFFmp/KA1eG+ou4z1N3niA/ywztrWC4xfXJ3cXpwLMF7aC3yPcX0yP9HcUqmtOxM3dniZqJ7S3zSTltt6NyCiS3eL58szOhmMV6RymT6rjn2xJ6xcZgkAP8aq/qwTzBtZ41Y0joZtV7+2b9AJqmPbASLmlia8fWaJ8cBK8/iJldtlFNeY2rsqIS4ZxAojMlmLB+2BxOByD/s1w8FgaPPgldjR/Esg/HMbanwIrioS+Qf8fMK0Q+yB6qZm4UvBKlk7JXZO/5YS3pV5SPI927b4JBMF5ZXmmjbiTiGt9fBbd3MkElh+spJFOfABfcN8Enqk9SxTurllQT28iL393vvklrEivXNktilIRNU3csrQ67v2FWDtNSZ5bWHQxSo9lpeIKWK1s5W0SUR1uVv9PP+ET1XH0gvA+gUmivb60aCpFAP3JdNoRRQ2Tktu3r5D5CrjRLGEeBJ+T2yLK2Sa+eF2vB95TZ/tmH3/b79SqC3k7IzWVQRPxoBc+85ge10Kl5uKgMopIxoGMIYlyX+VKW5G24S+w2qTu4c7m+0YOvvoU1sp0PJ/F+4/4c3cjFy+BAiZ1RBsp3LqTzTVbNq5eiIafc3UNHgHCrLM5yq1ljnnJIdYw2m0rjYb92lJLcOf7vy6bTVPonFYyl9lMT3XZ84hveA1gPyEJG4YXtpLd2R1UfZL2bubw04RiIJ52OxdjuRp9E593ef5GLOJc2NlkZ8mNgAsBbkJPg4wFYYBJpM20ExQwZ0ch8zF5xtk0FUJJS/RpVtFI252jis8AnM8YOu9cMPPF53CA9d9Es86T3jGcHLhBB0UXq2WujaRY5WQxvGW4HdG9zQN7l75eJ47dKb1siIYL6tTWD0zD1R5doctoe3F9xjQ0fFQjX7NMjZNCbv7Ow0D9mTsxmG9R/0oin9vjBmyL/O8RALrMYRlPRrrY85yy7/XRxXV99fgw+NOu27j82aJWDT6FRDCKmCZSxv7fGMpVIDSht3dr7w05aTQ+sQA0pZmWclL+ta6rrXKFVj9Cpe9En+Czcm22hvnYhDuKCsLDvFtGrQEMlU+zssITXz4xjRer9/Z+bBfsMDSKCBSMNhRH1tvUErr/PzlmwO0FifKozJ4lsn89GQkMh8RGKws4yrPEiJXyVPfpdLGj8A9YRbN2DV/LR29HAez/5ySyyENEMeWF6xZDI9ChxQ8pyh3UEdVrX+x2H2H3F4UFEFTSwXG7Go78J7pTYoET92oOsfsT+yZeUrxPARAbp9e847za6+eb5yZHYoAaAKXNc1ZnvuRDSSwrYXVZjUUzpHCXjHqTFudS53wCKwdxiER1bWDLQL4Cyr7rvGjzFCIvLWY7erC4s/N06VyNqAjzAGJqnhrT5uDbELzXcTMKUbU6oE6lwfwhhQXEpC9myyL68GfAuTPEzZeZmoq6LCQFMCxmojeCE7RurAAxEJ9hFAqCU69baWD2gtZqPGy5ReMbCGZYF+cIxsi36Tg9nU9b3zHMgVAcA6VGvt5Wr0adguePuCgbbvxiDebNOZ3G4O0SvxqQgD1RJurRJYr5FgToesbfxc5U+OLbACb3KPQ/beMsfo79YJIwv1EKn6fMKK4DOXO4rHKOHiyr1xct7E2UxofFZJcSEIw4Orm0G+kf+c7ic7bmfufRzt1GtZafKHF/KsBGvl/ZvftJ/kQUyFovGangYEYuRwf6/4RnDhWGx5+uEnryhOUORIIwk5SMouHc8DHh+RRpTFa+cCekgxIQL500n9VhczPRD10z4tpb9+Z+FJrqvs5uuEb3xTEgLeqDmESXx7pMSeVqbftSIIAvg51GMaFo8lqr1ah9h35Oh4Hx62ea7Xx85eWM9hFRo7BRtWyaIwtSfAVg0ZkBJFx/VHrWZPgsPcLnsgVbyq8ElrarQCYK7Gbo56sY7wptCQg6IyJ4vWOZeFlvodsDb6RZi5J5OOe4lKIGTN+O64AOr/CEoYmWGkhKhdm5w9kQ2nm45jTaXPMkVoKwXgAgtLs2sNepE71ZUeu2BSuhXXwmllvhlhwipwX6X4ylz/ugfrwT7Z7Y/8NwfbNLYOwYaFFI+DndKO4VxoSZ7ry6WU0g0i4k8BgXYjfUjER9FN8I22yXDyXbryoQO2NLTHtSD+hys5N9dxomR/ATrYhXCr30I+pa5Ph0SCuvJwMS6p2JdsfoJHOo5st2pdJqaX/DJOr/M8DPLTeJ/wuRUwgRkB8SUIjdh4QOoOBWC7JBwQcwzziABx/IcHlEiSemySKwcDTvM8ZnMeLGNk7z6MtJe8TJ6EGXn2iZen8hkhOhFV9PLpj+loCdPiT7hu24G7lfNouS2HhdB1ElFyXKE6g7I8sGaxa5vGyt3yOQqX7tQWGTYwcXVuowTmPvrIESntbvvYvIARM4cLBWSEoG2JXj1rPGh+SMlvP0uS3ANG8EZ1SKOB3L+Ne/BGvCCkxBlHA7fh6t2Uo1nHnZA9Q8JvSEroBDsDGAAzuHm4ZbbJikIbTy263+pRgBig5UpsB9IL4Us2/e8xbahJ4aWhJL/J+oLWIo5AXAOyr5Pi5WfKC0L0rNYUJlVf56olGroT5Bc9W05uZkFZ14NiWETygdvdyjeBj99Tl0ePIiNz9kkJTuIHwrZFX2qdGa7J7vzMKWZP7ulY5CC0aHnYuLmZ+i1NxlGJnukO5wtxn5ptV6y1B/ABLXfEXLI5pgP75vo+ufjf0ryjg3xFI5SF/L/fDnY0aF7paJCqS0bJceYsIzOLxcpQu7mroh3ArMokfjOOK4jm0o+h93m37Eq2peUltsZRcU7+O0u4lRhJGNc3icSe9e8XU8LmRfraKEXoi4Z+CpZ2WfCVM/LiGjMCW8guRPbZMDBSQEbK8d+k01xZiDh5xG7TnG1oPsWPBknSDCaiA3LvebbcUH6a870v9Zwl251sGY4z3N59+mHDMgOMbkiobgG4fX4M6TbMoalA+MPzKAtLhfQBb82psggeMtuvLdwijJw+5k+guwN1mN3w0rcmVew2qny5KXGQiwJuAjB6ppqJdPdDZ/R+hdeJGjoUMasujKGPLIjALBKPsSEsiyNlPEtYMtJnuSPmLNRJDLzj6W+2/pC1HFG4lZLyn8etSqk5Ofq2L2WiB73ok9Ag0tpxUNekb6s8R8bmzVK3DWYn3iAukFxBu8kr33/n7b39uRdsxqP0lwUllF02/Vh8b70m+Wuil1o22M32jthA/QL1E1MAvr9T2gS8CWaTikMTy0u64loe7+CbyqpgwBvaZRm+rYHJx8zGTG5rQg5DaWGpIYGaZRj3Tca9hVoUsrb2RI0FVXesDUfLWD/jaK7HNLbNB+9Rx+Y82Qgc7dDGpjzEkFmXyHdwqsn5is9LXiFWVpcy9xYITQ0lMOIQlV8pbBTngCiPHqEiRfgzbgKdYr01h2lsPNtt7SGxi4utvcCaTiejFBSmTCWs9Iv5c6oyn0UL63ATGPl2vcFSrbwc0WXdfban0bI3YL9eFNS6qkK/BXtR4y58I8bSuGcHErshtvll1qArwTGmLxvknjRAV7wXAt07WeUyoEUcDT7tysqhnDJ/Mv+EAB3ze7CuheeHT2GP5keNsDZU4jmqAoc2k2Gnr07MsXkmPOGjcVdDUpR0zzGyrL0dGwfZsi+YTK8VhIaEvjbszdlJtAuzjkgap8KDaSvYQo/kITql3LvmXpDREbtswPXrIHiw7OmxzjilxiVFJnAnaZaQne64k2iadOxP5rs9NMlxUa8fLzijFsudI6mfBtRM8JCc4+HjUQ7hjbk8JiQuffLztanHl1MdMJxuDhZgK/qkdzd80DK/WsyYNXO2F8rUIyaFuY3HWCdb3+0BTI9y+Q8OKNlUFWTN1xL5AOACAFFHOq6YpmORhQ3kauwwM6kcEUTmwiKllnEoNm3wEmmCo7K9chyjrUbyGenr3glAI3f8/K5zcV+8+gQcb+FBdmVTfDUTzSHTREb930tkbSsgaavl1XoAnIumck0zKdDkerqj1nvmRxrf3BKZ/y+C8TwhGZzHzx2/uctVdim8u9KLWpPnOciAr48f4kS3/lOdjqP0Wxy23843t4ahD9k5xySrM2+os9CISWXOY7xAML6NeACZo4xtVGFHu98z41YEAMtsHj+fT0uiU5rcrwOe8c+x2/ahk84ukt6GTzfnB2sMYDDyCbpH2+3rmOwnlg45NuOU//0l9+tAMHR1llfrx6UTsTKWuwPL6FnmFjOqltPahfI4dKbOSfm/EdH99NxDYC+qCU5y+LVM8vtf6t9Ihct7d69IIdheGjG+A5Nw91fGZZOp1Y1IdW7nw33SqQE6AKqGN5UGEnxBVpn1rowOigKCCScSeZ52k6iHf70rH3U3DrffgDfforRY5fOJbxl5WH4BIaTwPMFNx788UTBjDkuBRHC7WcoaO0dH+Eof6gqiIInzowEiCRTHAWmJ4Bx1inx7euwpZy0tOCfmi0/pl5Als1CeRqTDXxQWZA+DntqBFGRJOvfv/7P0UlpgScHUD0Ct9E3XJeQq8ZIJWwR1meJKblcPZZ2xi+xpL0ZGPVeg6ZQGvCWz1XX4sUjrNRvPVNyJ1mHw7tZCCYvs8luWWJ77j8TlStECyS4ul1MeNKk9LrOBxmXgbTRfo/UpmG17akjspTy7dwWdVz0gd6Jv0jIEDrI6Ei+nw0x1NoETqY2uKNsTc4DicTXn6l0ytMQsELS6vddBdfHNICaeeWB77CYHfKE2mHLIJnKML7vHISs0Lim5FiddsP3Up9sfrt4EW4EYvfhJ/wugldSmsNpga56A1h533SF3+aQTUdjIUwtJ0QIYb0WnEopiC3duAqkW9aIJ2XqjcbwMayKKJfGp0vdd0dAwO3JXPfmlZq43K/dM81bnLsCvKzJ4+IG+ykL42tGAPRX5UFwDquLkcBb56XQ12fV7orbxQ/9kv6T8m4wURQNr69mrLkFTRNHYtYQdaUQVdd1XF8K3Vii4rM1eJkFEv3Ej5NlY7u9YMtd8wy+rT0XjThurGZmG5xcQy7UDTjl2I3XO3qsQkVvRN2xjK0lNSmpF+3XKZffxag5Ntln0rgWbZd2EpwRmlrckGGExtk28tVTWxF7J8YyEKyZqJIb+sOxIVnP4uGSQpLhPI2i1/21hr+LStogJtrvGF3iDtdEo61aJvZ3kuhj68zflrFX7nVUjBoDAKpek11aJCuquhzNilTXcQBT4YVIpWm7BreiGIpXDXXTjebVTiqexyiRCVXcAUgqr6Eujij/GUcDlB2vPZ+tJdLCcYc3YvL1FU93E1RSYHTW/cW0eh08gwBlVOc6O6o2miXCoNd9cJbzGTSxBmZshfxooZCN+X5BLcdqZ6Xx1+cQo39+kSllkOf0pRHNGoWssr8uCKQCzbPCatGyG4hchg3alnwKzlfgQc/u8sq3R/oTEgtzLMOIaStY0vAa+0moJ+mWFyuTh0kw5PlCdUOVo+63ozasIA7E07IZUUcYPSMULZjfmrN2IFh7F4tpF1WSGfs7vrK5upRigZwFdqr8aDKk3qORh+jHXwcj6x1sxR3nG/8ICoCVbhN5mxJfgH2Ebhzw0nA42aY+npxynJg/rRZxePj3os8jfdrMGlm7NYqKNN1XLQ1GT4IfHC79WPAXZzSC1LCvwSEfwqDxciTTUqJCP1oAr1t2qp/6vMX+gtFTpZw5b7Ig6jijGkJbR0lTeYR32zOkmtlORLcdtzTHGwSPiULZIcfWGoFiEW3RP4FlD3LzmHWcTuyqyTgpOY60lut/0CQCnCngxINR6RjM/M8F21ex6Q5s9vlqRH2AUAHZyEiKhC1IYyfBhAzGQX0O7opMNa/sQRKiguv8R/uh8j56Z0O0BY0AwIMGe6LPY7QGKRnrBzGoAHLAxUYHle6nQOysYytKARWl1q5j4Qg3uUv05pj3S1fEa1R8breOyBP3QSJemUehARXEbMvP23OE61A3Luj43GXojQ8zcUWd+KU45bdNZ8X7j0LiYdZp0KGyqIxMG6JzpTfeUHJaiVrFdkaotEPlt78zS6nV5tu85KPqZocqjqn4notMI5sIzzaN8GCMepv5UrONLtHcGiLtXJ50EictqM+/igx7w4gefrq8JpOQbIrWoYFplFkBDQNhp//hb3vkudmp075mGwx/LfoCxdfzftKQZzRvweLYQ+QbBAyWuFJQTK5fQNAc9069O2bb/KzdRRi0dTx0BxY8vN1hIjPt3qobGCdZTa1kH22460vDqA+ZWTFq53mCmbFWJPUyv0cP3j1JabpBOnmhAO2ph8VADoXEBkVVsGjhxrnMJS1KTEkOoYWK4QhV5dP0yxwMKmpAkBv6X25kKHtsHHTToDMFaU7pyJi57/RQU/2dkD7CQyPuIDt/9yb9Hl4wSZhTCf5DrHUvzESrIaMeKmlUO4kC+SSn/WA5R1zbQCqQ6F5NOo/OtgL0l5J51X4xmCi1JiWfRZlNNR/fG6x/qv54wfZ3HU7rYh89IEWNmXzlCLbdVAXWotCJf2s0Nrp5qU4ciF0uNa0ApCLkm3X7vPBVvIYmiXUebPO9UueStdNxujLyzmEoWV+OKfEKk/fROplOdy8O9vdo9HtLQAXoa2oLKB4W6AV2hQ50kodusZC9Qh1CdYfiM4uY0PX4Q2N0YmD40gg4WTcrvNZqWKQUlo4xng2JNQhXK6v8YH82EFtFj2iWvJVR0IGv0xcKL65iBxp2KwJGhYrIpZKEE161E0CjGqljB+SETqc1faNdH6Suff3jH6PMTKBPt3hq6CaGyE+n/gafv1IrfVTzzk8iPvmFZQzEaXNoGGWIUORMiQXysowPQu9T4yFc9uIhaoby83ZsCNjf1zXd4Dyl7Ve2PfMIVTYRD/ekNFRxdtEyN3tEHAbgicj/xyMSXKYy36ctNd/9Cxe68O0zCPbXjVe3bH7J3kzbeAmKHjyfzdzgjTT2MIt3xVwMJLo/Cr6uzxCeaGX7W+nDq20dnryTd6Cw0t2Z8VlMSgbTEizabrWGsFuJNTXDzDdCVye9lOIA2LgNFxlMbukRYttT2NC77zWGNGKB2rlmE0S2CfrVkuhWdlwIZSdOz6q8wD/VjMAJjjiC0N29kShPFkIEsnZr3W5oOaxbetCIysXEMb/2WH2TJdQHTk4Jj4Pin34kgdDWBbY4C+o67QAONUy0he/3boySg6gLnzL48x3sHIfBzlJT0bcIeEIg6/hUSOUi3acSg8k2U0RDLytaU6sqQ7lyVCC6CIGqAzrTuhqMtI6JiUhavdCm5nosPcvRYxNh6JjSiaY5+Vt866eQFT1rjjZrKjPK43Jb/CWbNdcViJfYiUuGhEMPFS6sbGImMOSpyAqc+Zi07ScFePGFcfs9JUXEsC52IwySxFuFnF5xdquoU2MxXiXab81rpwdZxBA+YI7ggFpjHIk8ORgzss+AmC5HZM/ND8Dc8B5nPOplmEx5DXggauGaEuRE0ndVlIKw+qODU0j2dF7wrsXy+G/oCmNqO739jrbQBJ0H4+ezFKPvz2lRBr/acNAT5obb7ZX3uy2Z5ZsrHOMMsieaXG2I+ufGyQdkpDhrtcWTD8plGB6fpl9cnJkQfa6f5E/acKMny5YUI80LPe1ytGLgCriLQSfnOGloKPuuAQJHnkex84YfZkQ0ODPyYyMshGt5eY4tHn0bOYsnMVa68DCKPd7zqQPxbFlOob03ShG9ILjh86LMmH7YTrkmOMIANMFAKtIJicS16zC/v48XBtrTSZX4+OKPhp5poSpB5TxVOv1nYueLHDvFxxn6+C5qSPLQR4FHRWe4K3iVS1elhB7amh1mSsag+97K/NR0pngNyfggJM6eVywxaiDP6zOnz5ZCkcXXPUDkxqlRmSPYths4EyiHalLCJIbVijjI6QbNt8oemZy0hMT0gN5Q5xfgiadD9NhLWl6KXXIIyAyasmE/hmk2cUHJXo0auH6zQYRDvL9a6K4vSzZVRBIsRiYlvjDXWSPYhq2poBxSD+W8IIU18Zy4tyZQhwS8VMw53/VuDOm0HQmvugITQztDW3SmN9U6ckTXH4IBpKMzZlXk6zVRpDJG14r2TlJ1IxK5i6t/RJslkAqakdfXHuOPspYzE/wTxlajBXyXyEDaz9NfmFNpPe3z76hZZsUitfWddzulWX3sOEqhbLZL2awgi8VsAYuup/QewBSHgzFJT894S+3giP9o/M2XK/4ZY0wppAPayjxUriSgodONvKmyjTFHrAdtAHFcGGdmxm8t1Ecoaf2n1mIvznSyQCVY4z+hb2xwAzR5EOjww6T1NfZYNEv+mitPu3a7WAU+7Bu6O3UXLn4EUkHF1/T+j1GUYVncUHazz+pMSFKNIn30XEG0pa5FOA5D0BpZlByUoxv0RctpaUVGMGM/eDhed36Gqfq7ynzDUj4fMTaXWIK8J6MMCeNnK072yAo/uxTx/SBb8LVLTNLMMR76f2tICp1OyvzBe73r32D/7i4ubB5xDQw8AUAGq9V/a++iNEySAf38csNC9ss3BJbiWdhcZSAvFJKIvkxQTUnAoeooRRTceZLd/2/va3w04uxhBRKetAHGB2H+o7/FbD2MOSQXa4rSPoNEK7/q2EQ7SXLbb3k0ZiXHZRl99mv8P7DXbumOH7agrrFuv7WMFxP9pf93BqcIolcAyRxb2O6vzq3d931ahwGSJoUtZqyPbfD1eLmjGqKKBlQ/TFqyr1LVGH+Wp/AKv7889+9bZ484eJbUFbMb1rFQ1hyqv1CyetA4lsDe+AcGdPZ/CbXK1Ou42JSfLbxcLuVhUQXn6YGdCcCClTjcf6jhcI9CgCLotimHKv/BeLX85zOvZjXio3DZmtR2p1CvRrrpT0Aspwnw+CWIlcsCU6QyfuFTQPRQVl+XuEmdMS0Ra0Zs4iK6kI5NoJObVWla+9Qssp2jp0LUbe8W0dhuL/cMUP8PFvj+avjzdAtLTt8Wj3zpIZjVF/EAHBkGxBkOqLOBqDQDk9zzsjn8tW8EvMCKYdYyZUR8DD8bM3QY8eCaSdQ2eeEsVDQej2EQkqt0XhJVG0rfUS8uNYswz+Qp326W4D6jZhnfxsdISn5E2S33pq+Ncfyd+BUdoAzP+vr0Fvj/5waHTA5E5HHIWaf6tdSJdNK9TW1ar1G0jFwiMnPfryx/ye/vWFdqMFIGgHWBElAgVzfR9sH73pM2UzFcQabG6AspF9k1Ar9mn+RAYA/n9aPYMAxcg2p/a4313fAZSZCVBloPt2+zur1HIJ/bWckCp0iuv1ijKzxThWkL9jw61mN81kBU1wQnxCmHHQcUqF2eUelAtVYUlJUf0CA4TuAgIjsi1GpAahXx7yZfEo/luqZjtObASAgq8C0TVpY9igCCnzIQdw9C97vFGQisdK1yp4WCBLQH89lRafO7VFa/I1DG41jStU079ZbkAqv3Oo+OezKRDAjEvTg84hJfrY2nl6LMQwiroCBfiSvzx//QDFxbR5YBUqYeVAZyrUt6wJlcCOdoPQ6ovhNJJbeAK2L5Rs2cNU2rGNQCf0LR1C+dmZnsJzhr2mG7MwYVywd/1QWCuYucs2Yc7wjDDMwhe4lwWHJH3rykjigm+Fo8baSmvvUYk3X5M2Jxjg385o5Tsu2NtRdLYKiOIidY49R3OaXvCVeLrCviBg/FMd+Db7JiUMzUOIv5nCJNWxm9kmNMGZ8RrRXj0T7A7yenxe4b3zu1VeykzsuX8VGCcE55SA8HFjDkGamGh7Y8w2+Rq07L1WxtvPBqhh0JOmoRjWxBQgkFFBQmWNsjHoGvKTi18MrlsAtZd7/kOk9IZgLuHXWYytJnsRUb9Ddd7lCdWdekv4bOIfwGC+UY9ayS01rOQkZhgnO8Ap2710vvayccwcukxHe7oqeOymqUxVY9vKkvAG7Zt1Jg4ypLfwBZGZcEj+r9srXSpcarBkCI5N+a3xntDsKIMLCkgbJAlZNl6CsvT0xvXu2xy0bj5HTor9VAhXBTmZZ1xA9eqKICyGWduUeQZ/0FGnQtKWrf3ngfiPEpv57e/vqO7yLn+R3UF9FCVCCwQD3BMAONKp3V+RqjT/z80qY+SbFrpj5LaaSgjR4D1Pg9atqRBDa1PY+yU4ZMoDoHVMQgius2HvA1QvUka3sRuBFl17DQCHeMaCybfdceXvjNvzLDrupkXlxmgXkJMaBNAXAejCDpPZ4PXShFZeUEz4Ad9UVwaCZiw/7QWA1LMT4xgDlO0RzTQ53XvFcoBXco3QN0XEWeEJ+QU+PUpUcorMVwXW9jiUbVldWOswFApLpNhTPcvR29hH0kAjAVPhfpxGVaVYvtT7vCJOTIfHsqeQ+vomJPmEGHQAmD0GxcUhPk/LMurNnZxTspv9gxyjuuYkEcUITyFxVbZ2LQNnX4hnFmA8mIB4oa2x/YWNLypV33gAypoXnKvxo16dSlVoJezSBI9NpJ6QbNJTO9Nff5zYM5IFpvoF8RWrm5gDYM0DlPDHppM/v511qYysDHXnJvgx/agapDPetYkduZyqWbLKBoZsLAcO8Gz/b9RMaOvZ2v7XAUP813DdSGW+Tn7d/EVE84OknvG0SfeLqx9OxLuKIZ4YzZTWYA7o+XSZvmYbQbktMNrGlvoUZtNTHAJUIFhFcP9esGQUbO+JTAu1rK2Kli441nhUr5jf0duXnAKNfz6S6o65sB2P9rRORGba7GkbEiOUpmCCwNPRs0fERUB7X+BVNa54zdGCeoZKhBWXbvnzxaOY5vF2xO0riKS+EooV7mrBRtnRHRwZ2hbYLU6PLnp4lNeSrPlY/7PEtG4pgG964t6bVq3LB0NzrJnKAGmMim7ykwK3V1Wgbge+Zq3nuUE6l2eroDYMrsTZWI+Tn7wkq5wM4JCahlJNlL3fJz7/r/GyhTPac5JH4qS8rEuvjWIyIWphbcHYGWWFGQaIC8UiKmb4G1psxOER/JonB2pNcP1rx7R5h5SVS6Af88qVl8XlpMrIWvoh3kXd4Bp/4OdvhpiQlVwPcW1apGzu1HKNsgO9PVNZ6BAvZ6PpDLL/y70HqP9VTrXz5uWdwYwxgDpNgJ9oJhmQPjOw+tVx+6aEU2al4HuiJjjf3YzCzjY9+GKYT0qu23YWbHk+VDcverN6xvPKaLZPDkF3AKYUlzZ9OVwQ3Rota2BcpnO/cV2hb92nt1CSS/NGUzbzfyDcLVXw71pKXb8qSC7vhfyj0LT2V/nlU1CoMvkZD9XpIHPi6gu/Z6e0wv/VeLfKIjiHTuk+Aubz4yAM9gaS++FpYndwbVCs2eksCyBlXLUI2XGzi6Khk4FRmx8sam2hnztzO6btDVXCEfm+BqRUbm8Bt6SnQ57l2owWGyKScQtjutA8IPSOYLMLQdMogicijyZauUuJqYOlafopoG0NYysoCjk70HdKeGOXoTs+FOMqXXubRKnaZSK9Q34aO1FLJ2i+EEspJvD/jTA1cOiYWxdkZ8Pgw/QVixib8pKQgabPrjKlX5wxgqYYrDwIWgiUY3KozHCwyJBMe9/mqwek0O+dcj7Vgs4MNZiDxm59hPDnmeIKQILEAZntHNsL1xopSNv6FRXeKzNCCqIlMc150eRKsBIjgvLdNy3NFyZ44EKwG9/PRjmQw1WEvOXgCIObrUFqwbgSsIGRj5IR9VzSKoKZdQzELnR4sD1VhJnpKfIhhEEINTmmBMWDe/wgurzM7y18zryyHwKXGU1M2MTo+Iu+xJHP7L4TXBjLx55HPjEFtukqHXlVd56AyGI7Eio/n1cmPKgwAirUDpq715FmRiL44bq5JxrNBgCfjPxPVthabgGG0f1IrfTmptWmDXbmsbX5MGM25vEU7bE3ZGzAb3f9RrEtHa3hFXElFrII5aJnX7a9U0Eulv7w6J/iGNDmxQFdT9YxkvLJgxgXhHsBlAVPoBD3VL3N1/tWm6txWN3NhSPwhHVByeEB4LgHNWLjDmCFjZouRZLHnxFc/V0dpSYZ1IEdC17umvUQ0IuZ4sirfMDxE/vPQbgcn1rBiT+GhPjQGv9Q4pCgocRbVOnrmnOLHKh5UF7veXsfHpPHQH5q3t7fK1t4BJ+ZZ2toB3jhwGy+UoHmVg/9jhlPPOcBZq5WlaGolET/HdTcNkNN9CnILvr4jFVfQoaZxIKH7wBpjdU16OvSKjlbe5oR2teOhPQpVnuw7Dx9eeBauC0aXDch1hDg1NqmRti5Yl34VHRKhNp/hyijI/OBgIDYL6Y0CSbREEpVBb4F0rnUX5UgTstU3nsDhGV6meif81+71+leF9QFnniP/kN0lmJ5zQMUwqI3eq+sdasLGC3I8hsheCma2SA6vq75K9D6nrV5v9/IpmxSjJAe/wQprrgk4M3IQ1OjdvF7NRlkK6m6t8EAkKzBDq6EYzy5AM3joavHSXWS+T9TfASINMR+xnK8mkZ2QbeK8hVU4cwDSBmrsP1vjs+kmZSeHux+Kn35nFyMmAhWG1f1S/C8Eava6kPJZNjAl1b7vd5TCINCwsm8Q/NZjN7jRDAgnpl2UFCrL0oZ9KUZj8DtL6gSamwn2mYoKgkc/qWykdIjTR127/pnf/1331JdXb+OJnPE5P2s50G3sgIL+Ta6iSnlltVPpjHPAOf6aRC4JWrbwxS5hX8ePFjN1I6IkfUWZqq3jW9BusuwwjWp/vzZxQkmMEpydmnUxLxABknQYMGSvXoZqOwUzNvkQPKuCg/6vM8sJRBM1InW7lkXAQG/7x9iFyDOa6ZfY3NerAjaq3THgpkP+zUlyBLP9AxvPih2t0VzkrqnKLlXlnuW9LlLoEUBmpR/GBqijlavhBwY+htmb0t0Jfvmq5+HKG8w8S8C/nwdj6T/drM5W7C5Ozjmo0umqKYTTyM77Tb8DHocqrb0hPbursysFoXn8vIlGGtIQ8Upkw0fdDEYGkiPdYmaf/uYUY9mSSxs3pvNCt6Cr5Mpg1ICiSSPAnZHmXN0tsawX5WeDx6d5cZhNh5vgXnTBZQsfHXBS0+ZHWTuQv+PkUrlWcTanyY1Y83kfMeWp7L8Kdl/v5zA/buapXMng75RWXDPHGVubJSNhp4qOTujtIifWpjcrBpPzPx2mCVeM1G0HVb7SOHMTUPnS/JDK2GK4wTXMEdolHGG2cEBN8Zmk8N1ubtzzI6bXRiPa6sSZ0uH5tjbrzwqb3Snefs1xGeAzyJaQKvYJgZkiJnTCpKT1FP4ji0qaTkuJLh9z7+puXbGc7VJp0+qZxsiGIjz7mT3Sl+cUBm94U3rx3buPBXjHEpx/x7ktL56+s6Z5Gu8SpUR2kGMZQ1d19K5zJKQpIbriSNrQ64xYdVrvR4QJqrrD6bwPjiq6LwsLD9i3OwdIqmYx+tNzcYwq0o5Aa0YHnbe5FOywiidD7BPXik+Itp2sqSeJdiT/VJ3qqlIWyNK914oNzXbCpH/deIQS3Wxl3lQrHnlm+o52+VjH60BGRwTHUxUjtyvOxQBgOgV66K1LWr11mxusqvOfStP9wG0CVm4t4wTboPR7pKvLDkOzuliB7L82bEqFt8xuJtnbKO6x8PAYMEJue7CPBECZafJ4jB7eY5J7bnnHMsNsXBtzubvWfZA0gdexVZThByn/IgPvGfDj+Lrrq68jCs6JpyaP6n6hbTzIswxnF97LvSNVRBxL4c4lodd/7xrBclTB00rkIuwy+lm7Vy6Bo0GlrsyDU2xzxxvVbGsOmEqiZBdd00/GwVemixsKzGzNIJI0K+duB3cm9aPWBlF1LcskQKgY+S9Ssj470ngCIdRhdBRWM2HG4mVmDN5s1/MB2tto5aLYVlFcbIATZtpkjMe0XyQoV83X57kdof6t424FKev4qopF70oEoEYhAepZDUlB6mxof25ZbnmB3KnhspoKJU6fpqzGnUaF1bmORSkJEPLOAfoj8hw4T4+FMcWCd+V0ZmgZFtkOcov8l04bzjBBxRwM4QvKjmKUOkOtbIIx+z9fnuJdoMjSuHpMXgtL5I/0eEjkDYk1YOkIaRoYjoTQuk9Yvf7nCycS7VC5n/jIhaZ/pyjWdA69bRcp3j1iX/7tfHNo65s0M2naz792p/wSzXUfGVr1KuSO5ptz+Dq4h3oGPJJfl+cTqHGhcWgq9OpsNdi1PFIeLgl2Ni3DTDyh9Eec4SsN9sW0QUuSDexCZkQBW9Zh0NNmcYjM4cWMhOfvxw/k5B2WsCzI3kSnLNv/ax4XA5132TXG007QGjfg2RabMZsLeqsU2mKp6p30S60BzWHCPkjwuPzbG+6gurghPGPfbAxN56Um7f4IsBXOniOo+iLhj/Swo3ub0QpISa+UmoJ/krXv75o0NbtdKLMF1XoVOFbLczW3XXqkTmK66UUp6xcPorz1U9TVVSJJ8j4RVVci9r/NOCLj3Ix2sO7VOJ2uv1k10CK+PZg2Zh3/4q2cI+fyVnL+4M/+/06lmiuFfosOJVJKNZ4b/aIOkUJjlujgr+hEBg8tCE2q+67q8cqDlwEwe61PU7B79oRPB13+fbxBjPcE8UoALBC9GWmApQQNkOfFnG7vJzaf8iw/hxYZhn3bxM/MARHaDkpodk2hVgV6MYZVP6plgmtwj7gH5B1XNJ5Vx1mEB4RT/D807pbvS2xGKkCaVvXrUcyoOzvc/gJiTrSb50lH71b1xq0if0L2gnRblQ6ADAodCG12UaenPqMKvx4O4Qff3JNdVDZMYRT7wvpKqzW26mVQSwv1dR0M3m0dPSjU1Lb7nNpIqR9qKUmnkpAyuro2fIzwgHbultaxG3OeHG+WMKUBCTXDaQiccwmmlHxpOb6WMamnTJSPyujtuppLI77BWfE+MaQyh7DZ56II8KQ6S70bOBNt8CbuDNNgTR8paZLecSeLOjLpAB4oweQaYYVRV5HDEvTiLTY6iQ1uahg6CWBPoLKllREuYggvfgcFkRQkIIn6pgXZZtROk2F7f0GcqdCzRqykOaUMnI1rsvYfXT3GC95ZSRtcBP7JVFTUdOw+VmA95AoHFK4f/xR4S8WJD/nMODwPpGfKtvxAo9EVAmycDRPkmTjnfPyvWv8YQDkliGQjFFFsiaF2hFUM9MHj9Yce6xha74diaECDdNdslO7ek7CMgRbvNkZkjH6IazCwKVjbpDN45uTfdGJuGCSXL1dZImTPEFwLOWR+53tfDDrbf0aEEJgBhu40vZP7mb/z0JLS6wXpdd/8ylOXzKM2RmFCgMkRVmBA5qHgnMBZitOKPj5iNjg9ZBJwMwDG68Ef18ULPF6eCr3H5QA1bPHaL+iHqXyM1mKC4JtU4Wd7ISuboRgHjMj37Xz4c1BaZHtcUsByZsOVn7O9h2tjnKTJh+aRzNIiPXzSQ3Btsja9RnMO5RUHSkPKI14xN9+AwhtUc9RtEzHGFDXV3elowL3+pKTWL4fnaaJ1XloiH79Dssc/8XvGLfMXE1511T8q5dRAnlsBJMYtL8i8TydByW3+vDORx4Sak3Jn52UWoUh2HBxyiZvJA7yQzJRHiAbU+pwuSKEIvRnC2y5TAaZNrr07G/JJy3yGpK/iM7qN4gRe7Nd6TWAPa68n5MxOIrkE7osQ6lDlR/tuVUk5jjvgHwhVoHGYkuSTDhcEhMmiPg3qH4PWQ8vj5pxf/a9qpH85UlL4Lx717Oadvf1B72Ju0k7NxKE+Kx29gPX1oy055lJf49kHRxgNJCPTDDw7io3PsdTunXF5Lbq8XAuj0g2Ch7EAzaWXoim91e1BZnhUML7J8Wr5Jv9WksVFj5QTGhDMYL6p0wrZSmOeXEwWAORLoHjpWDGaDTX/qDM3tJdaoqEK9wDg9uskqgkHvzqkoz28TcXi1QMrn83AdGuKdP99968Cx1WcRizHQkZ8WtKV9gfhN/zevWWgSnp6lC4dMk2AqZC7/CBU+gV0Obf+TfrE4LNQTbu/c6LsET7xAsQYsivyVF9rxBJy7Pb9AJJC756D9+u+f4L+IYpKdu4VxZSW2z08wz98dtPCY9RAm7jy4DDLvQ8dLQG5uKQHPUlkHe6oneygfkMuQujshFpb7+tdY12ZnTWcQB8EZDrNqfv8sXgZJN4kW8aJCU8+GYa4O/+0Hmu25yVIGguj+yeDv3P+6BO4Kss04am9SeORx2mWRDNESYmDmQ7P4S12cyXQAIKGzp2XTMkNPoIYssnPUjaN28PSMQltNM4ymybxq2f6O5emWbwnVafjomiJnpG6zII3gCw0VJCsOPPTeTSGjbp3XpNt4j8Z0ZdoeriirbN4GYkkIrsoCU1MMlM/0kMXa/YNto4fzIDFKWj9tbxW2gERjjjrqsZY5u0VydG8IS8OtUtitPBXFMdwkwdDMiDDJ67nf57yVJaP2BVzfyTfSoNBxPlkJ/FpvA4SLO85ztHS1Htj2StMqC0T4KL24jbgwhvCA6yHblxKJw9hZO3TPBf61HXiinMPgI3EdP1Uq23YfpOlzkgkr+8326m11haIGCj8hI6I3Qhm8FDGVP7raj+Llwa5c17+0mdsksQzWSKcM+0LrtztzeqFLhVKuStSyx6dhhK+GcWSaDlhmxYgaA/a7ElEp5C1946SqZYOh+oWsqFpF/eOk/uedo0KUeLKBhriKdLJRNA8Nn8hohXrdnBI/kMqcpXpNw4V086jEhuiExlWtVRHCziv4M9hmqid2ow7Ld1r7jRBhjH5mrB0f+OrT1gT5UDo19Ve1tYSJEk+9k2oTl0xYvr+LF1d0xhiOcPyn/M+YjtnHj7fgbLqtCE1nhu+ZOMdFttmqxmYATAvQGAnCPY87oj3rzyuIDoGiNT0hsMezFByysEN41XxjXrk8Xi8hho0fLyE9Inz9fp4/aEhgRNRW0SHrUAzRAaxDGy3aJWn7OZn/ooqVgckZ9Sqq8bZxR+8tkQixivsOxA8nxOutuE7a7b9JKpJMEfLkrciCkwCnx7reXHo9H+z1GhHUsFTyIQbizyKmJy5RzfA3t80mDDFVgblcb3M6emL7zBV9+ujaDHDRNRah3xUx11C+iioB03n3iwMbbMn+i77xz4otQIrfzJWwjCZUEy68tir6Sih9kgqsGhJb3OvJ9nTpZWgvTNu/MJf/yWGg7xGSPxqA4iq5RqWQrdnWU1rK4ILSkf8tshT/IZFrYa2F0+zt6e1pSXAwj8aKUMU/JDk4RG9NR98y2Car6yFyDHItJI3LPn+MpVE4q49cpHArlvap/PyDohim/SQVF8z4T3Du5O2rYklaKbmsPxqI3Vkt0I8aXuHV7VvmksWLIas+uDNueOn40rSiiExDr8C85RuYdem8odqo3Gbh1wgzgaGOxZTyEoOqfx/ujry1LHj7SMilZIg4BQZhtECU7D1Lmzzd2VQgOHrRGr66Nbhd+WdfUB6MEd3SYyvvkPqQvLHoofjsyrHwi+q/JiyEqx+rRvZ/Z/tBM9iTqdpxYMkmwKYBohdCFp06hS8F0MJZEKLIB6pPz3nCH+5xeXzJLAxqQi4FwTCKtyekaRJfZNZxZjqlM8o4/CY83nAvPgLhFPnq//bhrNXcB+YC7+8MYM2TiRpDP061byGMc6BNrq/ApbVuUjBDqE6vmLQ+daUsjkULjakLsF64RnGyuJlDI7QUFPdCHOij4k/nrAsYaPZ1/SEkRyEap3fnA7PlnEFz1vu1/laQ+FdnJ/1QnYhX++paqxndzW1Eqxr0Fd0tr6K/yuNKZrmm+lair0jmF7oJjZhjojQluw1Ck2NQfstm6mU8MsUzLsbeu2qo/m+Wk1gyn8+yh2GB/Xhe0kNshshhpVO8VJi+iYSxYu+DLemIe1cMoXyTGoaPGTwPTQdnN+efWBdhVO6iM3Gs8f4GyPD3aW95Y+s8+m8kr0hSql1vW5pI7X8vRuRWgdYJSFjJk4mYgRVy3kqEDrxNVEN+x4/0Dg/b2vAe+8vMJ2U8aep3Ic9s4kAiWWUc/38aiJTy+V3J3RRvTx8X8lk6BM1h6HNVd1n7XUvfV0ESYRbBPQguvmcYwWeEFz6BNBs6QTnDY9NgnMEAYJFef9Ytf57mOHdX6Ta7VfKabwokgvCWT8ImibXbXBbA5zDYmRGsCbzaUfQg0fS41QUyEYqoWJyqUYuHkDGHMM8rXOGDmkUIUEZG7mjx9hLrxxqivWa2xTkkDxtq2YqHiOltJV6fD0TjMNajpJdaiuXgcOSh344K0oG+Vm6VymQUPbWCDmwMutQgEv/cvDWIu958dJ7o+dX2dmmDtCEm78MGZ4yzfGDHoihsu/uXlYSd9/RBWveCZGytWbqZokrrl0qDENyv75mOkUv6sIXg3m9y0KC0nsRWriPl7hB61yMrNqpyTyDU1Pf0BPkMIEDLCDfTlODKzF4qQQhDcqJid8T2+f4Rn8tVWB+OsIHPQ09iUd4l+7br6d7/Oxw6cibwbxG5Sgmwh52EMhGHsxEny/A/NvvSsGyRrxNMsTRUBXqH2d/kEcyihhjqXEoIFUYIkaTSANro/TRku5+eAKTnXb9GDLf07rC2Xl4Q1RMv7w7UVZcmzHM8uUasLYBMX4NpliJXnmwo+NAvDyR6UroLuvXtK7k06RyYqpZ7f1uzqsfDsgvZteXt4U7bPhoXKnDNzUzIb9BhNqpcjEOzGzWQX8FcA8fnk7o/C8OKletZt5RUC02OJUi4ZYmSc6UZBWcrPjhO5IbO1Nd9bqtS+1JfMPwpch9iIAYV+jDpkTii08wPopYyTg/UdfUFfHW3aCzKC+Lpl+0VmW25V6pOzcpSAz06HOVP4Ob7Xf3IAxtlydD7vxKbXbeVmL1IoVpLhWbFaOJ7pBmAXRFLVUgNWFfMepaZka+LgdUshdJ0pttpOgCduk+iRnxPbcnBwJWZp0De1nLcKUGlC+aMAT18bfzs7f2Xv3W0T104WGcByrAry1igveVOn8G699NiZTbE+zyPHGRvq1u8MRwG20kKpn8Zjkg6OutNOuOYNRj0wYidLeC43udgtIZlG5ZEF8c7FTOBpdjboYFHScRu83lkCia+oHA2N/pUVu3BgGaw7BZtY4QssKveK9dkhaNMnE48WyDC3CVhtNktKGR0Iev7QWjH9kPTdhlSnDKfiaS2vE0gf7hl9Pci8+RbuG4n9nct2op5aLQ6a7Tx5fSi415hdat+tA8IRBcpftD8bUlpwkNUhXMsVr+V6TpkjTTMXKPxUNHVvHy+lXZHuuZpQGEQV7aEu6JFGqGTSk4TXn+kxo9wWEnxVeCIvQjvHQx/L9y3IE5Hc4GFVCOIIXuFm3kAJ23NYn26oLbH/WV2/kPun88qLmp33S5LzMoyptf7VOJAHdUXdQhl1NoVAP2wnVcweRFCGKiZPqORcBHGtRQcwypWy9Ju1sUrBXm5Gy/egtAZ7jb9K8TwRXWmbIgxozHLIlBlquVttJb6vJ7uCrQLvjv6MUstouauuEUL3tDen+6gxPb12r+e+Ls0eWsUe2RfeseflUTSpu+xlhaDKp0M3x75gdAyaX/y7tLtiKdHTK+mn24YEflbTuwWTw0KCruMWjL0Lwl2i0JQ8Tthc/n/BDEsLyCV6O3/47/zKLQSHNpKW3RLdwjHoDptCAUNzCQs2Bxu/XDkIeKNPwmvk4whCjdBtNr6TTtKzGEurI3FrSuT7Y0Lk/UbSU/16QqFhs68r3alc+/OgXtVW+t6DGqNNbjS8PP6AbJiyh2JQop8uD5a6Q5xXjbwO28NRa+M5X5EMg3JSXb7+VwMMdfZqOfwQyCc9512bv1hAsHAu/JZVDkoqFC8gQdORJNRBDjz3V9Pga3XGlOtETZ/IhU+eJAAQRmyKqnWY0yMdSPSgLZ6nfSkT725W15YlNneDjHkL6oBi2W/x6fU0xh7eEpMwu/jMBSUVwgxF008m46ajWuBQoHIYKO33Kdn+7HxdtSNf34I/ZNrNwc6UgueRjuQCWKSaau3mP1qgMs+khiWfQa5C7PDVzbGCSIZ1Q9JyORaB1FjLRG7A+VylTA7F8tE8uCiv8RVMdKB0BT92PKvN6YaEBxO6CGTybmGwSonvJJMnGW+BW1JgyIg7gTxk9HXBPIZNoZxyUCWZdHptqt2DwdvRWaYo/NAXWtG0tpEH3RQGmzs8za6R1Z6nL/Ve03gnALT59oexcN5DkhQmkbawevSLYbRuyttjmIH1FlZ4/it2fd931VxBBoPK6IYYRZxbVxb85fo+t2IKJ9E5wpuSUF0tb/xMQNm9pP1Lr+7K8n/UzNHG2cNmOKY7nifslVeXS6Wdsrxy9fE0FvP6c3ltAGXNsWPau7Na9b2uu2edP4p11X/qw0k6qpQ+wW59Tkvgh6XsUGmhfKVnK3FDYEjT2CBxVG94GOnxjwiAToElMA+4EHu2sscFyinMys+18MHbdf1BJw+yapHJs7AbhZnCuwGJniIxpvMYmfoBEBsHmuvK3yGPD3ILpUHZShNPboEUZLiUFvCDLBl0gA+1ExcScnqCF2oqsEkiKLdUsalLbE0NyIDTc0kRKjbq+sWGNOCSR9xJ0tZMluQpluRTKbchUGRCDvktdZtSwe8pVO/pPXd2z4jVp3wm+6KKn4kDMzqWViB0t8dp/uJRMDpotBrRbGXkF4MntFrjUSAm8zMG9/39411wzy6rnkEVSWydmvjDdmQ/y/oCSZGH9UEbTxoqRR9ZDx8naiq3VIRNvcOKWPsT/X35+5e1z7Li+F9KCjTPv465zMDZGECS97xsS0teMxFyjq0o4J72i3RWTbtzxgWXRfhyc6kbj4x6vEt4tJG/0BsknW7uKj4+polLln8imHIS6KM/brP37uCiq3iOkuICcoPwtmOgTlw2WTTwyIfJLRkAdtu1S1NibaBZtn2XNrXmo0a7kDD8J0ODj/c5s3UiXRKFfj0jm8eANN+O7URl8XLQL0+37TsYEmcqX7juAyeqPnZtco119ZM6vHDlRy/qMfq955rMi0sqXHSw33cPAifLAGX4ecMDboKPgTg+sne0ySwTcY4rDbUhDoTlPku4KeWYXKNn/BX9zDHBft2S4uRPprfueYa9RGMghdpym/r0zC2szLS7vyGNwpxBCsp7ictV8VJCiW/c91d/+zuxiHlA4XgQubXN8NRwoDtkXVokDHy1RSd3pvRoM8Yd1tda2/AUc0Vye+/C41Xa23FWJKq8sTK/HL6/JItadIxRfKbj+43IibMC1dpuFqQ5w0tK3zxWfPliMY9sdc/LUqC6o7dtw5Qh8CauCO0z0eRE9DskkeIRyNrt6ikc/NpOE4P0E2qmG+Xdl2xBx5O5jky9Zzjvk7EgUl0+sjJlCTdf/ZluQNptnHLzqxj4nQNPPF0XB+No0mIOEXiWi1l8bd8dZW91AEM86zZI47Er42Q35t0GoOm8sz0qVsNbD7rVNNlJULy5Se+qv4Mw3vnpyRLhrv0cuvV122P63dS1mDjX0mm34OmpUodNsaKY3vhvRp5dNXAS1psHKXP05akMQluhUPDiYkv6Duk66WNjptHj57ZPEiFx3t1LySYVtEP7p6oNUhRb57UHV7drCTFGFT9Yv4T6Rb4MkoUm+GDLoVElasz+81I7KYQA1GeraLmGPOomau/r4eNI9giJwqyGTu12eHQwS4AfCjozmx0+w7Sv0ZM59/D87DLcsf0pbsFmTiN/dq8dx1hRfB/Ln2mE9EcFGkM8jnKy53MNqZM4rvgU/rIL0kAYB6nvkn1EUUsLVLGdadINR9FdbfFz45KiZFfn3RLymqjLOmPsvvaznjLZUUmzKMU8X/DVYB248fdg0c+ahBBjGEipnD76tTMKUDFc5ziygRwm8zYeKabt7IBYPwjGir21eBe5PrUT/LCMYwA7s1J7abjB9Wc1Xvbr/GJknWDXx6R0Bzlh+2LpDjdE9OzullwC/DV63HileC0MWfSqS7SkoWD5o+hwW6AFjv9wdb3c8PfR6HC5IF7FYkY79Xua2fqKY9U4yKVbQnYzFzWASER9WB5kXCA/SLmslv7kF+6BMRUcohxWRS9j91BfXljIWjkKqJJg6h4mX9LuOUvoH3DI0Xm0cqXNu9aL80tsFR1f3KG6FLZk4Rrcysl+W2QaqUBNfo224CnxzWPS5FyaKD7h+QcJ1G/FA7Bq9/X4lYl0wlQIPYAMloKR0ktZYvmqgBS2wN6ehmKVdaRGRosnP4YlbBJToNWr3hTEAkW+gXvQ5cO/i6+1S8WYyoyGzaVLXOub2ZKEyfyqjh6uV7XuXoPtVh5gdIneDhGaGzvByatM+GdEv0Yily/Y9CxwjR7+Ocgw8DElpkzFa1Ahb2GYvx/I3LuxMQqnbvVDh1BnW3hl4Let7JiS3JVi6fLfO5qzykCny5oCaSUhTa3sX7DLWU6h4v8vz5Aw8+Lx/n+JNw0qVHXGsn3IGyZRYXQbCvBY3vi6ZyqFPUJIv23YeE9T6rClgNx3YyW7cqiIew9ZWfoEzuMMpqOuG0ETHnYGbgKYrYFgGEL+b9nggLVwHziH7JoNv6hdFaCJc6XoVxFNIjYrl4eZPiT32AuMEa/LQtbcS9f9T0Yj/Vr12nrXDFT9CRPTH9+3hStGbOvIdVxl1Vg2IuMD8vXeggJJlsaQ/N5P6UstYMH0OirW/S0K1bVSByLpJs3ADExP2eKrLrBy9ktg0flgb0rKijmePT0YeeZ49UQixoRamay5pcGggbClAD0nbLIWPxKiJmS/bf915fVny394Dd2oR7vVG0G+xzX1LWPaMWXvo+Eltcjw4MeZy5tDiwPxYZ1sVr9UtLoboXGVYB1KXuixG1tJvQK7t+2ps+EHmbeF543K4Cv+Hq1Wy6dpL6I5uBUvv6MpEsZTtLT9MZ+tDP/Vfo0qMmCWorQG+uwhoTuPTepyhtbgCIhfMhfepSJZuoy8j1ZanrMoA59H34x01ApP3/hvvL30zrBZW/fFC8ri7xUM+dvlRfux5+Qzv97j7YTMyOWdRo2oqKck5LSj8I+a+gQxuFnScD5fplWfVVJbiaChHGs8OOPiSYNpxpxTl4CKXv9paxi0STFWdWQW1CCwrZyzNzSZLwRp0GPjGrcWyZsKMWXWfXcIVFK2C4wmrsyI8b4wOTVgg0U9NMQFJlwA/RrFeZNirQ5d0BxoKKmynII2a9gxj9RTcIY0g82h8nDYr9QrrikckazAzbF+ZR1vkkUvxmd13V3KCKu256Qe1Jfh0izzMm2Vi2iRknN5H0RcfOB/zbkvVJZjV3JkVWZGaI7GwPxe2w88w1pzey5W7merTElBft0HNzmWv8RsqsKth942LjtsadNhqdbNVVvAQqS3gSc4Y/PSxFC4rxbWmLZPtcSBpAXOXtFtGLO3wLoMZ7EMeZHMqmight/bboh8j6TmgkB/lMw9Sr3GD2CNUL9xoG+W1xLkjmviQVfFEBpk2evhAx8lGA0TM14RyaxZSlh1Kh22flzDQCa4sZq1ANCUhyg1O4h7GyRh3lUVLUvX9jpIhRBmERdOFgSRx9NTHRa7Lwee8tKfKcE+nGvAwATfI1mEf35OlKATAYIgcaXubyRuwI8cL0A6YFo8oRX74s1ZbqgIAWRAoPYy61G8jb9n8/24McxgyDyNY4T0NYAeoTXNDLNaI45PvM6zFa9DXEdTL5JTwoGDsrySmJjaJZWwdRqDx1aoRr8juWEi2o0debm+VU5xz25T7phcGGnPlX2YHesGfSLqjr070ZTj5TPMrmEIwn/p69c8ohumslhxFK+9mhqKaKj1nVHciqikl+ebhhEw9FtfQtis+CxYh2xo/MUB2aaqyITpnU11PIjGChbsfcuHGhXKonMSbf/E8hEixPJglhcDK0YihOgSaRbiePPAtKm1vzlIw4lpxAdezrrbpzegFO0x3nNQQNPGriaj+vXKqKIc5j3k7nH37EPJ+Zo4pN8+HkGpUTKQOCw4Qe/jetwl6TOxqkwssTCw4lcPkqXxQNPidmTWSJF918NoEVW1Qa95ljFYvIZRW5LdIK9FDzY32sVsS35RycIQ7Wbl2yQI/IXfSuHWi54ePgYZEhy70Dme7tL4RFbVLJ5FgY99oTowNryRtzp1ah+Xc56zcG4jCgSiXjdXRbttYdOnsaVb4SmPkqR2h4aUsloQZd8ZHincroXUp1dsMc565lnvnVAvE2QZ7BRNH7xo1d5j0bidZdienjNeiL/151Gskv5sk7k5WMwqf/l0IpvYWsx8bkZIJ4wKGoQjRY5bsE4PbGwIywYPNmY7GUZl5i8x96dj0dX/B+RrBNAdxoT7G/bgiYX41V1QqgtWikB8BnQtNJz4phjOrSpd1pjE00+A2pCzFDfCpy2JGU9kEGHmIJJZAAnkrnS2o/y5UVHLvSzEqwuF57PCgUtq85h4dW3wtiyLdCjqTSeu+VfZHsAic563pRDde/9UDFSIcjiGQDdXusOohq6yxVFe+8C23pM9sSPmm5XsUFlIYp3TEM0k7IASKUme7i/mFE4ocwc4A7MIK2f2OXf0GYY26dgqJT4TqVHCEsxafHl82VRZeeH4A8FqJLcDTAC4X1S6iDZ0ktTv6DLJPoqkh8qdXtXVv7t8/gyTqgwkzv1gxY/fSEYeKeM4gFcJdCXpP7aF864X7t9pRnP2Ya1YqQ47vO3TKOB7h38EEj4ZGErU2OKy95rBlOrbE78KGUBi7cmbCTsIh+OdppwUqmT2rfEWJIsQUAcs9dme+0gx6YRpgLOVgLgZ942PZbhH40ciRfKRrmQFRfVVSn9I7SREvZUUuXF/6NBSdIMZOBzB0r0mQUJisKyKAhe8AgtKLCs/7KveS5bkRf7I2yWOpZIe6CsQDn+XtNjSVc+7PHqBAnp+jYWC2b3p2A0TuYzqqHNn1SxhSY5fI/2LlYR3XThmJvJ7vfN4x/7fu71/wa3A5VA6IEC7cjIvUBdJXV8ZXVhQiQs4iPWZaEiSfm2TnbjSEZRPnZ70FqdOg9IhBzTNiBYuU7K1q8PBfNsqTiQeAbhi6ZoHNF4axe2gRwK3f3j3XuQwC2RJrEap4zPlxX2/a1NHlVoZTiBRVuF/c9EyQTeN2FCESL8I8Gc4FO1QysrIUpuUNjd1bSD4ygbb5erRXD7Y6fHzNSa4y0u0VhICo44YySgLIzGlC9jTJT5mvpzxuueRdbEEAGiYQ1mPd12rah9syuC9x9GxBwDkGDD58wjZPCTDEcskM2RDAK0Lf7x/aUjjGIh97I1QRAbhw4nTW3zYrnw+IuRp1Byh6TAzw38NwveRaXG/e7w5fVTjRpHfYjsb8uBgBYZLUwTFnsw3E97cQ5OVFegCeCtv5UoPE54rXaUyvQcf+RFND2awmFOSD3TnfMpQPtK1HpNLnnVqD70caNWwMxGGrCL6sJ8mUmQFBu8gBMGPAhH4hRuTfGnwrfDBHms7jEVhs1p8n1gD7JnZEQk8egJ2rQZUgZ01qVgykXLMXxhMGZtqI/JTKgaCgrQceLaXwNP7fQnUiMPpYGo7uq9XkGfXOGnb0LTUmqT0xfsMekVa4EMUNB/OfWC7IeqNcpWtNFOqkWwnucatYgEW1LKjiWw0J9uFp32Cv9taBCrfl4FVZ+M7hROCoslW6LxI9G0YzeR4dmbjgE7Z611BCFExLX2EvlR30dW0/NsrEFbrURN0G1JoM2Xfn+wKZiCSjyTAgELLQAoQSrZnJsC7P/nYbI/b+F8KPE1qqq5lMiSSAVEnEPdSwqby916eZ/TV+PD+c7nllmWfA3dRz5HJBHedJ0z9HSwloRum2DSAYV4jfNXGVe+PtENcExCnLdvOjQJbMJJeLzkW2GWRsvC/Qh6ipRnBmk06WIYdU5glWNren38991eliXSxnzpm8RMkJjGvOEpjkkIEZAi7L2Z8WTtNUOyUoGaGK3tbKSzDbZrO1qpDUWi1GXtZ7ZaLIwNbsrZjj3tkfh0Ft0xvMddtTE7C8BfO5oMkGEoONqT4XhmU0eHEgCifhr5jewrJV0qB1Az6cSGTYImSqJx6tYGmRVMykdOQ7oiGxfzVWwDy1U4vU26kBi7glsiaysAm3EjbnamZL3KOKUNe+Gv+0UTXk4uLfpfIjAqxtMT8FSRPSQlqxOKYQPpCdfWCuNLaDSVZ59niL/jC18Arh+8VbsBvlmttmVJOlbkACr1AdlC59nez4yf0Jfx8F2amdn0bijsCy2Knx5SwyeUFzqJNDVEQ5lA2KfIWwwo4M/fdKK4lFvM9oGLnzgFu/W/QPuMl83ri4Pn7x9GrVgFUweHSpfeyd0v1CvyDrr+rpPNtnPc8AUZ/dIEDFPfFmGgRH+9wf0w/nr/NLlG9GnnQqvxqJQ5me9ua6Ot7VuLEU4UaN/JWny1MYuGxmh52rxwips21056nsrcHlxWGS6D/0jwH9/Z241WT98S7fwpppjke/rWqefifnEOrl5MBA4DLNpm3/IZoMGqEvoliHdMkWVxwHLI3zzjoVauglg7Mb/n5FX/6MUrukaLZoMSesbhD3HXeooUkAHja1d9+mN1Vf6mfglzZWs4wAlZtTOI8QTovBuGPAa683be6gsUZmDambcGcELeUD0EWpC6mFwO7/Q4xhJ5ayiVaO3RIu3kBOSasfY6bfMC3QBGDORrXJxZPXdA3bUDqC+wtEAY1d59JnoWuwarX61G7W1hY1p0S6wpLOm32/8TgxfJinGMuY19LVGjqboWqDBKnEdp16gTXkIsp4bgPHdG4Nqcv1rwACBXGZl/rCeySIDVBdOgTpMgQNHk++gtA+Bk7oYosb02aQCel2J1o95vr0x6UOAkPELa7VUU8oUJH9jSuuUkj0AFSw8Qkp/u9AWZ6WbK+206OwxUrw3FO/6QT91ylz+jqy8Yy7Ug+oWYgc2f3pC6nN81o8OilNfuvEppPf2XDG7Mprxcd/A6LRGHYYUeESiWR4y4p8HQLdmCK4nZ/3YIxZq/I5qzgb3jLh2r3/0Q55umi24gfKHgNSp1gFuWEPcShADr/SZjWq9WkTAJNbe+6SRMH3dWeB3fE1uegxT3Yc2pl28Uox5TIEYWSo9wHkdFUNYhxbT09St5zYjglkjNH4RSDA30mHLGGcnDuRJe1e9rxdIjhVVXFoo9hOMaXkd5mf4xuByno4EMGbJV9WFpuTk1G37fO6cdAPGFnIwbHoN6htp2Kw0rNewmkHCzMPM9aFe6K4TiT6DF/twwcUz/ppHeyBsdcS6CvAlUzaCrhs7C0rmf3+c0S49eZsVlpiFdl6pUk2798LHlHPVtRp63a6pUY4gTgYOL68bT9stcU4+sTImE9ZvtA1uRfSENWWlt827015RJI0VhGt5WzZVIKZfAcPDHa9ceH6bLeCa+Zz242fpH4UmLhn5kpDaP4QLtL0fG9g+NNHibrW0t0M5KmHxwjSBXEVTH8qGEDRsIIK4timoOOaJ3/NDLTHfZF9XrzIQo1ddBgjgjqB4fd3g3kAt9Y+nLmFMJ26x3z2fDDJA/A+OdlTBN96u37GHGMJLwvbwFztwVROeZ9iDO4HNaSvNx5GuDr/1jV8OqLDI6ZriDfwb7hB0Coiwho3rgAF6LuVgvg3iZSUApxUD/DHuqeW+iFrscYmfB9Wkjv8S21h74x1i61qzcO5dHJc91j4UblKSynyf9uwfN+CjB266ZJXPRh1GL+bcPMds0SGpeMNX3De5olxk1OY8F/KqeYBq9NKBBICT4IQbP6kjblqNLXLttCPCmtKimU1GNGnSGSdSPS80xlZGnNZFSQbYaeYgE6qpdhUCrPM1zT+fmLWNpCZMe3MHLYWMPB69sz2d+MA16L5M9fqfPFldtublXZu5UZqPFq7acAX4sFjxgHMVzKKyh0rzAumGH9V0C5ZRnbUyYc09jIYIwtJllggmMq9//dDOxunjzZpslPCf4nHt8UB0dUD9ryLXQD4jQ+EmWq1KLg4T1Kc6ZGy53PBj57K4jyrIQ31/etBrWlqJ18Cu3LPYMPpPO6fVyD82TvdC92R5aBNKbl14GuS/2YS3o5BPDqEfuQEUOVXtirK6iYpPD94IiCSl5WmMbONnYIb/pA8laO7+GNuOD+jz5epEHXNtIS8P60ciOcItibtAIwjIT2ZAEnxi89JLLxFVQ1K848Kk7V/HBcdioZiuTmq1xqpJTPwg3u1WdJU/UJRCjyyG6QmvQp5FeKY4HiUT4yTSsr7O/gdB4ZjCTzP718vg5NCq5prVUFTlGLS9ASS2GGY8r/4MHBqqa8prnGFJ3WfLmcRorbQhChHLh/103fU5cDEbV3PmxddgsTqDXSGWVKKEgXLSP9QvsaF80M4UjmiB04J8BwgLhSHvygRF2K8cP+OlOA07subX44IbklLoqvDGziB+P8w2Vx2fYt5r70DbruJKnuHVddAuP8xeEOvwC+5SEpQEPrkRtL8cUKDi/e2JFf2mqy0jSlgJI74UyvukYVjDY1YY8TEe94dbEezSTx3HsoZJBG1w5peUDZRCwHw32P483OYYAmEX8NWpKzU67ihTh7XJvirwNIb+863/W9rtJ9Abbhi57bFLpVO2oS682IU3gBDrzFbk4D4N/B4yyu6wUmW46qzZodt445AGI9Dn4MFfmLwLpB/R5wQtSwT4vN5FHKRnbC5hwqhdrPzhCJxYr6QSIjef1viGnYV8zxRfNhhg/Hpm0AjArZVij2Yy89dHa8AhDZVH1pNh94iAIMkuAW1TeUN+CaoWjjB5uZBCGsB9whrIInAz5xbHoqK12kj0Se/YkDFt5WCE/z3Q4VWPno05ppbqeHrZdGTTGnye0kauyGO6r+AVEG+zcdDIqst6318RR15UwdMCZrlVjqNS9iERKz/WrBLmC8h9/Oxn3ffZTVXTJErFmbbJvjNwxoqzsjeUi2Ry3pxo2iOMddmozlXgzW69P8xVCrsjf2UH00vQ37k1T3NLx5n+1UEWM1jF9VR20X50xjW+HOQRm/9TWrXaomLxAYU1zzjKPX7xPYXSMx/MMvyCfTyeaXFUqSncnGMJcfQ4RwUDs2Lrvtz2wgTseOj1p1JnLkGs/uysJXOqSCDKMEVu804+nwaRU7IJ7tuwQxum7efiWBgQstsRkJ3oBEjO70EXvAFDZdOPRXqxcaMcRljAe3mLY3Zuoy7J9A3gkZPPBy+Dvmpp5Ejj/hpn7SFpoY0MiHFUxGNyIaFfinX/tezAoeOQvW2TC42hV2PXDJPQAvapElJSy6yQdRfGimaMwa7tPS3iUySpbAMl+HdoHWcWtOPfxAIYwhIq1p0fdOAlidU/2wM296eVa3YS8ChClS7fqHeRwxSug0OkGJ71/JI9jSv+mS+1JI4WfmvpIjO9oDyEqvRBnklUE7RLswMfNXhyCwaaVMSxILgIBfcMjM1LggIHDVzmF8D3kvAA1DaubDgCEOeEOZJoCjuZ4HLjpCE9EvmLKkGysiunnHJhtZwYEEUsvqaOgDVs0q0/TInziQocZY6tXK5PwL06GgaRVP1CZ0LmrUdE4Y8zADyfquDTOVu20QE4hagAPOJ/CtaEu7wOfoqiGbdijy7ezYUphr078gYmz4HfWQSrFasVeDDB9dbsCRafIGBEiu/I3Sz1ZYOfJoJHLOkP8Zmc4SLMsnSjSh5W6XTy7psouEZPWTDeZgP25WPrGNpeNAujlDrjOLxNZ436oTdUJ6dA49VqgY4rTJAM6tSQ5+1n3zUXT1VFr498FEmbjvrBdKSvrWu65UqVE8c906hvztU83z+zcE2kGVKSn7NDKfbjM1ss1kUnDT3qXd4lLu2Yy1VGRsA7b+2voCSLVvkANVSbqTVzBs+IQksF/SeI+8DRqU5dvgYZ4YrLQkm6QEafDjqatdifnQ013+vlArFJ/HIFcvrBewTWCRZVGGFmv7VhSFy/lANtzmM3aGq2897+yxegmSNyYoa/UOouk7PWeq8AYwyaHwmpbJsBdZqKFtr/Cqees4TTrkXrMUxTTlhog5DtEQ9UkKi4kjbrlmFzYL4SeHBEiD0K8zpCXJ4vkWBziAnyt5mInyLtPGmvGcbKdj4PrJGOvuG3JC4Q6kzR7VXicmgScLgKcVArqLQz003WroeNZYdZ5p+bGAOY5Y+frSIWB6nKo/CTlSikVbXz146tgtnOibxMqna/xxwoa8rw4lu0HcQXvbt7v8Zq0xcKzIRG7zlt5MDPP8W7D0GtjIRqrlDS9WMlM8cJ15V00yNBhjKp7WJMTMYj3tHhu10cxWPzqGaVk4XGfx55reArHlbG0Lp9Z8RqK7tVAIVKxnblTo65aLnK4wv3hRxe58bE/LZURTHlvUMe5Ck2ZN8WXDThwmq8UMJ8/vd+fdf99ZN4n2KUOXqdMxbm2tdSF5VCnJfYhszOlmMqwWDrXlBbrSmvXRB3DdZCNhlmW0LvmM9S2Dsk/FZDthOpK9dDynPp99p6Z4l1/kzWK6k9UGR545exT9lSobgH6xmV+0H4wJ+4UUBWy23i6emXlXzcUnJ+BV+4jxMhlGG1fn6e8mQPgb2Eo7uTZO1GEQfUBmAcVRaDzTiUCW1dg0noMKX1R9hCsYDPRq+b9fyDFZEVv5l7u1lQDuDzV1bGA6DO+k74v5c99Q10bzFOsjzKIC6x5jyxBCd7dFSCCMuJifOofw2PfcPozm+w0vNwiLuGaLl0udSTg/DWmVFMVtokB5QLJn+XYX9QOl6RT7qnSOWGy3M2YYCFyloW+7eMSR6PyUbkaHx9et72M9IqWyramOOubxgyqox9JSdbTa2zvHGnFAFMelaiLKAhYra6tL6RTL7M2ynDvzNcy4gKyT3Q2ozOD+ciAFuw6XfMWROYTGjmTr4QNjS/Zjl7cbZW25xSfLSc5kXdN/Qv0ut68BK4tu9fO0yk8zemoLDBByUvCgv7YYDVxbcvTH6EiZ5hHUkyL4X459K1j716CZN8FqDGZrp7U+QDw4MB+XnIgX7XjrFraIXGY3BIwVW7qJ7H1ro/MsW8BqVT8faGRzBsUJyDCoWPsbPcniItJBvKSZJ0Nl0BXbx0D8kYfWO2sUSbyLBdQ/AW+vIuW6+7TKIj1f3XA3dJfQAFoTAsIf2w8+Cw9JekLyCmNrba09II6/5WnVm3zKHHNJpMoRuON6Qw22afU2EgIiIQn8brQ14JOBg3UcSkf3BEuhsus7Hts1EkwigofbR+YNBgfmnmhtIsOBryE0UdJjWv/9K+Q6fTyrzefdPZU8Jcw6vlAfM9glXdx0CfPtYf2ZEacLDMdutl6m1ECX/RGX6jVzwtyfwj3eKSx3LpHJj+UW+ZSOa0z7jLDqPSjnn49lUAygsmI6f8M/AyJL/f9TytIhSvNjCiCdZtNOKYYz+51/4Zq8MRidcr3jKedQdH48oHNXjrQYG691mRQxwDGBdyL4UmZIegZuR94NfteijmaJSTzBIda0FM8fKONrT5b3WO0CdCj/GBTZV9RkeVtx6Vo07+kUSvUi39JFlY73DGUKgsJ8YcHJXnlW0bevvu3l2VTnVQZAhGxasanjWg5xgjZE+tVPB1DkwcexvwspVeYBbPbWs5/EsJHt6PWV7iCzV/70oKw+X4qknHItrtKXpam4EtiCIsodJt9z2+IqPl4rqr3A9dbUBKcfkWn6MoFmujHO1kipY/iMjrFBDurPmZ4FNZYB3SJ175Al1H3Lt/fJe3xGhkBDx09Qgtl5WFnt+IZpgH/jw9Na/3jCTU0xQ/FJmAn1TfBsb0sk+8y8oQdSEOwTjcmDajG3TgQDi9TBoTsjHy1WRBlg8ZgIbWDGIlucIIpXilEjXMSjQgw99GHKPpM5CV4EAIUNUORujPcd5WtXUyM8rBjq64vkIaIDm5+gUmST1UzvugQoJUxnLLi6ehKp11LZ+0Mxgh/TIs+kSRWJeSReX29qxElm+2pe131fxBgfleqPt+OpR16JVFOg6TD0oO+E+dlshs8SAlPP4dKwzpbfQ+WRAe1xl+j66FtxTYqLzQuDFAH3jjbBKrvkJSQKTEC9/7Bohq/IZp4j+RxEVWFN10hRYsf9jC+CeN7KiY0xOUTqjrHIYWpIelhjf/0F5WhU41lWHVGSRanLhVl3tPSB8JUOdwHBwWosGmbdTu6RRwzleXM9STBV8nss59VBrVq/xpw6vbpPhNwUGzVxXOauRpNitw13OjzF2kTJNDg9tH+C/F844U9gRc8BORKH9PrRpFmDgU3vU7dLu5S3DMNQH5YYZafR20ISPJZOjMspj8DpzNQZ4enMaKMn+j4yfSn6TSBaepqwQTdnrxzDicRjEBlbS8Z070gdMquxtxpXUDu/ouqOYPtbQagVi1tPmfdbD/vVsB/K+dCCrCrjcZoPTkYn0Ou1D+tARlj3g9RZleC/1ROfpdrEdEoRlZhFl2FJ2VHzcmsyyBAA2jMAkCdASTJNdKckDuyIB+Pn+bJLkFEpFn4PBLEb3OIyM+euCOVnU6oLkuL/evDVqpy4+HvMFLC+XyflrLQQy68mrHZRYkr+/u/ZgUMJdcL8xHTYBdxHL25eMIPdG3X24uXcS7uLi7+5PcKhtkysZ58yW4odoRTtFKbqpcnS330H488WQaV+PLrxdVxZeb7E6a3Jp+WKiJZIOs/2T02oo9bHNjTGlAxnKGa5A6bhuu6xI39azHyQO2q19K1J739cfDG+0WNK8+ypF54jxwsky4d1Leh44YyHkeoDDoO/DOn3GUWZSzxFnclm1ZCiA5JxWur17K3ZXhVNfp8mjcEHEmjvDWo5f58BSlGCoEI1nPt2hRzfsZDaS6ccIyXsAOQGH8Bw97OPgoV67Z0Wyfqhgz7jzC/hwm3Y5wUumGN7UZm0EpEbuToMzrtlRDf5IUxlMwb9NZKT4LgPRMzEzLQ+kROumIXJx02bs3Auj8LQXlaITDDmKjsRTNkPf78ubUP4nhBSSs6WJsJUiF7cw5Cj2INiS2EowhTez/389cuX++bq3erBZe/5iAiu56+7lw2LUVq1VhfRrtVOX3yXORw3/1n+Cv8NDo2OJMBFsx7VYoAjgVK9Ii4MDIAGSL8rSQlQg5TAl7AgKqZHoDw0ny0OjmCFbfBi9uTJRS1jWrvop/yriLQoK3v6kqbC/v/te3oiWEsITOn1lNEmulC0cfzwT7zk6JGL3Z3WmiIbzpiYkhCjwgRQp3mvLIQbTtQJPk10YBdlf3KhTlOOYor4A+0SUC9Qkn+vYVnyvshGKAVtGJ0y7iWE/nojc0gM8qV9y7M1jsKmRzZImvHDzcxqHdTxaI/zy6vhtlqZzbxE+1mZSc6N3n7y4NdUwF2m2lOi1VDtYJkWMMOgi7JZqhx5rBziANJ5U7e+A9lfuy2qx9UZpTJGPLSKHNh47AU22pIhjjSR7bE+n528/9rAANO8SuCtRMGYyU65Ag5ifZZuOhGs4offVCYCyMGehm9mtUvbF86otHUbx14s7lYRgtRuhjgmIIuiNcqRg2dZqOrFl031G/V1lFp/S8cvvTAujeIfIGNyFPTBlv3byrwDNeuc/9wzOQnnUxcmva3oxuCoAeItgurtEOUogF2Yy5cR9t3Zfj+1rRoGsrEOI9Dc/+N3wV1dmJCU2aynSD1vgr/Gz3oUYTIUWJ5wQTBlMhwZkHbwjSbwO+xegB8trD4OKG4p/LoLQfI2/80+BzWvYwjPHAGzck/BbKE/z/ONZxNCutIDBiDVzMhPt5meeoz95GDeOviDUxmZVO9iSh8qs3IkuPh728NXOxDj6RxnFBqkIjXT5c1m8p3Nui6rdrenq3B6+7jVB15/f7c5qfh5KzNGPtDbwrwM2+8XmTf3/6Nm68MX76gTdalO6sg0BRINM+D5fVXKybgeV+WX82exC3MGQZvqNoBoQ17FkXxzEafAZpienQAMq+kaXXHyyguHOF9DoFiHN4KSEuzZ9kKoe3iTar89BVnx4fhQnox0KRkMwOoTG02UVkSKSLybXKw8lVlVEP85fQGJvDBs4uiv5LWh755rzJCeQ2OhbP8aW1SsmZDu/vLXkLW1/E3JNhsQ2mPdeMOSprF4Im+NGYq8PomKVN53Gq588JSo8sfOlUAGbVyX+2G5QXjg4ZxwyGQOmkB0Ujq2YcEnOHBY6fCTHEj2JQOfYu0iW5xWHIRR5lrYrGqFwlv2O38MAdAiKrG+G1PEa8W4PhvFVwau1C4OcQfsr2MukPnc3gQuBvXohOIldcGHteIuayVjlPp2Oo9doTJ+jD38HXlyExABQ3c3vwQkpGedpXHQCKbuLEKmISz4O6JFGDHrcO2FBWaGAxZlZ+Umwcgj1yQbWU9HbHmnSyhLuEg0mgL0KXaHuL03FsbId1tKspBOY7QZDNId51VxplYDhyzXq08jc7RliV/HZCdfi9uRiq9Q79pq4RTvtbyGJ25zv3bR7U9LZT52neVAfdjEH+vdbviOkUjR4uOl/B1s0FCJo80bKwkHQ8KgQWMDv95UDBsB/HGIApmkTqvX6ODNqNA1eUOGif/ZWRWr57A4qRD9SxoFM2pTqwPuMiziPQaCbvGL0GUJAzjdHE5TiOj/U+pztvNGezr+aNnRogenXEFROk9D/LYn2HJTvgRxVVYQNlQSe0kBt4JFRjhxtdJs3AxFGvNKOm4z3y1FyrJ+4RjHU4g4p585JrV3iKvdNapwQz2waEX90ozAsBlxG05TIEsQ33TAoPReAwDGmf64gEiT5yf5QmEyVzKr1Cxz6TKVmyLJVTyN8sgYjNu5q0FWnsjCH5YsernO6zaIiwYPn4BQUB5eSk/9LRbaS4YgtPREzenayk2nn/XbNGZ351bsBczp8Z2OV1oJ/UqAll4r8Pc45YkbCgYrcIk5Yy6E6L1yDoW2NP5RUWZfCY/YcT3EBV3YPEQ6+xLl9iCTY6PBIvZUFRWH/R/4N8NqqDzpmtu4Lm6ZJyCvhoIlZt9Bpw7oPRrcQ7k8OBWuxkvNn4hHLUthVF3KmMD+v4aFDpbwlot4zx28oxzDXWJhmn0W9acjYUH7tDgUqp3h1y0m1Vkm3bRt1UtgsJOhgNVI2xmhUXMIQ0BmTvrXUEkCaqmTeGCr0JDhO71nEyayDx6JkpSdzSImT+16WWFLOBvGVGXDcngZXgs8GZJRDWg6Y/U/3cboLR59VEDWgx0WHXkC19qLwdKr/gzdzVRUr0441ndSzxAWzijADNO3vTJA5xUsH8XewvJUhZfydi4mGoLTWTxCHdEWmHMork6cZa212PZvuc/Adkagob5BdEahSXtj0iOfu8AdLXxg0g+0wwWuOYqYgRLaJsE3Gs8iyXlp4j5gaj9LpimR9hdu/YJrThG3eecam4Q85C4Kks8gRkhHADeDrkbTAWS0ACD88DXeqjABW0SWH0P+L0z4NtOo5jQYEN+Qu94q63Lu2SyEuV0rdmtQF2Rxqe91hOsXz1VD4CPhD5QHI3ftpqDsvPz9k7atoJPR2DetTLL8ELH41mj6ksfrYcgtuzcMWItrfZuqodjAdrYxt5xN7Vn/vE8LhE4HC9lP3e3SIx4mErNJtW7TSgGaFoEVRWGeOWOQbrcSjJNuCpHUHCrhKKsVLxmiWMq5xADNkdSxjwowfjYuyyUJCeJS/0x91k3Deoj8w7sp3PLfPPU8IprTtAAzrZFWBdS2V6VKsJ9xyyVugRa2pvAuwIQc01EcsGgcdACcl+Jvpf16wMK+C2XaIld9Yo4cwR+NBICN2HjYmp7VCal7ue5474uc8SfTn6fwJvunRgIYNuoOvWI/gLCbifTpcT++dOqD3nmRE3nmLJtNkZNy/xQyLFVQ9UYolPDeCGs5w8G1+CgdyraxRqrzILxQpLIUwG+tuN/0m8CmPqKi5nGINd45CLu2FKmIgiv+VFJn+EKue9CEBBsejHnU9S/+PM62fuC4Xn8HLBxB9+QVGogSH8DrRqlYlXWX9GsZp02tyC06GBL5xdRkuSNALgUiUe71z90Xbs2yxmProgagFLWhlQeqydw2SGD/JO1UJCddhI51LaFwu+R9PZuVww84+5mv9YT/aTETlb+/sE7+SKI73yDkCuAhyxZ095vK+Lmh3huXDQg2IAlHAgBlQEcwG0EDYev2/tqwH8ef58ZcJ/X3hGxCzCYxOKwBVlhJF1fknchwOKP3/FclcE3HuYd3Pz2TMWVtxXdOqgQpWzOPNa+28k4M8BxLQF4lWdhd4k3aMfVGfBcqYkGDmQ6lwPFaHDqmobEW/wr8bRL3A0dUCKpPY3nw8M0G9qopbpUke+xLYwi4tRWKwfbFjRg1UKrOVnB+RV8EnlC6z03rJtZnJAVZu27B+OhPUtfGJ2/idGGlSmXEjHQ6hpTmBjgSjJyNabU2s+heOv0ksuZ1s5FM0DDZMK/ciZSUtumuyS0Fssi7zUU3x6dRuvXoXbvXREgMsSR3LrJZCJ5ZZedepNynf9t7Pd2SFUn73Tw6VgKgZMS5CECMEqZpvGKBvWtIlmMMTJmccrpLOJpb+h+O8VypsCM28BjDUfZxhC9QfMob/TdC7XT3kh1xvLCE8KrAifXAcMe1jGOP7QOh/ruRce4onCT9kqtB/CTH7TWMo871T7kwN1sLtGrpEBMytHnNCaY6VMPYUYASZ1W2yNuY/qa+5pcaNACNDSgi4qulHlm5h/yPCQufbfhb1rKvpBEtUd8EBT92AuYTBNsd1BNu3GmbZHU8UCSD98+8wXgEgoDai3lnewmVWlJLX9TX2KNiq+dEZSwlILnf8f9MI7/r/P78amXqci7fzEJZgyhB5Sgaxi8D01URDJBIVlA37swj4UvdjwOed4VimOG2dDcralaMEoMyDpFx7fWO6WuCXHPul5I5qFjl0tF7ejAZ+LhKyhweCVKqqdg/BvS9Z9BTHZKGuhSS5Gaw2ZZp1084AowF4/z0lmHyuKxOvhQrLf1Kc5I3HNma+1X/LBdFQgYwjitT6R6Z83rOx/U3kv9/jWxfU9c4LaNWC/97kbkmEkS8zoP8TRUNQjulxTr4fdWsu1LrK7LfBzwuZzQNRRTIiv20S3EBR56XRTBG+U6/rZ4lANpPWrjsBf1upJGWjwkAx7gU6T8LQHeTKppBSg68wmMJGjAnv+ClhiHP/9zS5VHtsAb0ifnwdbMLlCjPmDkSy6GwiSK5OhwmrNFmEKYZwMfAA7JfKqrVHmEW+Ph/qvDCkOALvryeU8G7mgB8fceF/A3hLGZblg/ZWqWO60qf+ylYJLQ7CMwzryhEFRGaA30WubGHgyzPuk+pbvJVWAz/BcgCw6ifsmIiceNIqJ5+kkCZQKELbCk8nL05sa/1Iv380YF4LQWQAiNWRmoqbHumhmuahzUj7Etf0rRXKQ7ypHipXyPyaTfuj1dtT9HicHhkygi1/VidDy72nmcAQYBCbanSHBmzv0R98m/sA23c19x8Z9kQk5yG3gPDmvz6zg9BLHJPaOxybwtE6GB52AWgtTMrDWPMv1h9OeBeQ7YCD2gc9h85WNMxWVx5fh60a4i9c/qGKLt1fXYZ69wfvdSmhkfg27z1vzNrLZLt3bToaaYE1kIorkm/vQ+J1YxA9sSHrOgROrdLWYzvepqBNfzgK2ulAFVtJq52mw7sGKxhFymmbj3aoG76+R7YFAG7HmetYYliHuxJWc5XnHhgtFLmmMvHyOboP0ErpLph6AD/zs/E2wnWWZ8bn8bhTkYcyMU2qYMXeJmhOnNa/idVLcVxuUFPs+1tWB/xPnyQox2dhTYVRTB2ovoIm63S+hzORQiV4uAXs4L8k2i760GfcCZTTtb4z4vR4C08h1hMbwTRLrt6cZ7dPGUmXFR2a0C6c4dOUpqbqCjD9M/2HirazliwZHz49NCUBDktclxc4jxbmpXsJ6KsdGdVgaF2j2uqVWyqz1l1H4D3+kvKXxxcXFuZzrmloPKSjH9TumrUYOnzPKjS/3k6zxUHHua92cRfR54YaxvUSvAgLvDzBBsgNtSA8vla/Bp/FZ1ZGgr8YOtYwQpVQ05GILwh2/Z87d7PMMHX2TFNJgp7jqGFI5GwgHi7XMCI5e9lr+D5bgjkbCYSlhLICK8UhQiNka3yktlfFnPyZmAlLEBzm0ZygxktlDyGM0SNW08COVtaOJ5RkFJH3IIBBml2Q5WxRmgdTtxhkFLWdGpjppVoppvUbBq+u0z24ouLqEyjM2L373Zd01yIfLO6Iog503Md1w1C1dmkpwo2VoI7GsWz7EDSybYfaI4UadFGtIQ5LqSw2k123hBz38aZ7eE6nDh9jzPxvf9D/4PGRltfNvj9vdnyz9a6+SG+8u5+YC3hHFbZxuyv1UZ0zplRNGHKW0BCUoVS+/d222iFhgxooI6hp3j8ej30XMgPe4Jbff3RadFurxTxYOyk/m/T7+SzCnBvkFyNBcYqnPdNJLlAbowqnwL/JDW3ywUOkGGB8uniggWHy5FWL9Hq9RbXbxAgw3c7hcI1D8vG81bUU25bXYFHuTwC7RwAyKqfl57RkMQoVqgbD++em0IfPnypsqmM1002IUnby4rF1AydsPF6I2Rze89B04nxi4UKKrTl4yvhY6+hcMl93c/IKxtnVqpIftGUWXJ7vufyIZPx5KiF+113Pxl6yMUgWPd8CtvvNtYZy3hLmOOqFXp50V3y9trHkelG2F5PDghRsz0FWhOeBcSe0s3lZh79rqNEcLqrvkFFv15ZoYF3FihdEtdBe4C9uSCAQqK+kxx2TvTtdWbRoK5fe8khPz037Hb+DFGw/aR53qltcOTsvP1UNdv9BDTjkUOcmgNFqmTAeLrmP18CfVvXIw26Mva8+T61hb0MaV39QKAODO+trqAiygPfJXstCEkpioHKbon+NwxaHn/So/VEpIUmQVI4wMJ5g++Is/CwVG0BO/JKeijWC+df9K4UV+dwck1HyKFBcWYW/t4DQUIzpD/GleMNQEigPKdDoeaoflioPJsQGTu56N8i1YVUQgRgK+09xfB+bTbbo4Q/+E+XXHLODrz8oAIGmog8JpT3zWU7d7MDp7ul/G67pLNjDFpo5KKYpP0YunL/zZ21UOaBm4NTLDIuGRozYkR88DJ2afr1a96cJM7acwMVhkP1DKgbrexLt/Pa6rMzjuYF/p6UiX9b0ySvE13hMaJ+cxBcrzBmpBphGe1LGP8TU1Pdb3rVd3AJkXw/lbXPicHz8PXEtu4xvgn/zwK3HZxJlg5yHWra+EmPu0zyUjN9iAgoAiIqNdIBqZTMBgtR1Oyo3t1BCHy3kAryPWlb+L4FXPI/BgMauj7DlipC2mX6nBiJOJEEuL6584g8/61Bpkq2AnY4NCPgtbu9saDlsuquUu5SL63EdAHcsQqyM2IgxeIPloMFgXDElvqwJghL7oFlOjrGOFSfPWl62NPD9HHlXPqgI/6ULLZYBxhg/vVet9UFL96WkMh83fCA5PE9UIBFu4Ffmy2Jl2eyILLIV9NKHChZLpIZgCRnBf+BVJE1w+c+7hbvaUUCBPL6Ta9Ll9DeeofRAsnBjitrwN12jeOj9urlzG46a0C4NmlNhbRuENwXFiY6RotMTjxhyfqrsVIw9KAZC/hFk3TpMD93wqbmRCVF3kcucVdzZ8gGPkpOjhjNWANp/rHqC+wuGOLd6I+u9nrFr2SANWwRprNtUKInAigwgcTaDQ5CFeAtcXK16NNM4GgWhDjMcWhd07OEsOKtK8pG5jfuIB6vXGTJ7osfc6uiHhnOQI0VBceQbZOgZYqnwdXp7gV63dewiDpl3Wh2S+6D+62pBC1hXOV5DK7vKDCxrw96m6OMCDrtMakA26AoXZJ4WHjaujl83hKtdwk1ngZyP9PHqC25LqSp5807EDetso0q+8JvyW0HL2tgweWFRRw/IrUAjzU4laMI52OYhWxCcY7mWt0Z7XZ3Oz1Np+wOlqK43ZE7XjlxCsKnjfqVY5q9URRZS1BzZn0xgabwmmEJRcdjJVwNBXIVtidvOXhqJzdEg0uFRXxETm4i+SkM7g2qX9ruJRSVtG+C74idMPe7lj7qZdCrWCpnfFyK39XUMNfnoSwhz4phMi8j/MA7AUMboG8K2+AGk3qPWEwp+m2ZWBFtAr/XyALStuJjcKRFLwxc3dzS29M/mV4SZZ9kUw+ZmN8JH1xsoQMLcXyIYrC8TvntX4voKiPUnGJeZez6A/z9eG6HcrstUtOruZaKaKS2vg3qBTJL8EwXtOmKfb9bx9BLfWBHdX1dmv8DfxnzdAerlURrxgJNNQQXBGNrZdh3IgN7CvuFnPXqjrJNXgBYJv598OlCqyALV9GjawYvMrEfIaaWrqU1aI6Y7eAIynRcgk+jRHMgogwut2v+LVLu/jIp8coXjoPTzRRjHNHvwOz2zLcU1t92K9ofnCbKi2QGAvYmGjP1WKq1P5DzkO2NwJlsHq+n5hirei4ChauZ9y0m1Nh6lJuM2tp6icup2EfdRrJMaiDEy4Xa4YDy/tdeqV3hJnEnwsJtaJ/ZOdGGThnDZS794o3srLlcrN/QgVhZs8dmCgPexLW2anpkzC5AkMHtnj1iB30iOh5EDsnREPQd1RRwLxuEgOkPcXmR/ASgNmv2mzkff8G4w54+S4kynruNUigFN1CwDM/0Us6zOAHGNxCK9688m3BbOkb0+lVWJJfyqZ+popgnVRZz0ueNtCh8L7FnnJZMa5JjKkXSm/bkdfLw74qsjSMY7T3iFQ42LVvyfCUhUTAMKZS1WqZmL6qQmPxGFlRoOKxv3YqWsXCbjE3EVBj8pbVFeYQbYRkbufOZulS51gQDMNTh2mL/U17wPy9z7cQI+H8ftoOHQGjeO5bHPv8BxqmcixKmSpZyqACRcuxKhpuYXmnazTXnwi73AJnFe8krFCGLose6LWVm2bwxxVRQPCyU6rw+7KBuR1hyZwCHCsu+1DlXHOeeFVHWcAAKPSieAXdsv4XFOChhgoq0NdB6RK4vA3RbesX4PAwtdisvhmr0N0iRH6+V/KCLhxu4xXgtzYRviX+WAv2slHi9ORJqi7taKrNuX9MEOowTNA1pZDxuSvtxCu5vQLsWPvXh/NsKYKTCX5F556vNi9TYSrQwqL/R4RvWVpAu00GB+RZ4Ks7du8iR4l8h8M/t1H5I9ae5pMGcZSyO5J8f1QEMEuU39iSsHoB3ksk6qqHZdnquDKQtpH3hsQfZX4zYrSJGtacgBzill6RTVBwXfXRGCYsqaWQrcwMN0PulAyRF4UDZlV+hOFO3RRxzMc03a8nE734fBH3qWg063JSOdKd3erYVUV6lYsw6B68coXWJgCIkM61khTaoQslwFjPbGAjq/w6RPifXqUpMaLpYp0RjBrizV1OHqbGAj1PCyBpuVs1N4TXIrWvsXEdhJe/UKITv+210TUrStpUnBoGzId8LDnJR6ppzcGxeZoQQS4GrFS+/axTZxdejJHs0E5mFl5gEjPjijLVOzGHDjkCv6rg6bl7MtNF+Pi2Z6eunWR+u96UIsMzVUPX957HQo2pN2BmK8LjQjx9/UFlCYY9Rxyf7UmxamyA6sDQAh4qooE90WT6c+F33HD09AU3pNj7DEfZmKViXJ2OsrBirvPBi9LlxY6R0gG220eR9R9dembhmdb2TWhawNYR7ZNrbEEwAtlnwX/sYCk80NCwa2TSjmEGlM/ol5HXSITEJhji+tvHorfTpgZE5EbVsjDGdyV9Eg1N0q1lwuMfBgDKZwlay1gwr/n4VHeeE7BOWVbPIerlFMowb+19doYTDnEu27I7tylIn7REL9OB7nsXpRrkR6EBn0n7Q75Si5PPgj7zOFi4Apvd61vzeL7umkA2PiIsPab2GeavESNDTyrxRmNwJRgkFmJ1v4F1FwM4DlIvgBqc1FiHHmrwG3dH27yc2gqo1tT/++LO3kNaxsOWJLOx3zh/wwuRfb1Cm0PPyQjY42Fycu8tHHrYrIX/zkmy9oY1Lf2OMxLiCnwFoi+Aczs2meS2DNGkJ0gGDTkGXvta2XmKqMqz+62lCSLom6VJwbMpkCYFZySZBHpIHYd2Y+Rk4nfRPPLzHALmvHwlB3ZjsuylMTc9qtmUAo7T6jXHuCkoeK3jV4KMM8Huov/kJEBt2V5F5G0067z/Qy8QI8yRg6j/4EqNR1UGEMmmIFzg1MEOF52uSNX+SBhRg4pjA5iL7O5EHxBRpKoY1RFBaJaMhYN6zJbaS/ZD+Mx3nc/6Lo9IFXhs6lJzpT36cJpe8fzMldxfxKX4M0N83TKhAuMrcxpcOkNaSVAWax3YO5U+3nUOJoaIyHc6SswSM29r+D4mwYEf7/nuy95A5QlIvrcRMjUI6zKj1+Ymj5e5OIFBwHQbx5LFzr2+BMrV4u91SzH8ktDm+l1FFQAcTTXXXYzvY9VYMamMIeDUtHFqJNckYLHZIAC/Tc4XZeVkVI0oBh26YF0oNmSaMLRn4VUVtumWhLinWYj4TjK2I5jnWoamxmi1O3sdk4ykfwLPO7saiK+qsPAV3jknHCE6xdWfPM2uE73kmK2tEErQv8eCkRfcgOjf62PSjA8xRZJgescTbEOBWagCyYH47Y7Wejn6jPFRoJ8WLlI6bAXxPICVn32j3l1MEfkxuP++ghUy9Zqq0ZZiuMhQQDoZzqgSKVbm2V3lWAwB6UL5U+8IWxo2ieDI9jJUMkzs3fl8O2zcdb7saoNA38Q9QFjYsmGRtvz8a8tNPXLwB47pn2zpKWYYksW9l2JaMxmyJgmBsYq8q8C8tpr5GB5SK6NFf8/0k8hDTiJWDHtsGpWysoY+/uzAbsPuJ7JYcXdh8FVsQ6SEueXX2wqurwEllMpJzFmD9TUoorlEbFCgzFC21qYE9F9iCJCmGkj86DLitYnYNcVnKOcBTYxk6/A2Y7AcBHZoKY/EF4B2r/V+/aHiAvA4yc3bcMYKf0gOm1XcusoYibenYa+qynZaOWOswDumB8LzWsIPbMkkoYgR0q+PcaVJ4Onp79Upy9BY9ZLJo2ymrYR0O4/Cd7cEdK63Q1k2qV5B3d4cpzaklExr1GlgeRGGCXVNIvdRjs2AVZ7mADmKWfv+C7LLfTaPaeLpnLIMBr01aWkit9B5y6kNAP47zmyHz3Arqb3Wy6LHFVKWvfmicv17tosOf4Zq/jShyWHzIO2kJ/nOA4JckfbIrdBsCC/qaCbppmjR1IOgYSZwrfHjMN+qZ9qQQ2PDuQ7lbH1sL9/yurRLY2Em7XY+WfXUkdiLoaM+zaq1wXnZdpgNqUsbhNnsitVpJ2IyE1wsJRF2dQAPXzbYfziKHr/PyoVXR/6Au0WmVx8hHaJgT6Tqout0SifaSnNAlWsJJtAFU7ldYsmCKKAUkFe4123PAanBTiNNLjrNinelqUCaMC6qWXHEs2oLuTJCrFDlYjSZjSQZOlzSOMbqae5lw7JzzQHKwo4Mt5YWP858EJulK1LibNgj3JBrsMisvpcmsYrxNlUoVAoKm52QJIUXoELFZYTpK38k7M4RbZTDjml+zq+df6WdU7Sghsje8lraHbqn9UqHp2jeEDwpvufZJ6yveJmsS46QXrbYoEFhouwKbqbVC5qLSCOr0WARBTA2FOgxLzKAfKis9pgM6y5qcCiCpVhNY6wuSTn4O6O1o+wHaIki1BEZte7hKgNs68rbViSN1xthiBsmtY39oSJ3+DUo4kTqWb/vTXw5Wos/a6dGFe9HRVXaemGT4XJhdDLX6hHJjTSPLjCOiHkUJUya1eQNeValeb130nKeIRtvvqYqsPvsFQSBYdij9VEy2A1DX5zZKy2Mtr03YWVXsze1orv5hd9QGlszoUphgGv0n78y4juTSao8TfJ3MUgj8XYF+d5a0paQb5roDsxZk6XvVXQSbV9OjM4jpbi1AzlPxVDhNBncQtY3kOlioWcqcmLETMOezF54Morm3yEhPP9w0f+ARIKtbqbC0VuWiKdTE8yxzeDgT2PLvLnTNx0kkLBFDNDjNdLI3xZbCpbiUb4AZdhF400n76rgrW6K90Utf2ZVwI9Yz2g4J32c11jSuOK30sMcAI4I/ULoXenSvW2pSZemu+RBDHmCMlBah0FFACgkv+1yjqbfEwKY5yiWWiTH1+wme5WjvcJN4Qk+UnoTzY9ahBgwZiUEZzg2vK+GpsNSHzU6cmE+OV3dlUG8+dN4aZElgLLSPij2gK/KjIeKeTWqxi1l2aCf5O4AGEedqj13XmM7nAdNVip/qMOABeE51u8eg1v3osv6and4tmsEfeFBAhkZrKETAAfA+yLDVikXc63bvvRNdjSkwF1RnZI3buSF3rj7wEsg3ZeeUc/rA1eSWA/Xo7/Ejc3KUiECnwZ+Z3s9gIeIehjZqknmKGYOY1dGLiFAqV+mBUpRi8QeA0Ze9R42lQFvEFIDuH2YMKV2ZOFgBxfBGyESFct+MtTmglkgSPyYEehEZ60FIy4FZs73zhIbhc1DQyW6FDQSZLFwi+CyBUW+wf6HEO/prv5ddKH4TQvT+dSd1XbizjLr4t+Vn7KaAs/i+/ty4hELp0rEbNehV/dMJtv39ly34ZxHh4Q9Q3g2GifGtmE7ScnBFPG7sIIULLHrHCp8GJRLkjGy/UNdFgW1DI79BERjSgiu9DWbjCHFTZPUxBIrvSkCKPRoKeW+S/NE2mWD0Xn73e+L7e7wmOqzXXNu/M39ieDKaX17sWoFtvvQ1VUybD7IyyJSlmqqZuHw6OBk3qRRUIypg2ngQHkiUDvh3yhT8GAb5J60mdaoeqql+gdOSR3jyLVtBkFcUiEdxZWf0ypivJDJpDGvdRkptvQ9aAZQfbDg8Y2N8HEI2iNqnr2g5yK69VyH5o0nMHmAaWVOS2hlw8y0cD4LIZLvBf0cvyGj0SARcCStkSXct789H4SDu0CHpCVsvac7GCag4TXOa8/Ksth2GF6Hmc7JDYUv1z+tiaUL1QdG+N2DDdw7nhVBb/D51RVoeabZ/G+J3XGYbfbFL4pMJVe6rV4VHKNzujRzS/RQyB+zTgcLCgJZolKCFoV2GO5IfqZzujFIkHHkqwiGrXV3nUV2ITNEwGPk2g5e463iCpF60g1RTk/weaieHMdqM9wUVOuRSyQ3X9b3HmOOCmjW9RIoKqTER+FsLoVRS1UcpJAVw0bi+ABaUtZbxosu4vcs3iMioClVF3ll/5+tlD5ufPMp2x6/jC50zQZoURUqpEd6+M3TWMNJWSxK6nldgjcrLu2Zqy80/NPSDaSumKlpTl3R9aTOnY2z+M6FzewRk3RSAGZRoCNVP6yozOhtOT9fqN2cn1X5BuqfXKKrzru4NAgKhbeN+QQ+NWe931q6hpN1F1tWpeqYmDmNopYQSaklqq1kGjEupmExtJJY+iYGp9LqWHm/iOBBQ0JT/nKV4QQ1vcCLku+5PSp4g+UFfoeKYwJnu1ACmkIkT8up5If0FPR+9wnH2rXawcJEJKDF5yD3lBZWosNMAB9FysYG06Bt2M/A8PkjWYzYQP7P2Or/AT2A8yXloCBr7XTSqp9MShVlZyGq7KXpGJuA2oOqPm2wHQu9BHGFwEipTnkIRhc1VvcMGNQxVeXI4EPSM4mcODvGs/tE1pFGoi4qOBO6kImHe1ZASul5dNKuu3Wj73k0WwZXZFBPcoVmIAu8531s3bdJ17M5i1dRNHm8fh23/eWXJYzsMNQoIhBhaAF6DauojEbnD+SS7KhN9oFmT23ersHxZ90EtH/mKxfrb+J2NAmAhenhuHiW3J1sqLrPoXIW2uvHT9c6N1gGRMzhzNXxWrpnztu1Bn+2ls7nt/MizU/ThDPSvV1Fl+4p193EsKhB3dGYnNKzfgZYmpKjseGKS76XPIlN7mL8mRwvbWWzmR8gI1bXwtZllIll4XB7ux1NW57dCAO/QO2sF7fd8UU57kLTDFT8PUJGkMDKhALNys2Km4gA9fokca9HAN2hgA51g0nY/TN+1u3fTmxgN+MRsAeDFRJzmoNXnKsrw1YLmB1Ta71ki991lmEskCpK9lMesCw1xubZ5YuzO4A1iH2HuL9FA2pSInjF3OQ2IpwdZUIS/72cJ4FbwRIP9eGKEJy0wTkitm+oLLqcmC8eudsNga21Hg0FGulm0Z47sxTEfd0h23rY6Sdt3tZIKXSvVpVgNtbwa/f4IGHtKW3i15JpVS7h31yVQUnmy+VQaZ8VTXzctzchap7deP8o4b80aU+ablXkNiVuo1NkhVDTw48DM0ekcJ9q5sElSeuYrkrsiIwQCz12QDc1IIaLY0s+fv284h3rwmjLXskM165bt31f9vF+D7nUpMqjE9WHuMMSHnfZSMd8vBrMNrCbBmBrxtO1uKIIwdG/wfelFAn80vqDCrIW0nw44rDr+aUwn6Csu0pZckdnpUxcBV47Uw6HqVBkXN/h9qTiaysKe2KKuzSh5Bb1oh/ReNCKvBPVQ7Npi8+CZ6KFCQkWrRBH7kVtDgDiKKdbg98OvDXVXNl2pXtEnrUB5J9Lv1e5bmQypp/jkev7NkqVziWgWavrNU/Ao4EJk2iAjNErzd+/6NhBu82zx3d4tBJoDEA6KEO5b3eSlEWYg7SchhkAwL5NICKHy+X2Xk9+ol7Q1hhSovYmHgym7tU3kWbl+dyTL8FvYFQubLjdjLwippGYiMlcA353AHbvMXzpAJVfWfkmBxLMcZJSY66F4EKvsYxzu8a7Qu6UGhN2+5jKnitDADdGJyIPVKt4yFDfmB2dGBWFr0twptdK+D3Y5TXCxTAFAWt6U7gIYEhqH5Hghh+i3FdHU018SzSHUbAu/DxxUnLM2xc883C7iOzZbM8WT2qbW0OYJzz3OfhPqieoS8jlHNGMbIlc/gphiOPMR+ee1woLpsn0Tz6QfMymFrafGBjAjgkxluVIZPexeErfzUM3BnHM4i/T2eiTCYk/XbyXdoY07G8yHtLLgXtlXqkWfwPmsgvCycIngE2KCyyA4Jsos+qpC+uee2qVLHMuVV2Cw4++6Nazky+IwqEsrQOMTN8L6b5U3IgJJFD6n1hcbYeVxD0TtRFpF2AkahpTOl5jgMCSzXHRkde26dlsL7wuKnflcex067Mc2TTwo5bvestc4nya4iyt583KiwGaPzf5ffFG5o5P4YoHi3Km9hLMj7Zmze9mPCE6YSTjL5/va6iL6OPgjM9YilowWIVmfDlOFnOXaNL1mQxDJkPmpW7cIVBrB72NAd06fFH0lQcq6JYFtgwirLTBuVg2KI71FOOHSzV70Lc/MiRbkBJZKaL5WU2aUj7VY9bhi8z7KnCE5TCk4SXAzh+8oEJZZdN744gQlv1FhYAGivGly97LAkGDk5qkhUXBLXF7tPXFmIYt50knEbyqsapelhuYSPNoX8kD5PDcvWamrisC4BqTE4yqZYsrlT7er7TQaMhlZcLO7d4qGdxmQuW4IwoOvdGZxt147LJMY/XO0OGPDracSRVckg+Xe2qOf6vJ5DRDVFvyePHj3GbBELj0k39/Hleh58wKkl9sjGdVv9Rf5xw/yP2KXyek033qO23171Tmb6SGh9+wqvanwrB2sRoQoPoxNMnX+9tBV9sTzitGffwWTc//js81/zYQVJdi3PdN4KbA3OcNBlosGXOzgSAqvB8kqW2RYi8K52/op2ny4FWRnTEnTsUgy/lGhVrXYuabFoMkCg9U57fM4+C6hiCkXy8Z7RouyzWOfvHcq8VSX6lfVXpwieDe9+PqDWJpa0yjrY5vjMAP/IZisMvJGxOguegUOXgY+YT4BfKnIq0ibEdN6Vs5DHy1uK5u72VOU/HbY/Rch+9sx6p90gquPSs8P6EBVbSt6Z6ZMv4H5ABc2+ygx+A1DyQ4XRCU+7ABikWBjgWhkQSz6hHi1/UlOG/xNd0CwIrpVrIb2Flvun/7tIKZg9K2vHK+yJLX0t3GkYmchlUYfy/cqbz+RbmnU+7pAq7jx9HHSVKDkpjOESc1ZVjHMPP3gZ6o0kfhsPeHMHMlDp/GcTcGez8pxMbsbsDeX8jlDE5GsHg/vuwv1K9gsKCu/0A+5DkLepr8tpdEdaRjhnfSC9XeGsSPQ5k1YoDJPfNlakXkQwLZHRjCSdeqF641+vbd45pIavIR8CXaEw03d8nqPSh80jfs1kjoxAKOYN58XRQcMp4HjeO2CTak+n8cDOmMZ2est5CZr4vbQtY72mpcp4Kfj4R905QFFcLJ4cLbAirzdSRGCcSYhiImcf64OP0suPGyE4Hk8rhTd4JN+9njdLT+H6Q2wlK+oY7n6+3eNFzH+OE8tSEQRgw/5XZwU1effRBJRNKvi7usA/095iAHh4c08E+GejJ0RzdRkNTzUcfp8jcOQErkSblbK1sKOlS0Qxn4kYgHTCxxGk98gttEXLzwXwhJst3l6ZAtioOGeEg8HHDtMveObq1cUHr/SURNvMaGvfx2jp35qIq5mjPJEyA1k/B/9MHT2PHbSMfrWGkJemc2ngyswfWpHelE4r/w4Nw1eKU9FY8Os2ByXQt4+1GaOEn89Dyio5SGt2S6jTzpvpC/k3irG17xqwv1+T6lcBEu8szXboiXBEgHu/OBvEpDO97SB4VOHvmBTZ/GuSC5Y3Zw6jIWYhyPOMWGqX1OZ+FDFFdzJtQgzqa+v8neGemhitjZedoQ9lVOfjm3oV/xx0zRxBzGRS0FNwO8y9IcVqrzFfJfjDG6PK0Bf/eXdkAzIF6cs6ay5HEw3a2IjUoWqUA5CuFTlogppIq2s/J9mtWgR2hOCZ5wTT1zyNsG9nhlKKBBzaT6eqHs8FFZ6gL0prK7Gl1FnhfkzZhutzWQWQZFektj4EGemb4X03Efv/Ixz7/KLjd4nqNyTsN1TcKtxwUvo1EJucYkYbmTFUECc6MnB//WvSTaQvPVIYQDtIhNrPqgeE4TVriximW/jq5aLd5wcAr3IWxUENI++gpXvnCV5u133WeIJVTX9lKmWFbFp4IG+0OuukkkyjtZF9LnqGw2plOkrW+tqEUxBLnGWH7eWAZgUoK0t5SbgWtTGz08fcLRYnJuohBq+iYNc8AlN7f5n29hnKeA0QJkepkaAhO1O52YHiGIUbgEC2k+IGmIc8JmYyPf3YCioZWdvbXGX5e8ViF7jo6vMk51ZqSb5Pi1Gw4dGKL7TxZWBV+zRxTcCjKhLxrAp+zlbcHLBA2j9IBdWIrOcdx7AiU/fkc0g5L0fjAa19Re/7pAsplZxMXVehhIhG/kCwDGPhoQl65MMVQtNV68iSzkvnJmLsUAMQXik2Y2sTR91gbTlVdSX5lM7p1LBlc7ct58rsHBsIJn9aK7rbWt0kBTkX8Lzd9gGxnWewhw9cnlxje6RZUJxALUqur0AKVZ6Xxl0NIS8l8nEWVROj2k33Y61lvgQnSq0Jzb3LUppc0pppVCHvLlEAsM8nPAa+n03Rn0V+0g0tCBBaHOGde/vY3z9sCF7mxuOlSQUYXmLdet+lgULa6mwxdUI76HolnZIir7XqOp8B5ffFRy4O0pW5IsRK8YPxOiprY6TKFwFtGigD1raI92Uz/exBslZH0Oxzd26qPEXOrLv1oX6uRt7Zka1hN6JvqSyNB9xRXCB+8e4q/dqoUUktf5uIlbbwr6Tgp71YcPdFwXd8cL+tMNPPQr3vz0yiRSkjodSwp14a5m2ivR2VAMaMZRHGgROHD34CX/iC9Vfj684/6ZsWBEpW4mWbQ7Mv4VyHMAW5NaViLwnDMUdKXKAUQnPR3VdHO8/WWy+54FDGvarZCViERSv7oiEG0bvtD+Z6IoCN6yIaFDUJsa+7hCFsEqhKq9Xm7ybf7EFgz70+L1Mdt9BlUedsruZ1oEVjicnAX2Balv4a1Wi0sOwj3jF0CxKr8WgMdPPX9Hg3ZnIYB7+VjvdQ+oPw+F7Fwg5jxX9Ib1k+PFgI/OLXcxPZop5zDy5+leIcxoB+DiY3Wy/RnFWewdKNc7XBvq3rhe86qn7pxj9z1MEsPyRsHYzFAaLgTctX95lYLI+GKWpXvvKgUKR6d9/8a8cBER4C1heOQL8xCkjkaxa6gr+iE61xalloHM0s3e+fXCgKBSgoDiInKLun3+rrhEtOHQ7MbIf05lnvRt/GXQdXsYdJPHoUvKd9PO02U8jvQSbaI2sYGOtBV5ZZod7nNvAcVtUfO8uO98yg4Grknig4tlPpObeYnBCKfZuna7HNNh7Gr2kPpDuH5Ulne6gTnfs+Z2QnbZ5pa6HkwrZVOtfiWdxAOdDPWtTWJnLX1urRqu7wqYZzKTcOKF6rwc9PtCiXyLiyorT7gGq59vLc4C61CVDSMHAB6IWTqEWrN9gTSx6zw0cHt9FyzcewXWBsbuu2K9DCARtFtBxgzEJnEZXLBXP9fhO3byg9xUlVtmFWO+r3cT2KbYDmTlkoGE887Gc/6qpIha/COqs5mSNlI6FFY6NfFX5HzXSqJuayORWmMQ/gNXmQ4XynKlk1ONXaSD492pJXaBjEdfy9MVduqq41Ecly65VsinflV9ZLBjYcVu3BnjTKoRtBFLLTJBv2+GT4FB2b2q33EIcM1JiYkbwgVNOmtU94xaom3Nv6nhMrvHLC5rJIsq/wCcLYxeEANsDCxVvn/GFlaAmI8vJ2G3uQPLbWShGxeMTHep3Smfqi7k6dutkorpqT4SOIPc6OTLkDWdroh2utlynue9jYeQZTln/XWTg0T0jmVbMgL0hwKCrL1egbhcH7e2G2JDhnIqSR4ozcfxa/HKDu42EGOdcgpnfWRLQWliHWxkjUKGdKNyouDFj+vr65guymrAGuFZZuHxxt5hLTm5xjZmyqauQlp5US6/5mKAD/D0frmYzU8wmouHClhMkNZFO7H3lN/Mg+/ocQ9Al971RI/9af5lSh+BZPNrM+u175gEA9B0N/IGm0z3wcNg8mcxhz4pCHsOGs56ly/V7sE3i3kziBUw8HMZ/AfYMU1WgmY5tzCOqSLGlggBQyfWg+a3gDm3AzgjXpsYO5SP14mimIbcN3jVgqNzjErCyrXSjEgTMsWT9eZznShgQ4V58WQ2Px3mRvs/3C9PpmVmD/XVnhX8tAUGRZXvJSGr57k2IT1qy2fDxbXrd/jt4jn5e8iBEdhSktCchxsQfhshZwGxhEc0pRhPY/Knl5lkFg4keLeZ+iRCtJ/ZNCcY+oYn5ZrZBKk6h/l5JS+hi9LoKOppBwrCbYhaWKuVFPGR1r0u+h/0fFRSI3GmqfZMHKhONNYMJWVK5fAdb0qlQ50KHflIEFuG1en2EMj5ew69gxXrCMYF5pXTxyfR5hf6ThvibIcK5PYGb1qA/RPV5bjRulzH8cXOSb0b3EIMbT6K+51jYZRzZN6rq0YbkEl9e7p3zoNr7T2MWbFqQRI3c1HycoweM8qxnzmuQ4D08KN96vqk3VSHMLCGNgPDuR8yOcfnlKtheLoPJKGyiehIJ+quCiwgOvG1dSItY8ILoMopm5l0c1NA7HpZoGTMfysCk2htuxEx5n56mPv67HjYv1REWZ85j7Cdm/ceIv7zXNlmkL6DCSJi5DNgTLPKVSjS+LRQNzIAbilULvRBKuuw7eeXEF262xmH0lZ2rU4DU88ebDjIQuiFkhG6VhpYwi2zld1yS4sL0VIldL3zFas9vovmQ5WDbPalMGkSmOtCsx/ZOIjMKS/BkWxp9nsJEPpT3dlawRuQCGnKXwGAXLLOG0JayjLJg047lqkTbejDt3bXBDd7fpCnE7ewC4pDADjYRwGuVffHCRVcxmdpTczqzkeUcp8qnFTP9AP2xHyWX52ML/3uDLX93hMtISTDwzHn/B125J5LqTZXMDWppOe3eA45NmtFCE3joT8M3iyktDBuUBmfee3NpP0Egc6I34pwF36ifX/y72kZBdafxcQNkM+7J3P9VYyDdH2DtJlYhQqXGTCPmjDslFzQs/wo1zyxfZnM0ZWVvIdEM+ZjiOU0252pllalaLURveT/yARmZymjZTMpHdjcwg4jVceJij7mQmrOtjx26uTRVXQD/qmwmUSwk9l3cNidzgg7bu/M7MEVr/CKjDLtBk0U2y1GLMtcsdqiOQWlKu/1fOvxI08w2zw7hVh/gGhZT7TIBEV7BruEo2uUudi+GtTNhN8L3S3LBTjMUryykP/A1EnVPFgiPCYCXfVDUxGdz6Gn+Tmf2SVDWLkuOMadY6QhFj4W9arxNDi1DXV2PS+ExOH0bN2zS7byUPWARwgcVPrs84b8RTLiGi3cPFvEMp6gNW3qq/jZ/LSnVnmzSwwpuARPHxvKygEzFZYiZgQ55PFDnPesaqCQdjLfaN/7w+F3SosCAE2yqsoH1yd4WUMdpRhQmyIgB5vD8S7s+jwlCzwcVcgWRB3SH5jhV1ld3IHecm/NsQ88bWnIQuPp4XCDc69xB3fhJwMBIkgT6YnzZ4Ai9Fiw5xVhJCzG99jMV5jwIs/H/wZ1/pr+KsDLZxYRIeGNSKAPYWVVV6o7dPd7ZE35SRsPOTluymaXtI9ud9Sbls5gAcV8DtaHgFKhIVVgzezryW0KVrZqr8tdn3zpB1h3tPDLA+zDpOxaRrUeJUsu5NPZKI2PayQSw5BjDLw8VHEjtPHswLOOc+mwrIvguNBLuq48f1RG55DbnQS55hEtNVWfsguis1TrilHmd5G8AA0/v2bHqyFIzMg3iKtDn0hFRulozJvrs7RY4ZOKiBdlTsXnlsNMioVn6qi72z1nEa3NgtcLiSZBsLMPvK0XST4NACCMFGsaRmsnSAXJnKlM79JvXTlPqumWrCHtxch3KlPsJwhdW2b6fpOoMH60Ffkrw/q8A8LiCxd5DiEsgJTJwar01Yv9xAr18tuvIEKy/eZEycmkFO2ygE/GOg4uGf69Al+6MBiymI5SydV/aMtNbCtWCZGMevIKTvLWRZpG4EdveuPWigR3oHA9fZ+kvh++e0RKOO0fMFsioeM5pPcKkrs96DiWKfHcCukzHncjHBoy6V5Cq/rjv/qmlYd7O1p9k8gclM8IIRbeL9julrvZ4IQxdLcqPGYtVwr/QBuqkZvpVFo1JJbtax25/HL/sf0EJ8Vq9Ljnk9rSI+vQtVP7kk551ElgmmdDstKGZb+yRXv4mmJXYYBBx6hTvyxWWqG1UrPmfpZcr/62NrijY35A28ENec60odTwZ0viRN2WINUWfjfSgNG8y+iXbYF9Z30xwptH1ZF6x0VGb8+TjgrpnTEN5IY7vkp+sWINqYxMYe5PoXQ5E3MlxztWfjvk/3L5dxVnxOn15O6NCdq0JIDzpODN1etLl+Vs6+jD7d/DTD5yDz3/vw+LmYeg+BCxdiTRPeRDoDPi9WGfugEFlbZPhN+dodTpqIBmA9MS3HyBWbfMrsUJUf78SaO8NtvLHYc+LVgJJ7Nw+aloN6PlJzRQPoCwpXxCNhxPAIu3NUwOYhdYGrlRbmVEYzsEF1vvDoDEFHLuXbjDCPBrw2u2E2Ell6/dc5Kkk+9XXDuAjrGgdfdLv3t02SAKzewTUUxoSxJAiILtlDmF6SXMUY2BenHnwUeBBPaOZ+H5rT6oXsNRTMIggovrVCxUu0CvTKwCIYEcwUZuhXD+aQdzc6TKXl2GA6F+GhGM7TLdiZoVVCqjwH/MxmiDPthOLvEasq27tcIGFjBDMDN0EJceKUcO5GDYbrgnGGymbQJ5q5x/2d0hHiUMZg73gO1txOFtaH2nYpksNOMXMI/2eGFO04tch/fkI05wrzWxr1C4hUDuX1y9ITV/tQNSweacLwB3RDD7ZEQNrrHHzzdu953KXq56nYsNq8H7O+o/41CV2vmsN95lXvDFr8yHS5N7URX7wQkq2T83kyOEWD0nsxNxawivR+7PSz73JDElk+fJMfCPKiLr41d0xgS3098SYEmhW2G5pDdXfw0WKA4OYra76lJZJA3CmDorq2anvujl4xEJNo4hgWO60t3JBrsyYZYywyWMMwUoARGpI1itfO38x6uvoIPXts7x6aXE+eVUhZ4ptDXFJTAQjzE2AeUQ+0CHqsswGCCwNkmIW+lyCPsLynhOItYB8AWByFCWXsuaaY2lXUv/3K2eG/IyMeRMtWcaRsHnmWWa6z4Uj7h4rfxU6cLxRbZ7u64Hp7j80wq1Ud0WZXl1HPHHcI3+xZBShVud1unCI+dVM38i+PAzKNciNwvtFqSeTs14px0omPIkWSp2TphFBLtiOxGD6+WLW9qVKXhquWFK6pejavkymd2FggbddVftELOg0rchnKHcMxOVz1X6USYj4f56sDEFDwNzUL7n4I7JRZz+FeGHtVrn+xFI9RcwKFc1aJ06Tfwl1CFeCWcfNqfwlpeXhye3mAXIvxdMi6S8HhArxzHTV5jkqPRSNMVXhJaOD00BlCDH/qnWYlx3obdSn95tfw9iPCi6OdESXXBjGVBbQjN6J6xJaxJkVV4sQeRtWJDupsw/FZqFqzlIDCjnxkvAC4jJtKXN2z3N6tR0nDxz0IQN7IFAWyb5WRAIKioHLrFrmbk4+bUuMpTvM1N/o1bxfcAzEuycdbPuBLY66PPOnNhH8OFG3IL5tCruj9Y1TjrISAhhWtyuSTq0vdvCJRqGizNzCl25Zo/xzcNpgytWTbYWObprDIvH+OWyf4X0LgQcZIw5OPKDVLQs5s8ZcIieVS5EXLLwGWYjSfFsTyleuPTbN+V/tP5l/W+FBclFk+mOfHN50rOwfXbI+1E92xZ4d2+x+lUaDxOQxhEEVYSHDGd5B8pZD0wyMOBl12T40VTJVDkgSQ9d4FTwuasr3yYq+Ng4opesY0lVUpEt3TDDUMZPLRcxe7BTLCbpIuryzdrAzMc80vZ8ItfY8fU+dzP5PJoRownKzT3vI3d5V4nfUobwpgwp0bTMrJ79Yw3Q9WBVejtje+Z2EdpWxBjs/r24p47zYEnU6IxnghngE5/+ySWuesW6zaaCTp8qU9jtvnzRnl8DPwrBf2c0+B5YimrqqLFHUZpZsHiHcuSUswcZy9Cq0ZzJw5Cpr7JvS3/iP2EWy9CBVe6PRr9jv3CBF/KGK+uOmZ3eku9xzNhgiHrl0j5rvV0I15Q8JrYZLGStSxyD70kuW6vceNRT2T+WNRTdqrBJOwzWHmc6jzdzlGNDbHCTCZPuzvzh3Rr6tqI6PoXcwDnPqgwOyXSc51dDEzGghGtfy4P2skDxzduyrGNlWwtx3IP4jammN9YTbghFFJr54seHDbhqXXyPqEcqo54JESEKJHTcFHEi7zCwmjrNAJFywJxHC8GudANiw3ejGaWhDRi826aERqKN1dPsHQQeUCIyLOSzLDfueQI+K1oKbrsoEiV74MuVtqKP87iCLTmVtmhmp8fByOQgwu21vY34QKA1OM7cy17R2GBF4+PEuRCBSVhZEicC06j+rKqXVJws07419B3/3PglV3+NJvZN1wIhRzk+zhza8FsftQQAxzHMAw1459vxVhfVh2g06+1H0cM+QiLkZcwzH1WvZnc34MQt6wyNQdMien0Q58ubMhZSrK8cfHL9VnAsZ1pz7+5MdqFBaEhHf1HUrWcN2wmlEQOq719mTv5eIJ8TYNv7sBKOgb3q0iarqrlni5HXJNtXKZNFRr0MF7FyxylanL/nW11OZ8G4Yb2OHLl1q2MbYmQJwI949XELI6y+wBoQMZ9m4fX+AhJXAXy7x3KuDIVdzhoX6am88rqGthCVYdjMVthZ9825tsBxnsZawqZSubeedEJLpEBVBBFjbKJWWHP1fXVEl0NRwzASgkkgpDOB/sgGR9Er+3zQq61OaGCD1Cn0UE1iU2O8mhxWsjofU/BYCTDmmU+9dBbUZfh1Ay21mfqRb2PjvOYsC0dhP5/OtkW3F5Ao2xSIXLjLCu06tDOHjxfp3o/8p+dMuxL8AqD0xrOEf16lv/eXvdRdlM61k3URTh+IMI4kcCGkQlZA5+XilciaankeSuWST5hdyfIUATHWljkngdIHAcXRFaDmc5UJyap1Nd6RD1yb/mv7R1p0Pcs7Vn3WNPp/IDGzlCaCqHGKHWbEE2xIBskangWkktQYC04zW5CoBn8oCu+/EQL2PGPKpQjc1eyCAYFFVgwHZ9BLnOxEc5eD3uEQnWpGngMF4q3odBJFaA87ttIWaAk9AGQ79+F4ib+K1K9qecAgzfuTACw16sRkCpivjYM8q9fNZixH4rORRxj5+e2iY7QHMK1DM7P/INHDiDg5OiK8OjrDSbFKuvEDnMPAnME6mh7H3Zv40Bgq8fxTXMlMhKuday6qOjXvfQfnLE2PQHdkkKtudCmRJhMZZvCR1mp7Wvqnorn8r2j2tk1gUhvhQY72djMZjpqOYiQIXeneIFJAWw/TYefDTd6Lp3+1Q0fEmhIaVu+TcsPn1J2B06adcMhlC5xoZl5FFENvp6NZmtl9i88E/imvYGV+hPm9j8M3QBITe+PXJjxhx/xbJkslBNJlaXevM/L7nPDabLEoLoDlzEUpwMp03t2WuN6O8nY4zoMq7BSrbQNUJq2hqDNnz0u0rQ2sS/etmut1jsVz7J1jqHsCds4NBIqM+tCKqVkMMieBOqOpFTN5pkUeiyqXyAx6mzsOQEK8suvqGwuLDC2Po1QvDzh+9v5KyDCXCRGTVtRLSdcjWA1tuROQJt99E5JxF2encuKDLQC4fhdXTxOMx5BwF9IKplSXRBK23k+J5a7WcSiygxkts9JExkMszkS0kWvWUOKAanB+iDG14nFJUm+mCAevPy1cUE0YDQWGzwipcHeL2karTPSiM51VWmjiN3KRHPYV5/4PtvNpUOeThzirEck4yJQk6/6xGu/LePWYQVbTq7rdWKV3hR1jGeGZMOQ4RFpB8FJ0N1XxmhM64HOI+/ETb02Ds951tCGTSqgKlG55tSalfV5mOEFNHSq6euCmZynz21uMqXH2kSyrs6QxcMTOARm7uwYBsYLilMXSfM+qpWovpeZAXa56e+MywvGJd1G59LXmA/UueS8PQQ5jLLWq9rZ0STxa76zlEbmiUnNmsKvvczEc3jhEHySI93Nrn4KJMEluF0jEf/q+kn8Tpa08nxTr4zWOE7T49xAoggWqmESVqwres9fLRyruKY24TRQl6kX6Xeh/KM7sXw65vM8ySWgOuZQ65MvLUl15U9GCrTC2Av2hmtd3g21tSVElyiOC0S1HxarUYWi89IE+WGe/fhMEj1e4Oa3pJiOXJaeAeIrm+ce62notqdlG9dRzA+rS6HK2+UiKpA2tBUn150yWZtw5BUBaei+X5/mGYmXoLgVoShXlFfCOhifRPQ4UIocUv017ysfgz0h+1miyb6IbHsKhz3mwKzhS2omVx1u37/SkiNa5ERagHMB+kfx2VqQEL/Qvm1fSzDp5pj8+hXrudyORH9QwGDbOYKeD+lOymmwGdju+L2qYpp6A+eRFnQsvBmzvQ3lfPgMzZtm911wJJC9hdG5YMM5tooO76fPXdsCxFignWn6Nh7uZTFvUZbSfVfkvw6bdrZtu1GFP+EPmC7y4LojVJaT/aA0K0OU3jYsy2MgVOds/asn55bsZhW6I7cVjdbCAxO/qPlVEdw3Sw/d0g+Gs2ewNhCnAaViVmiIOmZwUn3MPPncYQdBPKrWmo/zCoj9IweQk9xQa01+ciGI1qScyTMdFAEBuiKrRwALE75yWnzd1Ng0+E/4kmFpJSi2rQcwzqW0KFt7TH8vfpbj4Ojlp8BBlcKfmWFH+cj18GzPM6Tl6G39Q9tVbcMYStdxtnRjqScSAWBrdM2IUKj23I6ZG3X3VGP4tCXTaCvjBAfFprj/i4q5+Jqq3kxgqfNRsUjSkQnsvS2Wq1HF3eJdWgI3n19QuVG5OEjCqI4JEqCzXMaDtIvObqnh9tjf8psjICknSz/hYdVgnVg2kWQzADr75hwlb2ICWHXO4D1a+y4ovxHGiGeyJhj8mI6HhzI7kOXL2ZdyCcGVWW3TWjv3QmlXIqH4A4pmyOo1VSDcFw6fugmRDjxD0Yd/3fz5VFU0L8Mpd6qOAeQFZeQeqeMALJ0Mc1NEqg3DZ9d/iSOuSprqsXUJc0J0auVjPudLWzZb"/>
  <p:tag name="MEKKOXMLTAGS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pSePy2GgFn+B77jGJ53DqJHFKeX35AIOkOhCjcHQuyyau3ai5EyqccyMyaM9PFj8l15LoyitQ1Toi4ZOdTLjYjwpbUrx1XTk1lBjWfQpu8JB7lVuQxrgVLJUAqFHspYKtlva3p9bZjZd2aBXEPv8AqitncfihimWx6f+aEzuqQIETW3P4f7CEr7iahxG8TuwmFsV7lbqZs4oZjcXIPTvzrA38KXDRP30ha+xs7jaIRpan6CwAGEAL6/ZF/Hs/5/11oVfAgERh3ts0MVHRDcyRbChGRQSXI4/iSomGP4q+o+mcCi8pLlFrSsb7826Njchg+k37AmxKMm+aYXpdYuQHRqJK7S0lh6h9NBqb7xr/01XeNrCQCYdJQKALrgjYW/NdIKj9nOY4H7LJuhEil8qhD665f+ptkuYSrYDWUGhF4LaBXj1XH07FQ4R7FphOZgi6HRlAP6rJBUZBIe6usSQqV95SqbFgQFICNVF5RQmMP3dv/ibsaWPWmIeA99hkDOn44JC31kmzHlGt78ISBa1+jfdHd7VcoeQRNEYAsBlagU89BMs/cjgaF8lYBgkq7BwHmTTQMWeXa9BAPv2oJknxJjqiz/VAvMGBTwzK+aSEfN/F/M4c7Qma3pqfAl8DHs+CfjhLC7Qoj0UDuHOiEW6YRgd+f0rSLAGt5FOVXcNJohSX7b0FGERvoEKFR4jJHV05Z5KUKks3FTi1GCbaGMwXttqz6O+nejB1/J9hQD/vTlM2QgsP0Ha+3nCcH/DdBE1MLI0F9zmW7U6brMjF3oWiX3UUfcd9Exi0U9ngL2qBBsjf4+SYo5AaEpQMn5S9wj6dLvW8vXdRfKUjU9ms00KoLrkYkGUofBkmrqB2rt7ypjrh0yXaxJNpv5e4bWhaJ8uq5nfiXE9/G2h4Vud0BeG+iQk2NSAP0SopnjkVuibGxxFNHQAYVci2cASh//X8qzgmNDtU+in2WMqQY2sQFSKcxb/aDuaC6XmOpXUhIOk7d8qkHrJ8p5CP2dAbd2JuipMYj9IEdm6d+csmKlGYMVhA1wxKBvwKt9beZWs74itFgkBXWROXHPUJYnisZzsFR8mPQyt7K0Gi+/E8VKVdoqcwthQtRHX7kYG7pqda53zdbHXvJPo5cZlwyr64P9xHLnAViZW5BSOW0zl4pUfeXiyWG4cm/0JUMJFqIqz4oSnxzkAKsrQyoSh1BREZJi7tvrnbXvAjF9hXkysa6fBUIKIBE/w8AVC/9F92aHybc6DFljsAdshLdhTMF+UWmxA3vFAVfftVYRYho+hpubK0+EboXx8UVCp7RmZIpwkVtwX4d7RtE6WWDH6432NQNSji4Xd0621c0P4IolYCGJsenB3AQ/d+7AXkfbaKJ3NaAtQ7JteEhGzYnsy3nysdiEyrbYykGAIbaQcVxI+yKWAfvdNjjRSPXQLECbSsmuYeBlRSRFRO7hoLgig4w3mH9qQmLI1ruKKV7nCVY/fEaYzqm3dFJAeGG66ad2NYW+OKf5FPTF/qA7oQEC8n45OTOPzO9X++t/mZ21RUg8Gf8TbqjXj6R+FWffSPvTkVQ/Zcs7oKLp/POwbDuq/lKtCRdyKEeYc4r/glulY0v1c0tHW2fYz45ul3bHoDxVn5OSMGvpKSNjcFsja48S0DaKZCL7rtlxKZ4KbDxOw4LzXn1XSZiTfOX7ymVYVAUxSERz2ku1ySLAefblh9IvOtxLzn8cxEPhKXxi/p9c7iFfPWlafVLVPvKGLTbJWR1lMv4XUEGsc6Fc6FbXWYP13JTvKRKHsNL4A7hi8uOPWNvOPenXiuNwebgG/kfV4aOwjrqECHZw8N9tNDAdVWDALhhP2i1vUlTNWedeIGws4GyqwKDtuw9Jyh19oAd5l/KYBpqqGebILi+ysEkU9pVdht0Ct9UledUC5MyVZnkgoRSBRcZRXHtx5YVBtk/Sv2oMwDOksl9f8+ONvKGt3vOpJy/VpcjUkk3O/JG3l5Vx+XAuCdzN9yZa0XIZwcbLiFArcLRJm5AhTkeJK91as9qd73ohX3Xhgf4RgtLzWaklNPjg4i8z0d+5ZCTeCcYeGfkU9Cr8ya7Qb7r+v6f5LFWTppd8XygfJXO7PXlWzd+ByCr0l/05uLPOYuGnpRAUASqMbBznF9XWXi52czOs1rcHYYYErWM1AUsbuVQOiuhI25u+ZlITALV79S/Y1I97sD7oHZGgY7vHJRurmsZaNM9zHxt8OQgcpRYPrqpjjmsztOVGbt7OB2q/5sbDmoln6SdK68wPlMXA6XvIXSVfZDVnhcwCc0V7FxrBd/cL20IHbPziYSxbT6NZkuM+qbDiqisbrOzZjJFdqA7TZgXlqw2++uXECTVyoPEtbXD2vTQ99ZcNJOp9zZV3Engh+vLCvovy8v/8RUDZYePUUwjpFU1qD9ZTBFElJT+k99hdljDlRDrT2td4jn/jYc7EXum9EwMmTkWt6VNknwbYo69qTzN8VDIlF13/r/dU95g6OO85NF17NUX8HVo8M3Agh4gfgrg3cSUTHCmWnwmijzQONCjIm2StasauKo+lOlwg8XM9Iqd90Q9+ZN6fsJDDdsKuN06JBJcoKlvw6pOjeBRZhuXTmuds+Xf9MxBj5WAtnia7WB9b36+n0LDB0/Hs3aNzGri7vytCYEnZ/Z0xexasxfYtmmP/JwhQbtBeV4FUQ+2n7oWvAK3c/la6L8wGE5r+KH5SOGeCcLyxv9qU30C9CpaWkdhLepIOfCaURiB41Vi5Guo5MT1zdO1Yq9q1JxUE2H86D7h6LCipDE98aaVjtetDi1S9a3z4oJKfnHz2lAFFyxKAGyVAsVUqyfKjQJ3L/SJRHJoF18HrS///Kqv55KphyoE++Hcu1aOUTALcx2ripYBMum+yEmcGBX9U2IK1wBP2AWWBdctunx0VegsMzo5/BjGJ/IFpFSnmJUDu6pmCfxz9+eXDtA2GZ60HwsgUBVURipMHmIcu2uvtD4CHP1fhPiNWBkaFkOFbCWXewOiQ+s1YBVTP3WV7N9MHwMhaeoBmNRaGyWvxloGQ9qg8chR1n7U77Nst6G9fMSSr2Ai7Q4BgNK3D5SX2QtvIpSoQmKmIvHuGALcZZOWle81j3vD/+pAgsw5CpMwWzegeg1FztwCNAYavlMR1qtcjGiCJQOPLO6LpRPsTkOzh4Evu6id7IeZ3OXisdE7DT71c/2wQlJO41eUyRn3zJNLGXpIxcqFdNOkGrT8CZ+A3FObSl0hA4oPYN3OXNUULEVos4x3wF9fat/RqjzfJ5/rWKpIfC7NCbPz0o8ghDZs2UNsLmj6REHPYPF2eXhDHNDAWsHo5xXM4NmJ2PX7bh79vEhbt0D245Wc0NOr+rnVLDihqcRXPHZAFssVsHyjG7ExwBIDu3Jb1B7sHDTlviR9UOTK8GIv/dQO9DOb501BqhC+SX7KqkgjRWPh0S0gu57aAGrJZsE4xnthSLgNjY/7vnKJiIKHtmIKsvuUzvpkg6y+GRY/yaRO469AGTuO50YSmxVbwc06YJ15LGv6vQFFFgp6ZPcpUVoelmjuuKxwdc4hwbHl8XcVGdANgpvLF+60GGTmZ7b9qy/73tEG8jMorOo41fdBxEbcKApQkjDlBUovO1BG6eLZM7rg+yQcYToq2z7ke2ukFeai52veuiugkSjWiJAMIRKbkTcXzazayOjmQbq/9gegg31hVuPMiernlBAaHLUOW9VXWuQir+IFCpCdFMHf0bE92+H7A5MWS4KLQObNU46l2v+GKywxeD2AvgKB42fTMhvMaZ6+LDsoR2R92JvLjb1E/2xt4aTzh1D9F3SPXU0s4NLrlcUYHwtM8EZmaE80FbZzB1WDfTFiZdv0hYSUyA06nxwF1jIgnRgNlAM8FSOZJsGNjsXsgtdf4TtgE4u+54JR9a44fdN/iMyVM3WfoJJbDtF2fF30D9XJEj0mOHbjd+aBDFC1273fNj1ESzCZIE3V13ZJ2iA86kWslA6Q70pPkwqDPdE9UqsvfV/9b2mkkZ05rfeQtCy4+cYKHtKIqj7Yaqd3w48nfqBo54R8LQiIS7dBjjqJ4QnWf65OijMs/yOte0Ulmv5wiJUnQr5/JnGSBus+i0e7nW6TZSqJ2Mjf+bl/fxX6XREGkBcw7BPxGBX6awQbH49Ow3jAq9ovxnR/8rx91ORjpQHfJZntt3pbMIg///jIK06u7zZp/SCVNu7gbOpF0rRtqzRPCrSKvS/jlERhrVUBfnUoWxj0vz0fFpiD0ifQcmzaQdbHKbmK6kxosit1QTzeaefSr66+wN1cWjJZxlAcuqXBZXas9QP5Ffk6L+AzjcgFexqjG6G+GuJFNSazwMySsuI9oueMcLLye/nYBnw2onMO8VVEETyETrCJpkTBZ99Tz9yJAcyIErnt3YCNtDUnyy2VbyUyllPnh3VfZPUIGfHwPA8JqvmgWiaZvU61idRH2JR7N5oouINQsh+6afDV99L/H1bXD9/KuZg2KeLfjQCq3FMgXpUjRApcwaSqAuGx8XvVecCeKt09FKoOKLb4CBZfl/CAALwgJpNtodr8ZeWyYH65kbWS9yoaQbA2J2m0Q9cxr9NGJaN+1GWSL6pk7IUnnTiUJGFNndJGDCJBpEOJUZR68WTwrg293cJ1hjRYjoD7XCrHa7/g3fguPzJcLkFGyCbxpY2ofT7bzL/yNBoaFsmT3oothzYxEOthY+8QktLyMCqL3m0SbYTKI6RLxVMoLfPeXDbDp83zTrFaEelNE6TLlRt5tsdgfXzVxn0lVfDKCgVAmLb9kk6laviwY5z3J+/CP8Gd9z8mqJUuKkDth5ezotwPUhzd9IDP2IPJvyCwCdJlCOulV9NNjhaMKl2ISRE6iTL42vGegOshP8lYkaI9iGFUAnUMiCsRIVdYUmXaQHtcIDR+CbxCeJivyKmOZlQoyGP8fnSij8lgZH9F7W35DGFuC+re9F8ehy87eShtGhIb2+uydEFPsajF6NRgkausy3GgRLbr4uADAfhGVIM/kjoqZxG1vZxUoPfwyL4z94wBcFCC83o89wn6EVPoHdKdr6NrlNRWZxv9ZzgepDMgWs1p13TA7p7oPYAWYE144ptAH0PG0beM7E2O22ZKQT1RAe1umPZofg+cjmH9gXDRVK24tT5SpPqE/GTEuERtG1yGPbfgoRHDBYKWd9F2xrOdpLqcZBx7g5GnlWcTE5sxdnygvUJXeGfS3f0A6M7ZS+tAcUQFDiBAKjVz7oXxVN4KsiFzmcmJxL9dUxpYfumPcOZYqX5jbdGVp05MDFhcjMw2Ba/uYRUT+XX6iLMyrdYacU1/KvWqv901tD8oFMo604gOa3qIK1Bq10vb/H1J/Rz26A4Wfsrpnx8mZLJMcUXHVxrq3O4W2lJv5pttePyLFMKuRSLdsXLmWk79db+t/gJd/SK5z20KzJSYphdW+A8ogbM+IztiJ7JsWCbW2pAjACFy1kJnIYsnEmMD/y8gzD8LkOW5oUp1V5i2i7rCfXZzeZsldovW3julni2o3+TCU1HBOFspKFSgOriClXxPKea5//wGjk0jZF0ev89AB0yL0KkrTDVcl5912aD3c0e/ms6Ji7KSosZMZ7HImomyFf5AhhH0atiRyuvQUTBCw3kBVHb062b5rGBaUI1xrECXDkltxWJNJ55s846Yq35UODO/lB0ZVULVnEfcmqggf9oc+BQlddbp+Ftj2Ho5mqRHAo5Mt6PFDRw9Ypthin85GcTD5Qf2nwcfyiebC20p7+204j9jJH6gBmuDbiPeHyw5ocZS8jqsydv/S9twP7rR95Dzs0DJMZLGU4sT3lEGYVzXytDGi1Tdn767YxczNP8ydchdB9pxNzwRHnt+AjZ14++nCXJoOoXj0DRzGW9nFPY0iZD9AYGKBXAeD11QnoMLT+yh4VXIjWXycqLjmhLll1dWu+auM0UhyWlHkInqSogZcCBzEmRjTd9Y2wkXWjJIUvHjmMEKE9OfWRhoSm8XEg4RlG0CTUgKkmpaUXX9RkhpZp64BMkWt1dXvo0TUyWkxJwlpfgkE6lFx4dZ8UpBLsxz1WJQxN0AE/loKW5NhBulX3NJRIHgKEDNgpMTSsgZN+upaHGsrnC6YTd55ya9xTaeMnGEg22p+K639gz98oyf0X+dICWxamDXKAdq8jKqdrLpTHR+eYZ8CQslksh5L8jybJHjbaCFPH2lHJzSgbU16M5kd5hPSYu3/74ZvC6wfCFAoIFR/NlKo4ML5uRVByVRmXKlprk+9uAFJi89OFhUvV5Njz+7VrWasm6pv08ME9yLr6ebEApiGDShC5o4jRAc6D5q4FKxxjCzApPgIOn9AGqFGBaFKTTvhk/OlNhMBObvO45i7T4ElXVZ4r45e2frTpY8cUTAJYVu1vBta1e2qF9tG0r8gCt9zqi8guJ/z7mEWkZ4RbWaW+UBWrqmkl7+6/RcrBJ7WaH3S+WHnzVox/hHfZhuTmcr5LIhFDOshrQ/h16LXno64Y/3hvrwVc+BByfLtRN9OWz1kfp7lQD8SbXKnif98mvYxFxJZoJqFaZos5ZMVeyL0cODAsWH8b8scD2gH4D8zVs/GJc6wVsZEifpbtdp27xe8iMwsVasmyKFOykl9x2VDuqInyqVvQNLQdvLx3gy2IJ0R9Zd8ht1KkQ8R5o5MgTv5LAAPMFWDJvuVF+1WSBNBUioXeaVsDblksUcn/J+37/kUV3lkTCavyamtIFp9kFqiTFF7cAJ5WwnGfztNKi65SONy3c6ynFRON0cYgcIquDWxLZI2SkdOp30nvo0XGd+WlOAL4Yc5pHG7iEa1xDld3Uv1X2SvEIH2woy1J4UUbqbMbiFgD5l1dhIkt5HACI4nS1Evp18/CkDAFP0s9jfTzaUo6gO4NtmDFekaNsbOnjYzq6UapMMOWdeXjN2Hu2J8Le2grjVMwm9/qyBtyfH1bmCbVZA0aOhh6vECQV6fYvFSPmjBN5sS4q3SnZrSGlE9dizHDe2xZWpSS64k2UJrTQMS6Z6QPNNa3grCBVGywItTj3pn/rqlJ4vBsjnXZbwAv7pycPchvysaIPqo9ujJva1MkLQ3Dj+fHXLbyrHWEnI+w6Gghsg3ItyiezFPrinC0wPKi5tSrSWpjtA03wRvs3KnSXLWe9d/ZJgLbuZyWqFo8Hyjt0wAgrcbPTpvBGmZE6Hh2IowiVOx4CfVgnfm0QodftUh7Ig+pQeASF/P+6R9CtiNvjcHUAkJddTBpTUQcCQYR8d9Kdb29DgWerCshysMp/aIHRf8vMkmktDOUJPePELnDgU7te0De65/Gm9dN3hoNUrQvstxtjhT0AuXZkz5dzMzepXteetZ4fdX+yV0nlu+9V9wXC+EBvNtLCYpXsYUwP6UcpTOP0SbSGdyESfxibbuhG2YB7Q8AjmlRv8fNus8AUe+l91lJRpso9G6+gJWgYnOjpD0uvBebBtii14jukVhetV6h2tC82JFXsodUfNU0vEvmp+7d8JX/g/TH0RUW7UNDUZvS0il0zgV9I1lMKyDRu3QxjRusiMEzq2fbqcPNgv0uDWLAYtIXFOvPw+hQgcAQe9x0isoMCBZpy/tvyjL1Ot5wxt3h+znrzKo1Wvn+Cm1h7TKfxLvZo7AOrHlh6UUJRFPBxOnEZ0OSHy6wHmaT7PFYhAiHvefYJbm2i6bki2achwaVTwKX4GCKoCFmdm9nC/u942r/W9TE7U8yCxs0yOrn6HnbzGv2YrJn7MIR8BPXox0tC6nuHUDrTK2cE6C9EaolykuX+A83l5HEv2nxJ11CAI6bQhep9DzBUOpfYfOVk6zbDT434yLcV9VaGqvmkkYPaIccxRT2AASZ3hAoV+PjNnlRjEkRizP5btrOpWQ1dckK1afAlYPM22AaNX9seZwkX3RHUEEw6lYN8V3BYX1cf1UA1i2Aku6gb3ROomec6+VZJzfO+oVRsFxJy4gIjjFj3Z8dVKVUVZOfCmzfvNGcav5EHmJbvb5f6CO3/LjY70H+z98clK5Ijs6isLBZbJRHWvVqqQUpKYkr8NcKs3iW+YeJb8EHiwA8Go+tDpkrjsr2fXyBtj5QPwKsxpeLzWalPRI2m9GEp1tfhUXXjdq5JRLMvBf248rIR1jopZrqR/M1nSR1FvtLgPhRFww0LlDNvbFLQV++8o0LglawRFf8zW9jQkhB8Ik13sfYcjw62PYFmVB1JP3/N7dhAWQkZqiXaFOjqAjenT0NtYn2JaxWhbfTwZpEYlOIX3P9rlgptH96I0DrJWGnXNIMH+S3gO7TR110/vgPmpTJmJCH6DOXRI83lXGha9uopI2tTJwUDzbEkxsmD2h9b0YyxKYvbghnr9o24Jfn7vm9n2i50ZhRsj2GsdDBChXdnqmnIQOEwuv+dnPWwswtbhIfsehILS0Ui/ut/4XYY38nKwAc9A/jdydT2j4dIT4TMl7zHJ726LGQHiWU9c/WTqZSgLnunFxjnwfSnWcfxN2nqLEdWjCfQXCWRkArdPc6UnqB/uZc7QD3KLK6c9HvFb7ddgtHVBJ2rdNNrI9p4VK/6k5/dO+r3vxK2f+Ifx99Cfa68Lz7ZqnLx72n+JWrD/qculF3Aqd+7k6+HXBnrX+0Ow3FuSzKeAnMksLBP/gJKpIVwWDauOgDeE3t7AR6rh79FDWrIz2ojZxAH20jnE5IRo5NfCKvDtyoq1VjV+28UmbyoMvyx8UIgzmF6hsY1bcyNwVosOdCdAqEpiv0JbxvJ7zyltt4WoYKv4i6lfx4qE/6PltAEmRdSVepdab0kQVM/M3XoyJNQb1bzPJl5NKX4vJ7c44+Too8HnbpANFXiMUPp9Bc07qBPWQCyDA6x2y2SC1k4pomJ0K5u0blph+rUJel2oua+pRQfjbC7TSHdFRyT9N5Ael2xWtdsQ1IIgJ4HddS+9nyLmiGXL//hWG5Yz2X5vbIMNpHudqFnY540j0TV8s1jacdzqax1ybtacAkHREfa+VOKiqc0/rGJ2ARXMrArKaSbf1s0UHX+CtMjE8xUQFNtKHQ8b0FToeJTi6aXBj+jsysIKZ1gpF+59Ekzzsv5fln9AvPpLZ9taAkzQoBPJ0EjL0Ehn1RXiPzTFGpBez7fGP8Joh1CtSt3p+laMO5EI2oWn+4SiTcK0WUpLx3MJswwurq+abwQgrHOCRu1198dDd9YxVfrVKQuNuI639KYj9XikGvRq8c+whF6NnwzcKjdq+W+7trJgrJiRBDpvNREkZ+3eAuR+3SBOQeGhL613ZDNx/TA8mxdEh5H+NTYbgHFm+Jq/kSgPGBbeMFqQWf2zYZp/SbF0ZMqZxHTFxNub9NuELiG9OruP9Gouc+5jTV5Nb8Vy8BeagkwSrSTJVGkHLnriyvZob2P1oSGlulS13LuW7jfqYpmZBX/mbCy8Q4XpbYDLwyqeUdl8SZK3jU5bDU4PRcLwgrTWQQiHrmASnl2Hj+YiP2/GeqzLBC59uklQrKUaQqZ5TQ7SNyN9ISDgaz/G9alWb5rds8GjYejhwKDpFSAvDHD5W0C+2oHgLipYVIv4/I9zA98QuwOhSziS6y3NVP/2aennmoyRu1WWwipyDdICtB3GDFhJ5nnbE5/Ip+c5jPR+T7XnQ3gmHTbAso+lYPLK1M73zEEfQvU1P+PXH82hYnXzkTs2fgmoe5K6ht7EoRPTuvE/+oIVsIaMiDJWbDrXo6V3HbBLfO3d3d2zic/LKRMgYmpALuJigdNV4lbEOEleako/xryMMmTTnQmDjBwhMAHgk/vUC7fj6HcJSuUBqhXy6zwsM26sR8u1otQaidAMsFmnCrK4Wsa9ITTwq5ixAnBGjCw1qYhTFpOUhJgvG+T9iCyMQbv0GDJfO13P+/+o24QoLIBs8tlruSDdM42cla4AuWokF/HOvKMchi044S6OP9gTMX1RZJ+qDGZoTWeO+6uZmP+zYoxyEpPblnc8XO/Mjln/7kffbHgepc1P0JARfQQvw+OrH24jl9IA+/7QtdjBMHgSkWV8r0e/ajDUwh9ogci1QnMHe9/FuWkJo9xDL3eWi9ZMpd5Ou0v3KFrNDyqOkg2Qb1seYUNay6SEx0Ckv/2kRGExqVZ6+HN3tnqMSqyvs1fiQpzriPMlmSDWNFzL/riljnsJBjBpZ1E5wYjHz72ZeI6O60QjuJYQdhJjgKCsxTGDcfmRYzv8SMgtinn3wKrqdGJ5joprWFMk5dt1d4CZ669czd4UnJqST0fXrCXztUiFHwWicZQLZMw8oC7T+opCV0icNimoBH6g+2hTTvYAzK+TaHfMhdkHMWj07YDUAKEToJjckot2AleERepq8V1RW3VbcecG+U5vakIe8PITMRoKVDJFxxPwDpSl0wQebmGpWxlxXorU/XMmT7Fs5BYPhyx04qZlGA3vTFZ048LhFMTapIT7jMPZsYWZrfJ0f6dLFtoVmZrnM1Xqpu0AAYGHVZRv7OJIu5XmSGY61ie/fJ6Y7qi/BXnoc3Ct+EVeHKpChrJxDxj9na8jnT+M63C00jVR1JX8kNF7/nIkNnN3m4EmxwqFJCED238C6BcOQBNHoe9yA/bHYbbs/BPfRcFj+gxevslfU2NDR/kv8NRu29VFm5tN+we4FyLbO7WUVMd6xpxgXlc6IMvq27ibO9YPRKYgbr2CVQAvkcaLozGyrkD3VmYCHv1pjiRIlzfNLD1n/VFeBstf8UK54Vdh8+66vhpxUMnu+t3ncXO3HFZNQ9AysRc28dn51eKt8ewHcUgJ7dKLVX5k+8a23SzSCW7btaohKp5wWKLo8+a7rgkGRXWzWupcCDoccBDPI7qQLHRs4l3FsCAdbrYd/uAt44VEmT0FnL8bvnnuZZsQTuMXbXKN51SynvO47Wzy2NbGtSERn3FqO3ftHtACa0zjNMBygFxJcvNuOT8SelWX5FKLuqJ6FbCgp30SwdfYfoldoaKB24yCbFPdEEO+OPlm/kcgWTY2YJGWQBMp9CyrCknH9wEFnjAuqz3aoxqnsIapeUfD5tn15Lcn1ahyFnaTWNeI2ql0dxsYqXugfEU8e9I4VSYNU3y8+YnvLQEUL5Bzas5d5YIADgBVFlMLSyO5FGn1S+cxmLFYAnYSEhxfj36p+doxltkPb0ADSgjbxQUmO1jAdPYxbXHZIAzLbNpLjvFE3mhKi3abDm39TnMzy8KX8EhhBa3N9/dXlDRs/2nE0JI2oMYV6AUqcXaVKAbn1w6tJkcjRLNA1GvHs4bSFH8wzecf45c1FjLqN04QkJZOzKb/77ZyboULt5zTUFEarHTX5KmVf3qW4hebxZPw/CqK2noTct7fYbaZsxmgqZmAsFkTi3H6ulKbeXQRGMUUYMSWofy63bzqQ/bK8bFkUtvDM5ZeLGBYIeqKBYNgNYoNNrFrwzb9UOO6eUsqmhW6H0dIA6wDjXUkkrdt5m6p0xMnWRDNq6U5/IWQXzYS8gZBV1PVF9dfJjb2DoprLjWEnKq7bT/klLchzipIzOdfQ/1S5avOCZT6aHUv+JI9q6y8FOBFVF5SBENFDAEpL3rQwB7W937lp4jmoOCBBRHQJ6lRU3gaYdpHl9aYZsdPn8hkYofk2ez4wavbHLvOY+7L+EEkZUt7iicklkmYPhaw09pJZSGmtqHkVm4GfTy7GcVeS6UETeZ6KtRGUad6WhKw1t1fJ+Gtin8+NiqYtLOypbuY+CawCSOkUz2+aTmUP1FeFVuUZOvZ8tVm3T6oKtpLC/RqyXw8jUK/Ro0gm83rrkUNiIrgs66DIE2pndlKmDG6XiuBtGTwMpJ1WucHMB63OZsAuOCk/vlyiSwdTXlRtAH6xCyIvqc2pJ/bAwCttNz+cgUdxEo7Mv8iY7qd1ftyjb99j01/FLjPzMlbst9mYk54fv65U46jVXEX4hNNQ65YZXfEThFwmub8mGkKqOlL3viI8GzgPSDVQZcOiFRUR2Vwl4OyEMrpnibq4qb+dGkvKc9BEb6gZR5C8mOb6CO7RD43Vd8prD6XzDS54ByOawhGjnXu2YRoQHHpbACnLjur4dEDUefHQigYx49XM8VuMtWo5WYJFbe+dbciCxu8dDTKLQvVV/ZK8js7vfzUmUgXqqFURnQAG5XOACu3ars0A/Ud7bF5xCpGN2kMJm236FEEYj49QF1C2LAUYa8rh5y/YK0O2kJ6OV/JgUwZTXTm9Xy9mtwoMkoUc87mo6MA+RyGvI7lFSLr+U/UXfvd0HJ9+yvf2PFtbo+NNRKUVENVDh26nfj0ohr7e/2iUJ4tpMX/ETjtlsOpo/aKnAqSncL0h07mx/1LYWjYOUVC17l/5Psl4X+qaGWRXvCHmsGf3W5U/i8hPHIhHEG+siivNZr0m3sXih3OYAtodwz+F9tTKTNy2NA8UpUUA7W7jUlsnlAQinWWuBw1F9wEQ2F/96wBtLZAlj+ULIkpG5YUN6WYZLZBaxkx6d4LOaliez29Dfyy+Xt9CwJyRSULEdL/dmgydGTK2ezPT8B/9LYGCzyu5yNMAosSHKOmnDd+gnYFQN9YTK3w30EyCJTUpJNek39MVo/Oxg8sDDwukSnSUTBC/kwxUkTCXdahzLMa1PHxINkYo+l9ZlveR10seFM6JAfpM9L9WUoHezEWT4rYjUp7N/2z8zYhEMNzcVrbkXQ+JsHEYa40U4KHHhVnsEOezrFZNTiupheyRJozOnDv3meMPGIi0nvQf7szkn7eiIaN6LOlcEi7YvlnOsilGsMgJRncVnjYr80hDCSYmDwBclQ2gEunGFUutb0QuWdO6ZiMfdc3fB3yM7KDdta310A32EAsllh6gbz4L3cLKjCyjmopxi8RRia+rSZyHWbtcJvI02tc8AjBVRNr98LAXn1wfw+2NUApHPzicFcijxBEiMYTKgagL8Qs3/iJf8wZBZ9md6U1ht5sevT2fCiFlv3XX3nI/lV5eiC+jjXawiUwvU8Aa2+SXE58wJhGbhttJiPWMmYqsH+nTyym4heG5SSsc/iWVL5iCKIsSszB/ceQbHzF+CQCfwumhFbebFjzqQOPahNawnGyDsYVFu1DmRpz0Xxt1aMLGTCkowjDkE8CE2lAoOSUOJTuprkJ03Rcp/G2x6RX/B43/hQrCQIf9dB7/ws4iiilIBlezDOkiWCiD6Vg3wg4anUVA10TyDh8GrJCK8qJEXxW73xfgL8xBO3h3Oh8GB6sLp/uWzwowypl6TDzmuxxGuXoHuHLdmNtX9ZFL1Dc1obHnOSIqEIRe5uLUqG0C9TQdSru3By/JEID2hOx0OHYlyq5NkFsYQTpplgt4eIHZSAvfwqWY5uB3Xd3Kcj1uJOkkkfSjWRSbb3hJ2oE0AoJUg4did99Nk8lNFb5bS2dtRA3t82Aqe5mco8hqWVWZtoMtKhYciBSnBByzOI3fJ76DJUNO0lsSXRiv0TcoWE2F4AvscoDvBvo0HCqzQGaEu9BsxqybKpUHI1cCqayzYCJreHPTrdkfR7gCIjTCSdbBkWzJcDH7SNYqjfFrGcFHVmkIoLPQpbe84VdWjxieQN2LTpFIxZN0iWoaxxyprRoWyMd5dk8ppldIqn0eobzzuHP8DS7c/TcSoyBR5s01TTeDWzZkmyBzSVXueivmKjtFvAHqzkP8YRvsWRsnHIm7YpcpTIQeWn4wji5sHvqK08xi/uOuAzs4fRehlx4QPOuubxk02M+wCKibBnuFFhxZVsHUlWCiKr2X6raRcW7kGHxuNfbtoFDFYtJZ4vQAsof62612oIfacJ7VfyAbKRdFhtHwx3FEH2xfxkQeX+3kHQmLnRTn4vS/2EqJGxdzgnv6sMJic0jYUui14yCLYqtaZlGYi2yWxlghrXHP9QfIBcLcJ+7LbQEeAqA3E66knBy+LNPsG/Q8e9HgSV2F0I9UsjnIvR20ayeA3P+Omia68XM3OZ1EvVmo0vZ59skj1xcgCFoFOVWYITJmlfyPH5QB8rd6Pr47kOqHO46yYcZ4D5hBuQSr0bYZCTGMHGrjK+P7PZ6CaEcWkQWDUoC3LhmSkjh/o4jfamGqOrpVzRto7i4r0Y19ltfq6/ZfuK1fUrVhCPlQFLYd9qoSHU5xy/XRy9HVlv5q+uAke6LzKpVai2x5jnUySxpIkM1PQbN+aFhVE/sSxkG34G5OISYr53P1ZnpobE0PHGA+BJ2lU1QCt6kqrucx6Er2Th0DZUy76jpRQSWSbgPKUZbeuWp/op5UprfPnBVbSHKyY2PUGAb+h5+fK271NpBO5gbfuYPa4iTfQoFbVQJs6w//T5BGUYjnpvIfS3h+jqd3WjBC2qZ6zJKCBruQfdduk8ImdAxSnC78Vx4QRifi3TXc72qAD2u4yLHTjXejb/56S8Ac1BfhvFvrrpocwNBFGoCXG15UVns/E7JZ4oFLA7NcDmifr2Qpj66is9f3ZqH6Nn9Qfz6EUTL2dtHurRJe6Fw/aAlyqDIb7T2yxjpL9NZ+WijGZJNpZdrm4wWFb1e2HrkhVpnaza9KX96xoH4aUuFp1PA6X4LMv6JIGu1uvYRyM+tsO4X4D0OzJqVX6xgTtzuBBfEp4qz+XcpZO4b/4llccuLroRG28qAl2opPJ/SUFMO37tWlZ/9/oZ76WAQgred6HT8cOAJLgCY4E6FHGX/5ZUVQGC8gxWOFnfRIWiF0vgYi+7amxrshP+BjXwivJysUl7eGKctgLA679KnJb1vT0A50hPOmGMw1GK4dw1ySDNpQ3npIjU/wpIhlipaaCdcGe0ALTRhVJW88ABvh19bxi7LXkp3jXIjYbJhDJJ5TEaYZi8fc79TTUOktVTAXTuw7GcIsDVZDmtwjeIKIQlGAWQ9CAvDg7yDGRphy8+cz4r8/ea22q649UdfpIEyeVwHMuafAmrqW3XBWkYTOUyATX89pL0C1yeR9TD0Mwgo/DppD4CLZydNvscWXSE3Og+4/NMGeFUgamZt3KcIJbNZT4i9Sj7sBdY4QVeqY2UWeoqc4yhjgbZhjYYdSfN3YMpEnvqvOJ7Dz8dZ5C1Ly6xw2QhSeAUHk0AHomb177gwnEMxsFdyBG4rhzXx1/iyohfg/bXp7XQPSnTVBw7/0kSDupxp65Zh/CGEgEnEYlnT0Ay9Kijq3zIDbpqEU/0oFa6zKCq5oXsFr4w7g3cZnT1nwu5QtnL3TneEDJuPgtvV/yI/TnAH3QiokZOpV+e8lwTrQkxAr3J5ZaEqzJC/qAktpmXpyac0dCB97cpdIx6kSGGehAmBbGcvlkyV/sikVBXXvccwIrh+3E23fFd5NZp8bunYoA7HmYqDSBpncZ+dDz6x4tV42tnNeIly2/VYlmYCVHV6sQOOgxkBxz+z50vYKhVKx28/8YNgS+6IIdy17647/3GCxp+OPQJbcY6kLVWBaBws6yy0XikJYzn0i0viQMqQauZKH5gtCMWgkk/J5qhutYGroZibIpZKjSzQJvkF4qnoajZ5OVvzofHnPRzbl25BBcsYBXlUYk6gq4/MXmrNup3WlsG6Ro2LSHa6xzU8xOAm5l+azxZVOKfyFoITDmR3QByLdxI1NtkIQ0t0QZ079ipkjMTQYss4lfPF6OwnxQqwpi5Rm7h0lkIorWPwxqyXRKduDF5friXE6N1sYk9O+COZmILQ77quocRdGAFRq03wJXCDifoSrg9jhflVf6t89ti6jVzkKOVVdUPR97g1hjpYPcvp0ldy90gnLFIk9HkyAe3vfRtjOlQ/4UmLy19mRoFJJUo5WKa5yHiqxBOpf1OjhDrx+pTr17pZ646/0lnd5t5fNgtGC620s7mjNxu8D3cSOBcnZI6I9wyhMhljCvRUQpnSHE0QdMz7HBnLwGvCqaiuvLL8sjAAFarjyo1DStRZvYetCdYbmow/IqDEBinWhBj5vCLtsCCTlNC9uSaleshwmOjlmyekFrv1Utu4OQom2BxRCgix8g/Sy+2tA6Oyg0zYtvWRz2ANFr1v3N8xdZAc7ptGNSP7u7PPbNBvXrVuFvrhuMp3Lm7Cp0F5zYk3r3yHpUXfXXzZqV+dqy+Dzb1V113vVOJHQCPtI4Xbk6BZKVDGGqnTWb67iGFfP/XjxKygye2KlQDn7VGVblNJNTBOBTQQD7z0v+1o9b4ePc4WMLIKMsuUZH+OkK1aQtXOruEJ5LY1Kjwn6iluqW0MfibNocxTTlfkDnqKibEhubrad3PQgnzXIUFzcJiLNSSuB7iTkYHjg8e7yC/tdphT0RST09KDLlNNsG2U1nTu9rRsZ2wmRTAbHj91bOO85iSODfY/2eZLGjOy2B0hOrNRAFPPZlP1TT7Sp4vWmJkIjXEbBUB3ImsukFvYvUEY0r3Nlyj0WVdX+vuxD6fb9WuKophhlHStn8MzsOqwfaVXLilOg8JQRydtnjx0zmEpNSMDan4KNQVgVMC3bbuuXsnJ1CaeCkNucJ+rQ6H35B5a9E9cve1vvvywa4jQxX+WQQIwrG4ZKNKc/4ge7wjhx8M8wUrEJBWacYpVpphpziFq5UE2uUG8N8WccKZ1J6B6TeZgjgoYYjuAlrZaZ+Fc6sv937Si0+sNIbkewpTCeAneUmb9J6kGqIiBVPk0k6Gcx2SPMKf1i/BqxJPXOMa/Zu332iBcBaEexkbSsYVzbli+zkr8mca1sYOe9SzUKB63JrmSMUs8DVA2xAUZ9BbMRjCjThejf+YHRCZ9fYndvvhqOrZFwWYTVJoYVkmfeKf5ZEtkA5EhqMkg0OFhI2CNV1vkMv9BPeIcEXmyl9+QhYP+PwWSxXO2hrrR7G11xTxmOWzpABSM4S7XaC8dRZsiMyGuu4ELp0aqiKAJNKwJl4yhRfvnyXCj0ANqydWIUJCErIN22vo6Ro/Dnu+yMrBEkNMG2sOFaTf5UpCh3CNx5kwmVbfOSF3QrAOv7YIutUZqUxp0w1Pw8HVYWUSNYu95AF4qzx3NqcPuGHgHduOsrSqdlfbQhIw+492MCZxlTWfhLQxe5byjxP3+/VJjFR85p3HFY4OuQUV170t9bnHhSBjEh8s00F3TQ8wggXj4TYRDzAah6HQJNewc+3BPkbO4LHbzc368bwtk0qvb2I6B3U7JIO4b7iP35ioELx6wqpwjs6VLwHiWZTn4Ch+p0k9GDB/nkmdjUBHiJZccPWOJhwahB/ItmravL0YLhDcVlP7JQUsPnWoPu+5kc4kMv3wuWMg7fMLDNKL94dqSiI3dQk24LYwVkANnEhUb1GOLxQkoIfVOFWy4lsHbJznkSVRyXHXvNCMOChPKL57DilCgkuS5dJ1/2zrwGc8vESGpTcsxGhAM5TE64DFCkfX+UPCr675Z7mduI9lwrHo1ki7Bd2YawjaRoYeGbeMvPPDoP21YYKx8lxpxG7Aq6MkSkqqROo8iCr3kcjfKAtVbJ1E9+gSAb5tyvfLTVcNufJ2VWCkfjoMCZOMDfyLEjm/1KV9OocHTvurFBoEVwV1rk6RcaoO8oJT+GnvoEriooGsbCcyOau8cn/OinbTWB5Ax9nMd6k7rjdc6ibdopvlqlXE1R0UsnKGic7Z95zUFVDo4lL5PWEhcv//uTWCin0ZOGbTTceX747O5JeEBNm0DTp4xOYZgXCbJqv1JVFCUG4FsMTNvfawGHpFDYY4cNYFG3PM368MF56u6Nc/mHqkkBlp2f7IMEscOVzxA5SuyA0GIKS4QPS3G1VcNez04LkZW3SwXVAZR1I/c4plloRqmULdNEDdIsG4Ec9O3+1VyA/1J96gj/atq65LNl7u88FdytyJ1fTA/+cjKeH63+tsWTV6rekvbQJkua3JCuyYq1zGHcUeeeXlyh05i0C5DJ9MdmcWffuCy3iKKhkTorinyhFB4K9sq4CA5mYB0//+caVpD97rrVpoy0obOJblZNm+l7nmE+p3HELyIcVK7qgm3Tz+cfdTFZXWrPjMf7tli5WuNR4ZVBdjCKgdCjm5P056d9nwbqssLr1ZL5pXKJkgNPCCAhTEAyO0abuINEUB9ZWaLEBxY2uJ9es33WsCcsznyu9Z/JPov+CCyUk0TG/H9Jcrx3S/gK9unTqygsygiXs+jUI8wyTxQyyke6iqBWK+l1FUSwuF5lbAdA/AOmMADNjqakFkihVhYRvVHc6B4BC/Vv2/x+yVnSIiBW00COcHn++n2ryWYhrtehVC36p1AijguSLzRo3eumPLPRswpk0KL1Sy2V5Zkz3gsPdVCEnzH1zXqoRSGaiCSofnfiMhZ0ESVrlWCkDMEt98nRPFQ1/ZgFHnpqAD1omZoyyqfv+BtUYmwxXqN0jbtzbc9L/0Cpcio/RcXtnoiUpNhuMtg/hHiMSlh6ZOiufVZ4D0Y3/IQwrgqV3YFrDdJW4bdHuFtvmLygUz/AvnZ8P5zPDYGrGMIRdkmwxet+D1uuE4NEw1BNS/zPMuJXsqoe2epgErMfzICiwW5eAUXo3SBRWcVXf2OqOVRzID5yqUq76p7IbU6n9qDbx2XL0hmyQrVYwLYeYX6OEgxNPP56Cfpgrr2fy2s8baXnaJuI9fb5X08TvV8zWmV4Ik0DEo238pEH2Nn/Lqd2LJnoUGUuwdjwXOl3k1fxQpWsjoASgdQXmAlbNPCKeCG6mihGYusfFV0bVZvxjE2LKKLx7eTyuJltA29veEV+t2Q+LhO5Cy4Zj1vVTpIj+Re0Qonxexu07S1yrSmzU1eGaLd8PbTwqT0COSubvrwyIcW4hV/XdZJ7tKUu4hEFY2pnTwbBHmUGYqu1xUPRUVuqzpW7NPnmcMtE3Q8aBYMnlecLouKy6Soam1MV7MdoU+Tvs/0m2mTMW2nzELRue53bD7IoYVDWWeIHtuR3jq80qVgqx+5hO//JwZ1FvwV2g8k6hFG6YUFctfZJZ7ETwB1jK6kUeGUICwOvYg0OR2jQVJ7hrG9tj+MCbHc8aepXXTT411aDKvmsGdeEFFnq+bNuRYzuIhsNOQxSQMldu208TwHFluwUzNLIyetVKfNXW8QlgQqVYsfISgxxTfJ8DIxoIqk94V1ilbQSlDjuUqFV3N+RZfeZioWazZ0U6/g0aAUItWilIxgcrrkojLgWPtPNNWFPLQSMkQkCVJgAgBFPrMNuhx/mLRXu7zrdfTDrIyDKOboIAa8InvuNP+rdaTixkeJICRehvHFMTPWx18sEI+63U7gsF6GrMckL93QQnPBM5UeYek8FN8z0ZJCr6chmJvHk+1RBnedtXahrd2tMK0zWdLtQb4SLj+gRk4VgceY+BthPCwuySHD95Kc4ueRpGlpZynkHNIMz7Qs/DxttncwbVQ7tFqQ/juv3Rto4Of9vQE8cIv1E/ISxD+T3QoUxxuDmqJl+MmvqYxk/9q8wo1ZzQ5Wmek99Ijheh8BdWqNs7lJp2dZjvHKyRTDoEjlZTI2105bEeykox7nPSEhCwpHzu3aM4X28lUP2MaAb+FPtgbvxRj9fk27ssfR4wSmEJBsRPFXkiUUEzyK7oULzg8zO863BHPf54NsRPvIS5vyYNm2vPU65GWNt4g/WbLY1nSJAz/DedjDDhcE/K8Js+LeUkt7RGTmINAKAsSPhi50N3LdauYJkfILptvaRLEexpFGD34v0uhXroci5DalaEYkL6WBEOBlrepFt/fZlX5liyjnKyW/8duEz+NMy+Co9BrSCJDeNeuZcRQia4bq1PRP+ZFrJOZCmwRS76pIG/+b8PMN3gEPLa1Qn9NatsDobrbTXm4Ncg9hGNIkW2QDNhUXp1oQ+EjVtfHF4DBQ/tZWUiodPWVivMODrsIpzLgr58CSuT9DYmdEVzaIPFkNBlote5jUusvrt1rmDNSPNZAOZ1q+ILLNJnekoAoSfMoHbqPSt77Lt0Z2+xUKXv5wdcy9aTeUxL/d9KWSNrqpHi9HryG6KrtbqbW8RkDA2iPJ5i0ywztjiQthsqlfwUdLLZFdfOATz0MQN7DivacM9O6eoJze2wC5Pbk+1rYUXbdaVEVIQzb9pVxHAMwUhqUulCkj3TDNX+JaxD1IyH6nOraPGCMTQUtr+2pWcs3RpNVC/e0w2XHYDo/H2WSvDs15DW0kQu594cD8atsavFwosgVqFrkNR7B4EuODZRfBITN6bgc/WwKKFBBE30Zz2By/NOKZFHNq4TzMJ694it6Bi7YTJtXhLlfn2LQ2JnUwOjm6gfLvzP1bkka3eO44HgHJku49fVdUWqCrKTDA3ZuDMb4sRNcX0KkN5vOg4EsRoTbkV2MMEeLszCmSIzvSzW5ygcaEPynum7qAVgiAcg+z4Z1TIFHQJ70TUI5GKsyVg+vu6aFWbDZzx9jhSH1qniuZK9L8JOHyyn9SfT5ZT4fO5RFYXTAFxjlRY4EGaPRJFK0ZaGqPCLIwUwS2CVpjWRzt7Havq/mDp0RguLHSog8Z7nNJB8Zn5vlHVj8LszAGDM64u+QrzVin7s75a8a9ON5bvI+p05kimP1vVK4WicS9JZj7VQt18fTX4S08anDPODz3enXddJZPOQpO6u5FbpwoPuR+RVjR3bKxT4LMNon/7nTOACaxsuUz2M+5pBVrjNCagctNvSlGzl0I/f90cvQDrAqG34v4aHYOUzE5o1EA/tQtgHWq0L1jmwGqQ72ZepMEotFuwy6FGtipSR6Lri+BQOtKoJermGe8rQx0ptYN62s6llupFga4XkThLtyFsncRsBk5BG3dX+Qm7VUQ7+xuCnk7vpJZsLj7sO8JwoZwXYmpS21Uz9qIM6tgnG47MHkUWqY/k/PuKph5aM/rdclRKkIIUAKz8Kd9Bf0/rI4dEMS4g/pGUk+UQ0a0+31y7bpwafq0sRLkaArMLd6hmVxRpZgU8GU9qU9AHt1rt+dWRZSAE9DHRNfuPW9k1fcsjqc69GzMcQ+nJjFG0E+LXeAj8qvfirVLusJRS9rOUfb+6DAA4f2pNtBTMpwl1P98tizSKaZAbxE3jOJSWGYryIRCPOC2jW/lkUUJQqadQmSj6cy1FdNW83DXYl2CkckLpn6+bYfrFsUAtB9LSKnmoknnY6ER3TWFvcgoa9S9vjzWUGM/nZLgreOn9sBmGKAp9vMmAunUWew2WW+8ZQlPvgnwKc8CPE4k/wNM60Gpx586JWZue2uAKH0AbL0t71oL+FxxsmF7+wgi3+EwHLozda+UpPuvLJV+c+/S4zRbbypG58uZO922UZm411QWd1oILCJ3fnF5d8hNUO9q2Plr+0SR9l8psM1dyxXS2baY1wnbYZ06JS3g4woALSMotxneInkGEAVOiyWNs6m7KcJYtUcTbf3NIMWFpCUxzblNVKNjn+10UzWib6DoP9VQkjGXmtxp8pvpSG2J8xj/9ZSJhenKQj51b2WiCr+1dVTkxqKq/tteimXpi0OiXMGmzoEXrhAS3OrU5tAHM/NlyDEUfn20Cbd2ImzB46Z8FCnTEXl3IMzKXrgWNZ089Znkw3TJ3x6/KxoQXcxGQNYH0vKksruCoKzX3hMigpEc8eiYgZUlzl93Z9wtwZqz1kVIUSDU9a/NyI36a1TLcV276n0R1Q6nYsHE+TLFOBJf3WX2T5kS7LtyBOS9LgX7Uc52q9qD+28MVbIf65lJ2A0w2AKsqaEgL/KFEmXh0EJlnnPh+ds8cnNuSzqVpqdRHuzXn7j8NU6zCnzUE0L9Tl4LpwJIn7JoCje6D4vRaVQVsanEVBF0nCPmvja300MW8gxWm9AT/g4JWH/wETVTdoj3o81ePpQhR8mYsH+lLBXP2YOv98G7gqTyOWsvVyzc8u8oGO0wNJXZT+1eNddon73P5jAZa7n/MTbuBbXD5YV1zlgRoafdS3wqMeriGglmjGcEbKknLvf2Nx5BZYG1Mo0CQ9UQ9wOEEQTWIfWsNsgKxHupHU8pz9+uj5xahOxlJDivWGj9kAm7XwKKoNEeP5BKXEEN+HzMr14tsVTKOszIy9ru+rKNjRTiGGPGu54iAoiUmbQvBK+EZ8tlp3csLPIlZkLS9+kLBVgsqHXHkTh09N28Utd0SxEcc+l4dT1zOcHXbESM6JlF/IsdojgkZd9ByGTqhDIktRE1S4tRZe8wlQZ0z+29Z80eAce8Yw3X1JGcaGjb6OuCAvpA6D9H8uTRXuzz/g7GaAerKMNOYH0ONwKUz3K/N3SQUTb8EygcY9n5mxh7zxaJXMCrEgkYgiKDMVH+51fq3UnMrZjix3xc6kPhisGn4oxi/bKOhiaaeJIO1+TI6QTZoqbeqHGAImjQ3hBeguZb1ShZPG1OCHwwOIpLKdULHBcmStex3JWYp5c4Kx0F41heuDX6ssDL0f8zchul4qaABbrVzlWBeNj7b1YylVGv0EP5h4R8ziphGCsuzuG39j9fqYebAtE6wOMkWB2aZaAmuXxLhmZBQRhEcvBH9cUGDCWVu+mIEXCJmY96QG3NEEMcLVHh/y97kEi7+QcRQszSxw+nXmSLMnWRHfHoCfGDhmp8yYoMejlvD/Y5+btWDscWny3/gAEXBejyQWshdvlwkanKvzyu134lFCej9WIkU3+x97vWA+uyYWSQ7T9gWFfGTfkcm7nsDhw/aufCIOlS299OBlXLjo1Pq19b6Ib0Lwsyu6LozeM+Cm5AnljKnuZ+UewM0RGfv2B9g249WYw4MJZMUZk+I5pf0+jAERQt9go4fKgmJz7k+49hmTDqwX6a9jWMSvmIn4SQR9f5Zj2Tg39wfSUnFxi+AMyQ4JGTWXqCeNTcxgGrD2wnQp8dTv/FEqUQGXZM2+C2AVlSMmE2h3pQGNNttuM06LcNNw5tZ/elUPyGkXkXozQo333Brcq1uExKdymoaaMUrPogl+2IjMgIWqThkn2HOyb3/HulgSPkL4UTkjVbaY9eN/joX9fAA+2Zts/NVBbL0ZM01R97t28xHDaUsqcssgN1a4BYf0fzz+94Oiz2OMVRZdDiDzCWI+LkOqsa1TS/qSwzd7A7fac5TZTJ5mdW908rCa3m04XtIA1b7cgWV5GDsdtwRXEa7KUH0C8ou52YTO8GRH4wuj/VxU/jxyB/Zci4SolCRtJmZZBZAGjy2D1d03T9S98r0FLBKzG3aFNSQBebxPHRIUnunDw7Ac+y0ug+f4I/ObjDa7OwVveJb7nL5/fwwUOwDgJ6Qm1gHgRRhSppOp41ETxeN+Q6gDyHU4rZCxNGyADo4xv8DAUm59zsegmQogFQa14kQ685MPQLzd10YcbpmjfIPLhiv/OV0ep1NhkrSzXak3k/eklsw4Zdz7FVhw3qvPKqODXK6lr4Jw+DgXLUILT/OYVyVxRGMvW4TqIXyBrycN2q9CoecNLQUJd8e3VzvnMncorZMdct6Ee5DUN/ODxnyE2sfSd3+/Gw8zRqZJVpxJuXaSZCSUCJCL5Q+nVadFStSdo7xmilnu8VGcYeQRytG9YqH2vi6l03927bgmn332bRCl0H5dNhdm06kXjPGQML5nyaRZZ6Bn0jTq8CI2hvLyLpUleAAPdULkgP2z2gVB1zppctTKqi266oIf8Ip4VyCQ900AJLEBUhgMvS7EtZRJ96gi2pnlFfdZM2Ri7xwryM4ph73N8dGkVXyUO7MGtFnziKWzepxc2DhL7SZ2kY3skT4SZJnHsRXsfWkR+851FTR/P0wnMZkQiqG5r2xFOCWjUQDuaLg1z/Df/ohbBYmGm/moxObuSSQlqUiGGTilYBwj2odaOXXxihBcE3g8VshO0jv9F8h1d4nPgHBRa1keKyR4lXuU16/quLYc1w/83lBI5uKXvCBFWAnaVXBEB8DfgHTlU3RRGGMVDGkj19DG0eru6gQ2htJH2knrmaRfOljryyUbQluRu50NZxIhaMh+YKBIus2D887PQ+Wg/rFiHf0sFmSdrg4xTag2RPW+YYo/CSH7nBL5T/I7vOhGtpNE3gUBdmaFr/oDtWdu49SEFNRNgLD1CtCBRgEQd/q2twsYNonKjvfa+msGOQ3E9paESiZrds1GGJ3NNaaeDw0JiSNyP0NwyZfSBmmNAA1YLMeATTnr31QT8HTw8HP94EVg9oDtAct+cuZtQLFlJoGX8dsco5jVSdYP1DKRmQ7JJkmeW6AEVohPN12Dly4DCw/9FgHY50RcnHTOhTHDd1VsANfEqfRfNRJkKj6w2bL9fJgf7XOtwFaLy/hzLIXmwkDvk9sJKpXi29fX4mFp9SrSt3zdcO1X+6+QS2/IqNqKIwfkfUXn6dW7I5xANtgjy23rpGkVBMp7lsM7PYF9FwN63g1HXeEz1QWuMHGrz8q31843XVEuPA2PeN5gOBBPo9M7E6j1PhdimeF+8lNe5T6m64thkzWYUNLaT7cTqyh62f5QdNY/y4YUg+JDmTX7nYOG9HlgpMAwHkPPpE+9szeGTEIVz+JA2zYEoCOwRyrQwB/cmX46LdTuC2KTJYp269CMa517AnxJfOukgfwC6MQ3QF/gVdPxsbsmFgarMBXinO0hST8y2x0DonsHbcNCAt4EAX3YdW1AdDvT/IeP+sOO6YifEsFlkldhWBCm+3XSUN/aMpbzgdPeA8TN1kL0OyX6WMl8VRAHA4MHCPOqNdLq+ZmLEURa24NF5PhAFx9lgwpmho4zZv7xG+EaidAirpviqUnU+WXNJCE+NlVnl5MGxNtIQAQHBrvSDMfcwLLhbm2QrWx0dApFUxDPerxgpsyFH7jeyCWjHFIHtXsrNgg7DZy05m9vuFQZicPDy61ZaAkT1sOIGZtmHUh0JeMMbv9JY/SP+NNKfRh65rcoaVlx+QkjfRtxtZIv+aDX+3rpRlwfuV7VzSTuY8xT30V37mqMAydWCArvz4BoedaX8HFuYcJR/V2xyk6WtnsFVcSk9ySEEnrr801dBaGcsXXkLcBPU5zeCvDhR8kLByJ/9MX6a93v/Rl9O+81VFiZN3NGqbGINvTpdJ5+iZoeKbsZ5fRWtu1jkE+YDOCRYSKCraYmIbsrRj9EZy5WIJFcqt497XM7FgpZhn1lhL/5SKikBQ9I14HCNomBZ/RkDOeuOFZOJD4I5xuQeopXEwTItcQKMw67MA7MJOMAeN+VlN3+lwgTMICn1lB0dTLvTLOng6jYgh2KDY8hmZiucpJHD/r/T84y+kmol3Am+dBiazrIlCr60zK0zYGL8yNlNi4Cso+Pq6Spo8PmvHsKvKr5YNSHIA45JkBt5sAAJ/SnSjY+8zDwyW709EsTMnTCVFs/A5SUnQqzPcNfDLgFtwlH7F4A+jKpdzG7hAtkYMmyCx/VwbXFmi8kvUzQ13qyqxJ8QACsY0KYZYcO8/bukRWOAR0r8u2L+ESFWkgD6VpoKfA+xO8MsOzj+zBaw2SBSa0ivT1YqcwDT+YAzIzDwG/4Rq2wSfP9QkC1nZfFk32VS7I2rj5YoDJ/cdBqa6NvJSinqKFOuvJ5/czLMvVv6iyGF1BFd1O9T9Dt3YgxK7LylkGQQDAFRE7lnOfpSB4cpcl+CQxz/qivs/MWnO3bpOOY17r+uuURLx5IuIyDn77UBX+QTdncIJVZ0Ld7E1aiT9ap8nD1uBrzfwLs/smkqdhuQXZ0YPgAn7FD1L1WWHYs36VA/HwC5sfq3DSnzGW2UHmFMjRmp7RAxVobHzCC82DEucoW8b6NRZ4044KlsN17cWsAQFLqyYcFjsdGOPH5UF2NTt5/HW0Tr+LCBEpKW61kzbAN+xmxVohMUUyC6kXzeFBLYczlmoAfZBF72rvWwk+vlUNJTRx3eg6htlGMTYSHkmkpBZ40SfuFI/6Fg2TJba+ng9vc1kEcx02cfRqeHSE6NtI4dTqHzTWarY2UZZz1+A1KAxv5PVzlUxDcYL3fZdWOkE5mVUKl3UUMHmhsPSvjrSlDWBKV2PAYxAE5rD1hI9Rmg5VwWMVcGPguKClc3jDKkyBlmLF5bGQw34PeZgG5muKhT+u3LldIEqvTmOgIEjLFSt84HUzTi/jk9v1a3/rehtvbboOvb/u4ViMA4f99g5jxWcufsfK7fA8hq6k/IpfaSAho2Ed2liMZnPyR4ZWUKLqNPl4Ddl5Copjso1RRh1SY0GpeZH7OFab001iQH0VJhRISG/TiUYg2CFfI+BoHtDddoiCklbwq/y38Vo2EZtQ2rfKTctRwqWZs06fraPwRsjzPYlaKT4BsvcozpZOhJL6vVU5nYZTVTh+/mwR/HJWApQQAkxF0ksR+C3xCaS8REskhCuyY3vH1Zk0feZbz+W8WYpF0wrINQJuO0l7OgU9e+PBowACWp9iarf5ANIMI0OO+tA9xZjF7dtrDiQjp0RNZbQOGNnXBNKK00i7gDB0GYaldRs6J/4d/tesXcIRnScYXLAnH18KhpZaiwGkhof1dK15dOlkemDhWPzq8hDJ68lD7CqVq66LnsCwi26kPuxT5ZKV7Ag1c/23KkX4M6jZ+yfWl1ZfHlw+hoWRZ3jh9x2SfP/dTfkTwltEgB8jCZbz4MnC4JdNgG8KjHJn+QAsnl/MeLMgNWwoRRnqgfB7eHQScLgm60/416sxK9CxWjcmRfTyfMzfrLjDIHh0iuRlAPp5uVLEHRL0BdcCZDstU2DLGHYNfUZ8APJ0cXH4jX9M16sFN2+xKPgJ94nceEtVfnA+1htn7CltW2kUuXsYpag+qFfUdLUJayLyUA35w5iaHZozjTQBd/DpmJJOLMQTxIhncFqIKyzcqwferfqQXtN8ZBczdTvBFFBSUXAw/7hNgW4ANr+wSoG1snSdjZzqLqP9PsPepdOUJd8cU6m5y61XEc9jYolltOkW9MgxkxDqesbTFhtMofQjuJ5tAerAukYJBx1V3bOKfwKbN33qkGdlvevFBuKEAiecoTfQt1/JdPWdONHRxcwAiGFUnCPQtUBlZd6G7REgBNVse/ksVub7HWcQSI7PbKP31bl5O/F08FMVCh99+IkSWQuAZq1gM/6y22ledt5++VtGVHBBwH/6Zb4cmtnPtp9of5s1HFUPcvMAAyITSZOMgj0QSWKiVAKrli+aq/VGKZZZK+0RszsENaY4ufiwU6mgsztUn/goJGJbqJpHgCC2u7nqMk2dtulaP9hF2ENc8Yr3jytJmWy/HwhzYqaDCb6gqU4xReYj+ESm8ZwJT5UyXJlUnQC2Qe0PiOGAEItyaRMJvJ+8oKW+PDN1olWhYlISettCg4dRNg47JWbs3HP88TqJvR+3gGwqxbeGJfYNg3Bk0mQLTmo0HD4BsIwV1FborJOUF9S26VXWlxvO4T6CKver8DNGEEbwHX8WwYfcNITDufCecNz84PfYPdvvFjm5f61KKhvcIbZdDkkxZd2QEAotYzeP9wejm5E4wQlUPEtHkuW1iWsKzoNBqCcdBWE+MVqgw+uUiR2ShkGGLz75AUwW9id/S7qbe+RjT34SEleD9z/ps3R3qCxn4u244FoMckhg692E0tlDwcjf3DEedYkDEwonj5ULbXyFz6ysdmfobExLkd2VP5A7V9C3LrIm29r5GtJQ+576fhzgBnMSqF9ax3JcWOfacUF+lhwExqaRKBATjx07IgF6BdmQyGoDTGnrJVW+PfT/OCIe/8C78kJMunJOxe4/Y76mjd2wt96eGQw+R434hu6cHRH4vtYC5ZP7kPe2xJWqRqru/RS2OqKnOIzCWAZNSbVFo6vwTKEw0MTiPHW3llGen4KsYXauAJ8ZqCk5FDLTolgXY7kQ5GwemK/9ohaAckTrUaALZ9xiLOqXkHrhbl3GzedZLwO0eFVgByW5zhhRd3LgL/gWwaG8qLpggEvvNPuQ8yZJlrVOYS7cYLP7IX+x2PMMbztJOKmD+KD+zQAKLsPAYDdq0BmJYhOGIyHiaaSZc4hH2xIssDYF+ZwxOBUi9AGoqf+fxD11U+DrKeR8pFEI7x5/N6A5DdpSawsj7HTh2zaqOKpGudq0WFHvWk0dMWmRKhnhv7Ipa6KnZOwt4GEiX0JwraPgIXo/ZukgEtQaKi2AJSxun2hYCgtCkYUg/7pJtcVdkbzyeQgPUd8YnhVHeFYuRnnIIkQEmMkG+bwPSxiK/CqxR1BXDowLWHoguzIRnfYRb5fscQ3OY1BlJoz3Tci2+hRzTCj+T4v52tnLCIBt7pYIue7pKU604mrnR81uaqhYvtp7X1UtwdF5zCGHbjS1tWoTuMBkgGcS8Sy7VwHA6kQNiWk+iYG5Y2c0UENMwxIONnuX75b+z/VnTN/y37sVe/GXaU72Pb3yjvzNTFCaegKVEWNdK5rL1gNn7hEi3SUZ7Jo2S+V2zRXpEsCDgEtXGETAgaen8u9Zh2PfLTNjnsMBg3yzfJl4PWB13MWB+KWNeH7hfms/n8U7p+LPfiK+grcpydC5un4bOcwoldFo/phR2fqpfDCDGFb+M7P2DFHHbcTwctpr8URQykg6zb/ArmB52mNAaN/RO/SpC9c8zmpYH1gZSLS1Di3rvwxC2Sz065fCUj1whZy3d0zEbY4Dz0Cx56nEuQFzqpaxZ/7OR8eGpD5krP9tAxxv4slRUx0zvLE8+LFkZq3ovf2NS73ytrDViY4BdPVgDRzDOFVzFbRorlu41Cw/742BxKd4uscYVxpF2klor4K/alM7HTzeB35/jp0v12Zf7XR4auoMLI8gjzQOBzbGFfJmCn8P9qXmQAd20m03yO/jZYqmPT7GtgDkRsip57ayHGEFyvaEmZip/yOVi8TcB5106pzWXNUXwmGYWgGX6PDsuBUvnn+bmT6rULE4E7v29t6eOKtUjv64b/xdKfk1axAbhOlOQouj/a7yG6UlKoIEjCwGJRcGPajcfxRFHQzw+ikWgHApH0DCp8+Nyl/R1EmPTconLWRKlYCZ6SuD0GU26Or68wXtIztUHnG3KmuGOndKpt3HWF8rxYJ81ndmSoRhGQiRj8VSnzxrGQKBR2SgwLM5eiXQeKZhCWE14pjIVCsGa8+bLobAB+mziKlleFEm7MwQ6r8scDOuCSPQJzB9eSfm9xsbqHDkhzhS7Jv4s7yEMpP2Qdbj0cN98BiRMPDKGpLypDKaccVucdnEtDcOSAKu/etTLSHxRg8uwajwlIyjqQoiYxnVFXerqeEMsiKsyWmwPgMpSu9ts63w6w/xwNCs/YnaDuOTNFkpJnF8mRuAB+twtRG66+Sc3nUS23OjtZG3IMnAaFE2QxGFfWLhp/C4BmB5RhVxnVMUDngOzY9vTQdnG9NeEdOeLrHmnpOhv/JM2FDdDCxlpHGNtO7tx6O9Jv/2/ijUANbTSaAwNOCIP/vhK23/G8MbWAaci6LpmmEYkabfBX1IMN9qwmWcOYOXsxbLT6qVTPHETy6kUZiKUBESkW6BnZ+DRpJkFkQuaCgMAChoQc/jP0kwoeylf32cG8qfxpm9vFS86caQZiO6Rz9xvu+lr6YGR/wtdth8mF2kzaAVjKUTrPVfin/tW0w42O8Nz/6qYDuoGAxIwbofeP+8Z1uAnwjDyVsTOOeJh9xaMH/s/i8xytuVusmWG9DjSslkkdsR+Pp3iJTqvdnu2WHetX6azDlLaGNTK5bDRNfHY+eHr6P7RkLIqSq9osLZFdHWPN9afklpCGeWXWDyMX2HSfX6zmJ5P13yIi6ZQ4++k+j5DzoFNAtbv5pKskqrYbHrEIv6aGnSOZItS3Av9V5DETPKT/sOSLjztT0QneyCTvvgMdnhBXe9xKpAJqsjYeXUcmqBac41UMbn1DC9ICg3hypOGnjJye7kfOY/ql3u5w0ilTTlCtoKS4X9oI03n7jV/4yKtbmHmRBDIWOJ9zIJjfciQbWbF5I5jYseK2ldZvD8onusX5ImW58my2hPhgI4xIEyKJ2V0L5J/KQWpYG5oGhSp83K+WBVUtCEDmCVY7VcNRL+VIA6FmjDc1RoUSiU49hO9TCk7BzUFKR/THLR4w3cnLxYBjYeZK0t8AKgL4ezwpkSuSTiKtjXalJTKg8urC7bd0iIi6QwBnsG7vx0D1303QiUB1DEyJZntfQhA/eAbs84dtIgsWqA48WEhv9/1tu1dxiHtmKKrGKiaHBaGYU3uJlauhDf1wZZv8Y0nvgtFaCsJabrFrxYHeL6MqwyKVKcbytjt5OgYZEa4OcgFVIj35GLm6GywbyHBsaGWntam9hKFtc1Q+EEpKxAGWXseKMoseg03oykvZH6XGdmaD7iZj0YLFC4+W9nEgvZkkf0ZhKVpxsxSy/93vhqw/cv1XD/0Od/wKX29+tZKBWiMsEUKYnBM7p3wemN8lPBZxYT5NQ7HNg4MkFs76j1ZXRiW2aTBhABjBrctcHUf2NdZ0j64B0YQQWOWaDjVGFwb0Dulv4k3KuaoVvt/pe6tL2roFoxB1ks15BTN//aXBn6jbE6kUJVevDhi8unUlfbo9XkuYvzNSJIqmMBmaPldiQQuAvAMo9MjRF4YMHCtbLQNHvTQFZPcGkQyFPK+sb5oZjMIPpO108oaet8xnBNWdbLBeCisThIQKx9yVH3G+gZXFP9m57Zj+qQ/e6HHwqEZ7bMt+Pmy8bTFSsx8qpW/kNjA8F7bfvJ07pPD/lrnKjyJzj0FZEV/UObDRl9YAL0YmcJFh3IZ2uc0mhKyLA2hb86NlJhXswnwzAuQ0XKQ1GAEW7UOF4vuN6COeUp0OUk+GTfz96sxfvKEX7UqISPIoaY3IdixdYP/yjbNIJflP+uIHNztrul/5ZYmTDAp6n7x1Db2WZ2OTX7yeG07ZyTW+hiYAVoZsdZ2RNikbDNqYAGusj6e1bB3cRsAOV+AwQBAGiBiUjpYBwDCrWDn8InFv0zz41eWT/RYlaYDCGQF6KLYXpcHhuem7DBLxfxnipLheZLX0IgLO4il/opQQnqTHlEiB/9PnbMFlHTI6LPRurueyGppu9nBcuxYJiBjgBVxLLth7pH8RniDJcurzHUVazYZNPSbsXqb+kZ0ZgFWjbh96mLH2KalOFcYyQo7pKGrqdoyF6mGyKQ3bbtMU4+TAQPDvnIZeu7S8LvTSwUrmX0ZOZbj9AI63JIPmrJbMi0YJNozkrYmhTWaoxnaKKakYUQ5BlNSVa01+vc4GtaI9K7Y4rFE52z7OwdBCJREF4oCWMEFl1ipebOfJNUx013/i2TUY95Dwr2b2gt9PAb4ms0NcdJo2AWg+yIDIZwVltqHw1RiWIODv0ZUDUclI5bpScEuy6lyFTCCOz2nrvNoEiCWu1i8B6eYgtkchthM+H4wXBGo91GiZADQvcmIBAQnr6b3frhJnLOiF6zHZ5Xk3gdKJuiszwiOZGnkeJ3818VVkbi1/AFL9fj2PJtKr8s40JHPR/GQfQmZBxpJCNnOOh58np1pZieyYCAVWEMOtX3w1zlmj2vMLmmHnC1Xshil52bLDNbMuef/VYn0Gq9bafJU0XohTTxu4jWy1vnkmLoHNyu7B+vkOvvyrvRMeMbupxb5hZlFozUKQLMt3LrV1JjOKktg95zo31fMJEDW9mkO1sls7KrgCkNhHHzELvFFqs6t/9t/aJLbN8oZMDTH1wry+A16XiLZjuJ1rvae5EgufySPIucyInYbvJ/K1KzuF3VwFwSb5rkfSDD4VKtRHaCxGx9wm4J+v4eqeymZU5o6PQHy210skrxiP/cde4YakCZGMMmLpSTFMnOyXFXBSpCtukIaH6ypKFTXQWdzO/cGFnGMqBxmzkOXPE3D29/UHhlSq1tLqQjjtZwXSU7gd8NEgP+pWssQty90GiUXVvLiHPRl9eqBLaoSMGLTrRfNDlfoyuH7ZW46P+xEZEll0VyaNbescCz9ynOwv5lhVJqFW8WQ7HGlXuyXi2M02P6A5lykVPLQcZtmtRjZiw633ZfvzAujG+woRchZQPxENz2Hn7xf6kpecuqLFE1gyvcJ57X8KsMmgCvQ62LwAo5vJhDlE4YT9VP4zcCrzBLY7dfNOv5sIF1heRbHYikVErQXCsHwWxY2y/0oiwr3YR/ekLrRUjnU4uM86iuf2hwaWjFV3qFkPYvy2Z7Y1/fwGo0tjhvwac7XyzFSjL/hc5TNm7w/h7hp/pirwdXGef76WnkIhHguohnK6V0pa7RX4sPfa59WTQzX2ZsRud8zQ9ChHkcYDXYvfjbd3AUJZwUcmoSYZusfqc+s/fFqmpL2Mb4JljV7w96Nq7rpZ6eFNyYuRGeyBGASMnL8KB6f6KRPNMZ8/3xB9gN2RjKXgoexlGcTHP9gsAi20VWMzeTyvDNbmnJEXd1wLigRkJFsD8SemfztfP7nj5jf8LjfoellHAiD+LAYrOKDmC7W67WZvRYHxdll0PeSRpyJO9ebd6hEe0bjjHkcHX+ud66dXu1suIUYpHThgbniVAmipc7UGm1iYQ4PkaFmmzs1fPCHdePs59MI/IdWyQs1iWocDVKIvIr+Ipx7jxVY6VWYFapgKYVQ5Rwz34Ti/ZAG2o1VaGwXzBhx40r9fGx3RlkOGgTyqpFX+HnnxlklrfaFJIjFjnjRGx1uL3DOoyyb3VuAOBjhueH2OgwuPgC3+FaO8DeLAp75GOem5HISOGXCOl6YQR6qeH5yZQF1B8qOV9svlV8rYAdGcA2zWcblZ7xdbDncuR/zmjb0fx54xSR1pJLHSlJNFtBjmMoeBX6rte014QwL3DKkIXtTF2aGV2l+vm8M8z9n3AToK/4DfOhh9jdEkA9NTGkGj/NPwLWTy2u92PON+Ca5FpKIUwc6OWXy4hhf+jBSXOG2kyVAbt3cTIwGfq58LQBaAv3T9ZXEAJ/mLbShTCznEE0m4GNCQtX5FaTV2pyqtRFNIE/O4fghpmFECXv8Tpgp0RYkIfQukvUEOiRhcta/HkxbbMcFXkgzgSX5JUUm/fNrPUEuluUPHRf6VGy64kk7rv62kCHAopLJbJvR5e5CBAGDo4exsLGnvP85qx48ZEbcR8COxNXrImjxkox0fjCcx4ZXkzusaQGj6H5xOQ6YZO5cLakrl+oRqBuckgLBxuh/zUwN+ltSqNMv2aXIBlYaBAn9Il6Z/WU2TyOaTCs4ZHMMcKwcxlAMLG8Y4lI12nUFTns1VyYZLm28G6Ou+3c2kD4ZzEb1yY+z9D9QtHlaU84dPo6WUiI/J1A7I4yF5DEXSLhOUZ3EOkfyTVTjg/qPpSHmod0kbHEUDmcZl0V/FqUEUfEI7abE4AQaBO4bG1CStrHgC7Cn9p2HIx4/nzqFDlsCzP0jy+yrOb5xH+3PrEvldZSHt/ObPJw+viI2QOP1CISsQWav2BMzYYSCC1+yclUk1BihqTtZfLXdaIrk93Y85nlGYYh04Oe7RInTWFttspqyxnu343pBv2f/9iFsxheaEF6eGjNYlzYDeEp1LwFefpFkoczjClzliF1MY1+sXOh6HkDjulVdgJnD74YO2iJl3+nQTWDOb3Mpu94Aa31lgxiQ3SsApdEY0xsnq7s6lVi1/zM0DAH9DbRQgSZTrme2Iv9t5kKucsrkJc3zWMdoXiEqd4w68M8HiD4QcI6knODukjQ/+mvimldodLaF0PUGS/E/ji4qDYgMVKaej3oqpyE/eWM8v+ASFaWLRjSOzZkdnOsh/CbesH5IbAge3edDg6z9x8B474Vob/61yymtCC9nt21LU4FY363PGBMxP0xaqPd8SDOH/vCAugZRNFeKTbwgn1w1ozK6/n6lnDRHs0sn/Z0ltTJxkHHONF4BQGv4Ea/pURcyLgqp1BtpaaA7nwrLFtDhKAU7xPv2OsTTTHgOQXrT0c6PQ6ztLJKlWWvv4l3gDVqA/3IqttS642Ng5J7/QRMTyFQAAiCrY+lDJT7CM6wE8llMvmKvX2hXW4HT0IPbo0+97/T9b67H8ya/ROaGpfQovkAR86Xl760mujxLPbix0/d1he8wLJl2xwWTSPvvkm6iGUCBTR9TWlE6kAm4cgP6OgzDDa4dZ6fuW4nbwkquWynlDFTuGYZV7WsGHqTaPub521zcGGrBJIbCxxzkWjxgwx0cETymFmvkY6y/JX1/OPrpPvlgYqGcBSQxj/7RouYJ9JlZ05xhR6+UKJKK2NNk0gk9q1V99INXLEOsSIBSGCenyKAshkXJqzJ1bXjdVIwR2qoNwL4KaiO6RZhSzFcm5gt4Avyqlo7XI5mcGk+ox33yMmAxngwu6PzsZPSVgaC1XgMWzByMtDy9o71zIp3QQF+UY4J2BQ+GYptdrM+iwEpBy71sq5LPw9f5Do913TR8GSGLS5jvF7K3u8QRqgLg7C7mfCAaGBIk3rgQ8XqCly0x6AJPKWM+O8KIZWVZTGhDqZk80Q/swFTjzze+Nd6RDcf/tFg3QLPCNeCx9aPvOprcVd/pk1FyHAp7RszgvylYYAXECvdnJkn8DEXRjFAUWMEru8LJmcYSJmngvc4tBWo+zoAS7lKPJqWsMjkIYc3p5c9YkUns36pcUFL+zh2AnipFcawgxbZGzAAEUNupkXmWiTgRf47DP+WmvC8Q8JbOhYiM6yxLkvmhZpqMUXQi338iOeA1jVcAm6uS++wvf9A0grEJ2Dk+wFiEPVJ8uzzWGEb+9kzOZnL+9xThoRSxw6wPLA6DXgVUhgo2KHr3XYpbisn62IihBi4fyvLxRcuD16RZOagy+vqy+bdcwjN1e2c1UA5M5t0QNzozusWVQ4h+MuTdvja5eceQ2ekOJsp4I/yZp1xQQ43hfByiDcIl0lG2Y1dEkKoML+bZbuRgg6s5LqQ4SbXH8llSRNEC31WrVQh50UN/hI19m2Kbe6XLcpeYheFgVWNG83ahOcYJPp6wJ/hA3DKWzprdIId2V1101O+X5vLgVhxCBtFOy/bSkHKU3waLx7AANNFFU0tGUqmQrVEFhk+/zZgLQEW7RPo4nWpDDBhTpR6mWpbGFap2dEo0y/bDDiGgoHCCei0seOBigwUJuI+Ma4Erb+CmSBYh166Rv+xkgvqMnfDVEAQZM/4MnSPvTb4XQ03HhOLtrQWK7dBsPL4zVqkqIY+HIwuyFdHEtbvhbM0I6sJjoSFEvjyEdiKTZiHgeaC1l94/IuHtzxpWFywHaLZzhBppwEtr1JBPM7fUjcC7PCVS87t2Y+MUn1ATpK4qy0dTzaHad60acw6vU2d9Gmeq4ixdQeYdOTxUxrbNAFOtPrIktG6TGW6C0DDqcJrHDwNEZy6nnS21/xpXT6oAXPSwlIqG/RcK0Dr9M39vBNtiWbIlwKXi7bSUm9SyXJ6LGYSxpCdO0nHuuXoTuLjunx8qEqv2YFWcJazTLkFRkhlUw2clw/bpTpKNAMMMncmuYrxjIUH8XbBAfCGI0W3lGKOIUM0eOg2j567tStKDeGXGOzO+AV2pHFdlvADGDAEKBO8rav4m27c2Oqp69Xefc3o0mQSTThZyNw15O3mx1kOB69m8TmHWmBZeWNRoUKCfPvL4zxJRo38yB5NG9Ni0BcRZoo+e1iKhnIafjE85PTNU8ko8USFuKX76xqlGjCgvON7ZGYeQzmbrTAdEOetpQobjGjlKPAKj13zqFtIkGsmjSD77MvXThtTVtJUSt7mHWHONjU+CdH88zMidSNP+ZdP6IHtDN42b/8rEnET+yzaL81ncmqJ46wfiG9c8uPJyR3G8Jk2GqIlvbQ8xi5Xxrihh/RmPKjawhul5pm2RGqh6H6sPl5zbaQBGhUkzYsKcO+VwQPcPbYgrPe/o8pwuAx+Znas6fIgk8Z6ef00zpsuM9OadRUSgJi6qpYZD4jO1kAjfjiRnbxUV2weLKgfceG1n4tuqg6ac6zTwv7I5UsSTjrAXdX1rEjm/Tg4cfIyadIyl6hHQx6WdT9ylTBhkUrHtNmPpooXhwojPAOEtseY1PDx0bMF302HKJV/Hf73zLeh0mL44N1t7G2QEqgiwcCCvRuA/MW3aQJ+81trb04FHwbKlHC25/cnpqOT2cieCJJVQudz+badTgIgcBfjyURpJmN0fGpjLa9eDuYI25+vlFpr0HdM3jbV9dTz6Q6HrcapDCa+3MfsqHQ4vOkM/S5L4b1R6m8oiL7ssCUS52WJs74GNtNr9tFCeOnhoZ0z2RwiaxkoBQwShKHB9lzYafwlsEOHmlBg6Tp1TQA+E6YAvcXtwKSsJnVMSD0UTg0mDkwpjd2Xc7GYMp9QMR4f82vAFPiQoXaS6tPTTEkN8Yp0pmMcHbjHhh9V8q5YM/dLdFa7o8qMqGF9611rYkdqd/vG2MMCFlMo0UJ4XHRK6D/VO8HmB7uYokOzOHCqyMrGqzkkxi3Z5x54xJwaVup+iYY+SFKHpjp0CzVhvFK9HYRUGtBIi8Jf+KPZ/y9YMREg4rWgWSANIwba557uVCG8yPVGe+yXv69NRhgB1bUU+M+GmX4+b+ctSA+sIXzgqEgtANuL+MPRgffp067tw84V0WcLFG0qN6tQrbv8ZPPR+PVsC+LLT/qDCi8V0s6e56hkBODtqw3zqpR/R1JpFK6kgS46qBL7xd8jIz+ISAvVXwia/YuHNnf3wQ0ZouUyXnS6peG9qz/OlIxqHl61//SS+MsfvcH5pQoxA+Q/MHr3qAGa0LzQZpoRlr12YBJXBrKZy+IKNDShHLW0mfx7masKEg7OzKoW8iByRDj2cxhx6Tb4GiwRystVt5SOCU/QxrSqr0o1U1TnU200k4jlzKLbQXFiW55bnInTn5s1kgVJwjNWTQBhEexvk3xOQGROJyBGr9PFxwhSzLb1AiNxWBaUcI2TPAffq3cSUc8QQaoFGu0WANS8MTLFMwjE4ipp5p1qqIkCUC/yk28GaDhUiVw9wTHU9AwTkVmN85VdZcIPTx7HzSw6Kgw3VoLLhSaGl91T6dkJ+5+HMa4R7wfiuXnpwTCV3T0BnJTF4nxvWwoCp8Uu/UHBD57nIAX9oiud3ASSopowbKV8IRRBjpBcxBxX5Ju8Cb/oHC9Y8/5DooDb1LaAVn0gAvzXAfR/zlN4D5IYkpvE52AqiwxQ4VZLFFPCTjsns90pqEq54Cy8Xw6ikcb93nkyzrvHTxso0N4qXVhGJN2zGj1IVoKKkqsdbTCkZ06l8hHUxUTYEvDSnAxw1nndHIkQTNIlmsJiqu1IpKbd0u1raYCybp8sR32i8N+BI3wTGL0iqIm3RYf2nDIXWvlmbL6szJS8yksX2yhajhdJ/AM211uMmNrXvikBD7XrOsL72URZPbfA9o+gbECkCyqx7KjH4I6MrTLqYl2+3xEPCww6jqGlS6aWJ+qVFm2kgpBmvUZ8r8nZHlfYxMYLMF9Ni8tcrjk+Cf08xOrvMjZpH57WMBbF49IYIwFg0w+HYG8+eL2McTuyU84ugKkQzN11V/br6CwSZe9ZD45XTv3hc1Un+Ziz91fok1ZONFMV4W8wfh36IeNOjdmWD7wxrB5+ssTdpjmSWDIn5lNS14qWMqGnXc3yQccb3ZU7FLjIhyR2H/WR5ZANZABfKinRpGG8ItL0hRk3hrWCx+qjHF+Dl8hnEL0MtG0+slNwoWPmerdyJBRb/+nrQEIKAdqzNt5Q8C0YKN9cqd8y3LmleXrW4jOb6YWn5WXlUAAPk+3DpgBKsvlR868UfPMyJNdgXNC2Ch8IW6aExD52R6vCYkEbWuuQDI1tZOT74ZDBOt/H9C/oXbFnDbYzPRljgiQPgoKzsu0gIevjPp6Gz5Q9dABidKmkPRpUXUYq7wRpoXwifLRIgHcWwDFSPV99e6TDVSfV+E334AYq3baC8jOvi0cbB5pptpvEbb8Evuam2HojZzVrmygYPjyZZt5XVDNBo1/5zcx3gfQ7F6qwGZ/3eEZKRIzndTKGUvJ2oEW4d43tvKpuIGBjIl8A96s+YZZagLXwEMjC0C9FqwfcdxzmHutAONpTTMewkdedvjcTJ18ZZdMUJcB3WFfLrQc17US07v4RmWZaTojTpU3rbfAnBbp+SMBo/BRnXBaamr+Cz0Yf6cNbAWc7nrzpEr+9ZzzrR818x/kTF0hR7geHDDHrEkP3qcmUyMG6FtXBOf2xP/XAdYHiUgZaHw0XXgVue5+k4V04Lg0nNqsmAS81NTpLSoIHxLJmDRdFByGSSToNL8CcpQVS1e/spqgcqWlqErnERxwcKyAp624IYqpCublv1DSoGdR0Mhubnyjj+qz/AE8Hojs+0NmD1qNai808mO5nrL6pn49VpoG9p258/uRmQoze4X+parDckfKSQqfpwSI/Kd6frbf9qyGJGPrTnFOglU6XNCY1sbNKnG6zcnu2cZPZk5knpGJyrFmaEJ/DwqV8Bw0BeLF1CfmHrXyceuWVAwbMG15CPOExIXE4WO6QJB/JyKG7iungX9dcs72RAUQmjGEMT2dAJtiaBRx+ZoMWxv/XxuoIgID+oGgfgTr/eZGAY77sCgPWxVLFCH7B3SIt6PLVlI9M+CN0gzaSgKfwcsJ+5okx1URb8gVQHbXiMvuziaiITvahiwALVo6+ngfPa5Sf4xGr2A7VVaNrnDjoHfYQhlxB1aoD1XeCTAxX1vFpay0PbkBz4bp8+ioJYKPGmcuoPEmT6BnNIRSrXcDyWujKd020po83Y9IO7Mv/oCrWyYNVVWeo6Enj2zHCZ5LazGvz8u2Zh0J+vnz8g/+ue6rnJiz8nCdOIS6qQ0wSK92bb8OZGyyiyUyAK1GOWHIUwPc6UFyCG5B6b3e0zfEMkBbs5EVlVzQ6XC850/Bz3atOIrDt/7LyVF6lOUJS11lBCT7vcSakFqnti1ozIqsEg/8Vg5Yuskf+14yX1EeLTdgVmhcbuNM4gQ1P3swziF11wJlX/MehVvUHS54u1AbNPOQyXC1FELCZNTYeZ4zyVuYcKH/VtxBJqIe+ggZag66yWEa8lPw6WbSWwt2peBtKuPVUnfDzqo+9kYho0mWOpmJnnlT1CrutLZcxlAsSgEVMOakAeOx17dPNzEosVDCM9Nfx0eU2rtrmqDDV0dZP0OU/QilWp2b4ceIC4SV97nnuhJWOWP6qGZw+RFdJEt8D42exjhFDOcJ8ZdDEepsGTKzpThaYkLOlF3Z6kXhERFxspa8FPacAAmrLQmkNA/byeYC5Z/LBch1HNp9HZLeHE5Ui3JYLIrbF0B3DR7XKQgtt93K8aLgPoMhL7z+dqOGlckw4HIus+Cd3U/vYE7qTlKHaJrtnzGQLQxOyVQiz2Fkh4fLydbp0GnszEulA3PwDWVf0O2OSwuefzCuQlxNXjc7/vv/xaR3VzC/cFWm92xPu44fybWXj6XFt5SKLdT9mRQ4SBFGPphB9Br9sVLvzBWOavsOOcoKqGAlpq4Fhg+G72wVyGhj8tItFhMV7IR+iuObILldRDQZET3pqdZtxfX8cKUiTCXPh+trDH3PupC94quOw1CdN1ZSAXfFne3Dt6OgnKaNmvXK0HTlamQNWVLLn1kbHcFQaz2D/syYJRPvqwkdaEXoFuXGCG21xt8qS1RqvlECPjwCEpomeJhq4s8AsKxETq3oGI/De8NCXE2PFMITq5nE3CmQypoxfdhDxHJLLNDPmLa9V2r/3XXf1uFAbmEJOvZrSYeHIpWbbu6hmdn1uW8vGIQMR7DQ3IbFbdaxJOWR65xcW0Ogy+9kyBZjd8JCj4gkw4YVdDbDzqw+ynddYLrCcaF2XxL36x70bZSrXItVfCYbrSpxvxZ9OY2R+eYRQn8Fz4ZHkMhbOhvPoJvsOB/2Gwmz1TT3slfv7Ufh4clzFn7Jzz9kAjy7SZz000PU1onqj6a5w9btoJ7K/ARmXQBXVdhGBRCKbCFquCNFzGuVREFJIYea0sMR9uaUbyFpvLE0/qTUZ92DlZ+hRixqnvJojF/o+D5/56IBpfXgDMMIQU5Sg0g7zycyR2wWpa9c8FJC0iziKcZC6uV0x97rJfEGfL82TsK6ziKNOPygG8pD+RKpMk7b1U4bqcxQwKTQ=="/>
  <p:tag name="MEKKOXMLTAGS" val="1"/>
  <p:tag name="MEKKOGANTT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pSePy2GgFn+B77jGJ53DqJHFKeX35AIOkOhCjcHQuyyRNrcur+0psN4JT1iwDHvsbXVGDZWp/sNmApsb6N46ampZXDoYOD8/0at8YEfMmUyRm2CgQM2/BGkwxV10uGySaUZLPPT0C3LE7OJQxx237efL3M3yzwYsYUenPkQseVMEFt64rHqHTNw1qDRZU/R9Z/AfPTcvVPbTMD4+kMhFug0webR0IQ6edv/uuvJdsUNytrQDQRhvLUp8Xse8lPey7ceaVz3N4dVYqx62Z3l/s3en8SxRjnW7CIyA0Hd71DcePi9KA4AOU/KEIbaHJN2XpMmeyT6qxi8seh+Eu5J2pdodyYlr0IzVdU3ee0JKCHxD233nW7/vj7OmXnuf7nRqFlfAY9Zuvz7DSeaJyGsr/rcwWZ7fBZdCjjWh/YghedmDpH6Dg6+nAsHIR5XxVxgtfUD/GMzDIXokVevtivEpIgq5SORkhUD5RXEXCVGxrgzTgHnl9qJNQgEPDhZDKUvRKbfhtRckP8FRjlWDI+R7bT0Hn697Q0cnEy/D/oCCagCY5ibe8TE0dTq1dRUqbwfY3BKHlaPyL1/j21SZFsGfdNB56DhJAqipurdG85NFqxjJZt8P7vtfu4DlrHh8JiHE3YEsMbRgaNataKxFmo1iT2wCxqwJpXRfGZKRrGnRliJCTmWIHOK1QF30FHJYszNz/vWJzLOJdn4HIxIaHz2tVoJqz+yPbKDquucPAMRtRQu7CvoDC7E4Xaxx8g2C6YFt4oSqEk0ZuvTQq93qnq5m3SbTUZmZ7PJe4s2NMYvJzEMpGzr3fcMM9w9KTYyUKvyYWu+Gn0d8mSuAyJ9W1JfDyzUfWwYvqswFYMdq+Ka/32IDGWKL9zA5p5Px1/OJ1e3ZEfHbih3OeqoEStPZ7Fic5E6tePUEJzQdiBdf2mpyhXq6nKXdFWy4oRCUWUPTq1radVmY5jidcqldtCuf6qEysHZL0xZPzKoOyPrR6c+pAzjPFOxGM0n1mIVEz+S6k3L9tpMAM6X3fR/8ForGqnOKXqd0vUTtT4wCj9K8jlE/hvP4qITTI82501JCgFUyPWC3AJ1+zdsI565LTkq9vT3klzBP7vv5yyYUQW0DffAj7NaY0pKLbyo+uWTKTj0cL1oOiek2Mz2kUaetY/YE428XUX1IyNvQCHhXJ7DxNIyQme0+b1f9OXOV9iNH1cIJDPuowsZHYIlljnUvwwJGGMsoI90DnuWV5wCOVv8lufVIhJFiiVNwojK9hSUw1STrHMrGjuoamuYEQxvUgg3LUh0O+yFUxhJT9IiQfUIsiAph6pHv71wVYl0EzVFcI+gWocwaqL6DluDweKrogIi77bNw5EC9cwNOe0AKoJTdElcnuhoHMt8dHsd+6dYwhPTEME4nLVCYpNfce3wJP7XPhlWnD1LGKIiDjqv35p7o+ICOI2WTV/68D7QEMOyp974qmMv+xd8X9QMTXfGZh2tDf38j8mspnxXBXR/72UAP9JJxSt3ANFVZgbcY7JO5J0eQ2vJDJ2N6113HGLi1c7781YOydBJqJl9lU/3XPPDSsenElmFbaBfUKImsMkCpQkhMOm9b5Ie7xHn9lIIrj64jo+56d0g/2Xk0VdGmJD1ZcDMcn2hS/24z2SBOXfbMysupMIaBPgK3U4BggI/beMYAb+V0bPXerrOuhJuoyiWJ5EeFL0uYQFmn6BXcGVma98QCK7ncvQd8X98S1ouizheHB6Sm3IknAKkBpbYxfFwDsXVvy81HSiBL63OwpCLm72V/E99A78OR55ofH/P2dpdqRABxCRNhRo+Zwj3Z1ede7ISR3r6Ox3nYq6tZFZhVh1G7fiRqyDsku5S3hTHmOlblSca79fktV80v4tC6REL9XhwKLs+h69ScVD/PH3cQEsem3LzCD6riBqUkfPDoiYPQpQQSVpDa2WUqzzWhc1pbuPatkMC9a1e3XwjTqbGlp29hUP/zFGbq5AxovkGvWZNzfgEqsuijd/J1Uv6s3b9lY1VS3VbevwQKImdJbEKh25Ojs8IlcsPRDF4l7n2ZXcfRF9o2Ko81a4SwSZVO6TB1Xe/HNVPknmqeev+epx/cNdcXEB4ERuCpr+0D9SoHc5bi2P7oEtRUNJBzsX5dwnkG0kcGw+OcK41uJDwoEWGXDusebO9OPS3zU9qNvmm60La6UqHMtvRK/RU0ePNzLv//OCQWr8TSe+JtXclQpGkNn397ePoB9/xdPcmNZS269DZTxexMZ2fNOyrFp9+5rs41iYaNM4W6YhsOxbH0kvSOOZpzTanSDnbjq+MVrFsWColPf1+/d44aIp3YRCJcIVQ3tXNZhtLST9nl2TVasA0UsiaVkF7dZILJLaC5dvWOx+pSnwxSytn2h3vk8IFl9UzsOIZKUtvBsv8n9Tpednr35n21/M4Lbrz5NF6mrLxmhSbBnUn5XUfPPCM2XePcA5NdFMpN0iw7PceXOEyNDhEFKuB94Tw0SRK39qOEhFUufF+/ILesCXjDdpvTe+PMIrLZOS9ZoXlZQxlt4k8LPYpPPowFJBAraFzZKwcc6ArEj452eowQXV1wNFlTO2F353Y9cb0zBJtZB9ZVlQkpyIabCk8fNsTBHNKVbQ7LeJ6fIoGJMoozem2jbd0qqIMTP8iB0xUDLlrR16jdCDwDtaOP03bLwy3To2lUfjXcuKbqgB/MLazTdMshmTZYJ7DtqrA/b75myA5K9CuX2AnhQ9ZoenMiAs+t5MQobTndV8L2fIrcfN/+1v4v7K3B6gXYKpE8Qi//h36Q8rXYAkLQ6g1fBma1rdPS7YaITwvls2TkTWvFKw6MerHefY9hJrpjaDFNmym+2Hbj0ZwuZMIyFlHDgDG5d/Qib1gtlymSPbpoEToIaJyKcy3UCzs8eGk7jJCA1GXKQQtIgFItPswhFSHM17qCXBktunNyD4SDJxjpoGnol9wvMjFMSLjuCLxDbKCaW6mw0hsqpymuVqWbGqgTzHeXEx9U4nG+kMF289D/ae+ZO5OwWAnP3SZEr9lzKO0jZ4L0lZwuMdtHa6wgv9OK/CtVXaC/rEEfOv/N+DGgxHIb8BdOR0c0nEHCn6Zzwh0YZ0oA+LGd/SuvY1HJMQ3cN/5w3lTEzDDPG8f3Mr52+mqzaeoufoTsqYzsZ8ezTEN/PQlH3u2eCEhD8sdD9SJgPEByVbawtzOdtvFaLLzv65UurERTMWHWCcJRqyWyFf+ahD2ub1fhWb0dIlsoI3kr9K+kr1rZbH+xFq+uHoZpfr87IUJSci1O9pe/C/THr0shOL0uyNeHQAA7SC3NFLHjg8ou47qBTNu+S8+LmxYXn1mIqgl3FUgQliP9/SbIo45hjfvbyY79tWtVnk7qtxKN3e3gVU/jp/xGPPAc+ro+egrQqFXCk87GdNeVHJxBng89VrSldB75AnQxCf5prZ4/AEojKBIEIi7poTRaS5uMfRD9+c27b+XOyd1tj8IdlaOQVC7jDfctywJNe8u4t2csMJiJFPpUglMEHBC5Hs4wNIMYhjepGjtFZEfyds2JhX3DQSTp8Pki3dznbU7EYvPcaYBqzdhNXFV3BSoosk1bhkKpyf5a7cyCpbzgoxahP3RfCJMISgzc+5Sb9YxQe344MM1rx/q8m2S2vna0tm3WqggMd7ImqBsBA739bxHpDMLucjJJTjcUlyubnTByqhoqNmtj45aVVv7uJX1aPE8FnnEZGpH4b7OKoChRzOahOgXsCyYJDyuG7cH50dWR13XVhJRrzIEh5LAVPaWPv2c6kx3FH8Wzp7zIrLbNLlBUp89vy0FtWDvYRmx5QeqLmyW/CwEeD2ytgTUUSTyvTVMWPlTpSH+lXFMHzi8DNwOONDmPecvA9mX1cbkjczO3dSg4RzxkPyQMN0pbHu2oTZXcNmWW0XoTK0z0Twj+pNNo6oGqsfsOZBB6Yyi3XY7VojV4iZ2S+OSBi3kE18fD/ffDX77p2lLTTH7yo7WGoskbWbyYsNe+VNd4xf0Fr6LzqaW60eugtbFwO3nBdGIbIxTHvvKXNINf7pKD/EusfOwoc9Psvh1HJyvtW6kRDVaBh2jmHXP/D7jDKXLRJ537EJABYCTrfFQAm9fH6Kdp4OW6c1Sd7wLCdpMhD6lXA99NU6iG3OHxER8hSm0awL/ouyfS30Hn377Y+S2DcPldWmXR4Z+XHKWFBH84fnMpC/06m/HtnwIBQBTwNPDMOpXhm8nbdSX/93pI5Sz9x8fKQ+jY2FErSWySBC4JnB1+lkXsPs0rnA9zh1wV/krPWT+z6dPbULt4eViu0SkZ0c8s310zBb+1Md1yv6dRcFBlysxJwQ2yrggleBrsw+NTVNWF6sA2S5ztL7bUXyDGC/+Olej9BfMfywm2KshTmVZEAfgkY57Ch9eb2Yr+hVQ1WiH2Zromj9iNLCB5iuCH611sLjBLz1VdA+osWS9dobwgB9kb0rl124JQB4J4VuongcOXvAjmlbliGO8xTENCscKpXKvj20mjRITxytus/f+Dz08w5Wc8u/DzBtrbgRxcLbsYHXTr3DrvwAsUIcreb8MgTndtQuxt5j/FA+NHkgyhGp/K+A9f4Dd4Sz822L2liL/0YpxBKYGHnLhGd8jAjznbeIZFWBbun/BcZQkSOibbwHucbbQBOyuMdRNr82toSUKD1LUZswkH1y+Ngx5/iyfs3JEfZG8sIT+pSKziX8jaoTAuuQbCK+LPuLvfoZyTCYGwez/w/4bPddI2CnQNC1cbQpYLVF1q65RlsVQ94HGl9uZWsxtFzFtj4w8qLG0/VoJuGkMu2tSUvev6HOuOdbeVrG55oVf5yoyHtXBBhadVIe6GI6UYsPOyi+pX+zZ21VGwMuRDY5y0biWr+1UocL2Ys/eMJBpXS+TKydwFfDkA+bN2hFa3xv1/w93hCxNBMiLB5j4vKG0tIqQvV3/OgQUVK18Xq+1iPUpm8GVIR97lRUN3g4w+8JlIZtb7BZZDPTewUZVlSqCfUSrbJpiz4SUOo5rXLXSPtWAaY7PVi9hDcI6MrCAPIwlnqvn00xhjFZEc8bRpWTpDE5EWTOgbFPNwZauVpUJDDMFhQW4zAoojxrfhGcEvcco88fYA/sw73HlTVlmsA6ON9C00D7jGrj3evEexUqRyhSlZaRplfUdIE9xONPFSEgN66vw+gTL3rVEYHBmXuZ5FQLbJyWuNMwqlePe0SrRIwF7CbIG0ed5fnGEwMdr1z6pBKCH1yELrlXjXio+1Cz4cI4xIGmSiPFIAbPl7WaT5ufN+W2IGGOlMJXZYZKvF8O2tdmWiWCBs+w3gVCZaaG1naKSXX4hoYXjwwxqY2eGa58/jZR4onP7mZOW0oCJdql0DMOrO7ideG7+Vs2uUSY1qvHTVjBLkyHJiDZfTqHyrIgJzpbfeWRMSy5u+0n1VD33+VIwP/F8EkY/ptQbcqaEMiZdats9lcAHVIX73SrB4/AYlUM3YZOH/afeJbWAqdqiTqSzdMer6BFTiwvqG3MEsNBrIMEvKZGHcHGhRgiYEy6blFiXu9SwXx3PuXTLJdE8aDLRo2Gk25YhCiFoyVRAnQkNJikT3e229NNKX0l/IdgUqoxC8iOc+yBGW0OsBGAGEqoR007ed5xb3XERC7Ufhqp7Lkzl7Nur+ZTnrUYVnP31AnbFOoEstMTmS6K0A2ix2kuS8n+Ia14jfsx4m0mL/qJm/q6ElLem5KPCA+7qoyzn/eenItmyNNGnTsEgoniLNCiq1SStnR7Ej5wpuZrcrglYFH5HLkxrtXWG7A8XMrnYagedlrI654eSasMffj+gzG5n+77csw87swL4PsZ1t7MtMWxA3SfxHhSa+84Rs0vmND1rZNtuXGe8HZyfmlIGQkUHCtYA8R6x8eA2U26AFrElLfv3xM/x14vTeeJ1YlgR4NxvJv+bFj+55SOzyuP6vdpXnpsXjp0l3/UDp7+K3qUXDswBR0cUFzMWPTbpkXju1cO/c81RCMXuXAKHkFaym1cCe4exBqCNrpSRs0iTPf8fIXsTLKZ5JgPdsqhhv4jM2zVpuv8AC1ZLCQJmvlMrd+143rYCClpx1kWUzvclZsiVX9agUhwxqiWRRVBkYQhdfr9Uf+ywBrZOPK70zI9ro3KBXMUrgLlhDPtm6hfFwaNiIjNQmpx6ZIaGC+Jaq2t36kTDj2mDB97cpIevcI8IFNhHm4A9nbLnxbmBH6+oyv5XyYGIutqIBe3G2TNnC7dSiMQ6sfN7D5dNjPtzZlJrkzo3mYCjjcR3dNj775Gg5YFY+Xgo5ksjmKb5fi5alV8Zm3qHryoqWxbn6X4p2o2J1UecehuL1SMjsQ/RPJIAIbcj0ygFhfNBtdltf7VOwnm/s0l/fqxlJWKenqeEnMKjqbwjmd6EJQG8kzlKE0xmFFj0L8Bwafs+invWZUScHUlb3ma6ocQv2F5629wY5C76lkNZdakFHQC0TwmD5+IMSxIj1E47qe/jfv61IG28VYnSG/e3Q3RfGMv3qYeBnk9AdWQU+Lanjkr1Sp+UrPxHoeAauwWBDS/Ujx2cmWpnJHmIPs7NVvh1/wK2YtXy6xWF0l65SKWXEiDrZG5MG6/dcngLI34dNkDVCxiYZlEVpLL5W693WXb+gf8g+sjIurALnERGMWUHzdytPooFHHBYeVqZqzoxh/8TVEBheeMFkV42XKe5jp5AavTfVkIqtndVDsc1GP4cDaauNjyAJmKRBt+JT8idrl7R4CiSchjgnlkTwbM6YQWhAjOqIBzuHTZ/bLf6UcCLmWwb1h9yGENxf/+IhAtKKFgpbbSIrW4iMZT6g/lRqQwDCfbDz4RTaCRtg6hX1fK5uOtXV7TpvC1oAOJ+PKPdKh/d+pnMeFhVws+CJB4ukF3zlADd08tohioOEVxHAAq3UbDc47QcRRkVQ9wmzbEnC0mhCoyXqakgz88Cv4FM0qpti2BE8Jtl/jl0b1F6AT/Vvn/cYhHlzoSlZGLI4ihpwLZXvYJM2mj+68vH0TTXZ4b58JMNzGH14MbisTPoz9hkUGzFNfvd4W+InVqbxMtJ2TaJFFRSBFPO2GRdPvuj4bqrc5+ra/+aCyM5gjfpbTOy6apeLHuaRxuHbs7cZgCotfP6GU3A/djHZcbBHU2WrIuib5IkWaOxHrzNCKqKzhRw5wusK4Fgjav3tTYOaLfixHC7abmwRP4CZbYjqF3jhPpsIRmE8dCkAdNGn0fWFk3cBgJ7yavs071ga0HwsKjGzktTl9s3OsNjx0e2F/v8LMqPS4MWvvdIv7mK8MIUSxDIl8jMKoYgL9Moh8q30hI3RlApu/CtdEW2rlnx67HCHqXmQZSrZu1Ab/vbNxXfTl8Y82KfpwSABks6PTxzxUK8j/vNflbkMmukXfbG/EIXsKdp+lma8t4zdJRHLuCi5Oly+XDaLylEf+8LwJkaHtjg73Ko01e1UuurcUeWfqcDdlXK0HL6JC3nBB8/9uZWbwtDdYX/gjRPSKUB9QAiZD5A5dE0OHj8xUHeJCEUP1YIRjh/a7OwJyz+/oPZI6aPrb0zgSG1MN3BkwYgdobSKI1nE38sx8MV9THZuBwIAmSYthnrLcmrpzYamFUeeqKPiz0cCK4DliAzvTom55Mmf6G9S2Vh3xT0dqHpXq/CF0pcvXHRZxPeE9Ann8aoUdL23ML9mWZMd+8Pfjy05ihKsP65aCpbMeUXBQAOsAg4im1P2i95L+q1oKUZAqOxNmmd+xYi/+rZNuK834mKbFvHhpsjheUy1Em68gtxu2ku3Hh03EM5fbaNqtcf3467yFKpFityLesQrAup/2BUguAwc09AzdLrfLe1ZKSGK6fP2J0SPJA2uyqM0hNzm+BJTFpWfV6GO8rBr/cjh3wv7GJ22j4yfl0rM30mTHfz7SYAtxz/cj2NNwpPgbQrcMtcTPngmBNAIB8shO6cMoyYe73eANlFjmGzJa/9JDNR980Khm5q8E2a7Mlba2OZjD77i9VHNjiOCgjcFTZaX1nWqKcYzRGNJ8bq+qnFWp8G7dgq3XoAHnIm+yPaiWsraJq/DFcGFKr+gnxe94iX/QxnS6yvJiiZOMJzJazwyYEI1mEoQEkBMnCXov3auLKXsUt+n+vHc8F6hoxZ+b44SkjLuPcwS1UL2k0GHoPFBEJj6rSowy4FmPnBQKS8PL1OFGc74xvccDHef6aNIQgcjQvYgDiELV4bYu9Bifa7e5NEXQ23ikw5Ujr8LPWqrzK5wlVSgHLJdNOOWVduCSVqCs9HPrERWPMB+Rlryh1D4T2E78b/I/bfKIf16uIgc+u4UqJR/XvfcNqEIGCCyKappvy/BKH2T7GW/rjNlrx2ojokpUKsTXDpZtnxkQvIXfZ+K1/VdSc4myJ0J6eQYlku24Nv1/S7TbViVKgZxNKG13X/0TPIZDdD6MLh8CvnyQixcQTCbm0Nf7DUfwNNR6HbFuEF0Bk2jp7hhRiyIF+aMIwIdeOI5eKmqJ3Yyb8rj5bGO3k/61pub622WxD7CMknccOmq4ACVBzITFxZWEUltX5Ncp888k80HlG41Atk0+A0/0z8PZDCwNBm45RNcYhSxuW9xKidGHdyn8SMtTAgKi48SOUO1Tzame9X4XwDJWAbr06D0w4WAfbLjbbns69trorHFaCENq4bojXAXQQ5VIEBzOvW3znHVDaqKKfTYqnfIXzgBnyAzc6+eDMEmHMh6R7nVQFJuAeOgJQ4LjAE5ndAVKkhDd9JsFKjunVlgCcuMXWlNUdadPJmTbLN8FZVZ2dQBEtcISC7uZwYeJsmLrdAvEk8disiolFmigKdmt1S5rUG3zHTovJChETFglFjh/uTrxlZFeiJNxpH5Aei+FwxuO3j1zoisyI8k6DxILQLUSlIXchjcFLQc/YL1TEVA6r+dqEAljT4ZX6MMDS5vakG0YDzWshvQGLDeOsa+6EixW5ALhLQvzeBLW4jMyBIkIrdSkYTR7XlDOZNX4q1F/1c7dVrkp40bcceg9J3viBeNCtmDeHG1irNfwbM8zCzsjC9hgXDF27zEenUswVEjyyGPPnjJQVZSdWPyK19o+FQcM/qWTuZX5kvgK6YwoVnJvIw/Ey+GXZFHaihPkRG58T6kK/gKPPq/FUB5zcVVWQEVZSdL9uNniRdPDIhtrlcqyM4wZ0wA0xLI1VUl4P1nppopoC1Wr4kYurjKHqxzkWw1tQWuFtXUUaosj8YyyioZDfkr0JExMZW764FZ6qpToL4Q2yqJe9AllR+LS/H4BXRDS3RDiZEpt1YiLql4AAIQ7RgaL1fXMsebMxKnppY56Yj0oBf0xpMb0bIvBLT9orCAkhGcbfZdZCVBzInpcBp1HtGHLcM1SfU/O/EMgFE+wFRCQFk8aushWhvBftRhBO3V6b+DJyHhGszkg/1eFh9QuJ10QdKS57aS3X+MWWjEf70eChvY9eRmjAp67BXVm7DC2sJs3qMEre2rmKiB491wFVJdzoQjERZzMQ8J50wyJSCyoZMdxTJPcbKOodwpzB11hrKY1US7KQDD9d6ElpNuqAMhhhvPgrfDc03XYFdqOmRIR+ywF0BjKy8pG0LeTrjqWiRgsBHQqcRcI1TkyqkO2f0luCfQgyhyXHlNYopuNzmIKmG1npl4H/4fKYiQkHG+0gh40Jf/yPhjNj0TVMJI9dOK9gSDxYgT+alh+GaU3MH3mMMx+y3HHJtIV+exoeWwTJ5w60wdZXzkXJiR6A9UdX1NRGRLAZV+YhKWv5EfYcCkI3RRcx9PVeAFenwd+UXd6u087E2fUIR5BoLmEIRFLQWNgBhiK9tb0VaNmiEWBGNVZ5YiF3YsMAptF79DWLMMARHljcI3zDCvjrh6Lh42hz9hOst8jlLa64drPnctJPytlbDg/XtkN/+v1nd2tpizGlmnVT1FV7xK4s5/X6rI5XMeGUqqvPaEPg1Mxwbnug5GfgHyX4l8LLNaFgTVhjDouGvc8mQ4OrrM6GlXEjET3rTmbdHm12GVw3TbQ7GBOY2oVV15I9JwnLm00id79X2UYKsMyASO7PMoqUXfjFQig/0PZ5EcyvYH5C7pxREcaqkShp1J7982xfYOoNbqyJYH74aj48V0BD/+mcDbD2HKnVjM2bTH2flMH0dI+DKO1uKa8HMzHBHWfXt4apcN16wRIFCql+1zxBaAlW0ZdkuyQpZMyKCNlJmtxzex/f/aa931MK7d36woAIefcvBz3Hk/NPJfImoOmX2S3KCwsJut9FtZsvmxnS/Yr8fUyIJM2B/8f/EwaNY4GdL4aHzWRL/7RfnNTsn++MVAgojJ452BYBg/dpYSxyPKwlHnHZj1XwCd8S1OUULegERVdU1eol93foChsq5s3xWiWsqvW8OmDtLM8JKjuQSCPV4cT5zdBhk1nZarHXEDza2p0mxugj6Zn0Res+ySpwWc2WJ1H0p5imln8eGz0xCTE0KFJFknsx1GXylyXNcsVqXH0dHzT6C1I5x+4GftgA7RiI6PWEva3JnGwL1wVUo+1gVmuBpMy+jxYYCoIAONbtPIAg7qXPZcHk9nFqcJUW70C2NmC6S9Hk3WLsQRKY3SP7evKcA2LAlFw2C9hhXDG/FnMWC6WAX0zNhHqArcRrj7N+n60JdjLIRbNGZMSSBYBv4S+qG2HCNtLa1EpatURmiWQw/82RKdQz5yLydHxgCmP+7FMfoP+9fUTYYSuX+tXbXE/fP/Gu1xFziaxJF3BW31v8RAtn96JXG4BnG6T70Q0xGKIp6z16aDZmm/lkD/HMtoG8yG/xKJUwqukfmPmzGKwWdDjMpISre4EKKB2qzDyRswjzk3vPe5EkJAKThkuAU+StgJ4rWhY4ZQJzR/HaBk4ERb8F4+P6uNnQocuju4G1bDVolE1P2yZoW30CgdOjTfCtlwUj2IW/CyEfXvuAzjarIs8fBpAE5YDH6Jo0uurQ++ZgxKmcAIDANfdFXVWxLc8wOgMDEiKY32HdTJ8F4MBaSXx+coPPGBbsFfPDzYN4fyxyJZolkpufRKuc2z4gK6xgFoweZA8JElq+KbfWXOsVlMqzratQqU1nURfwgL9hbP/qj7wbmD3+beneuZf3Esfs6jHrG2p8i1MkQdTWwCZO+2CXxaZuN1Q5RKOjGtwUoEe1vX9GRxz4ryWwwxROJDDBO8BUn8Q5Uk5tkllPdFGv8CMs9PE41xoL/WZtxnwbRVKcyHLxrA6asYi2SSbPHUPAV58awBQJmpqKOy5DpdtvOzyVF7T0hbLtAMvuraTd/0Iyojticlh0tZUtXJ7ij847Ip5W8wUq8mXSGNqPFJW4yeYyPmQWEzJIoikz5F/jyuUTcb9EZVob96ujdFXUYU9wWyxjpNWxukgbIozZEBnqNgCOf3wnUgI/Uc2310uZcJYPDl1q6mzh6MCQa5UUPShCHNOLqxo5UByaw0QG7J3yiI5Hgl1/9T1KWeqb7cgdOX2UhcD1roEAptlCCyBrmz1vQvICQHI10PxKSRJiOCRg/s48bJSwUi1S15r4+oIp+4miuiINSkM0VvYQFIga9XAOgKbVG54tGRoceq/pYadiZ1qt/vy8OqrxHmhtPc8NFeeHuFRaEw9INjU8Cloc9l7vhZa6ujE6ghSHrja90MtGYu5s7LO+0UkypIh8yAiIxnuvT7C+Imfjph6CviwdKR704gU/dtQFiE0aweeY+Z3oY/eE9uEtWUb/gpxa6Hl7d9TpUXRzsxG+Z1oDPi5qZMLtoFGXB6hBxGGHUFG7RvVGTqYKQsxkQbEmtCAX5kaS/WnWv0bNQKRtnmLrWzsZtQFOaXv/8OwAZQlucshTKmwJbxuw4FB+YeTDAH2LhX8Hg9fA1iJbJMQeZPiWwe+RuZLwoxHfPGr8WHIElU18ArNWCVz3crbOgkAXFqSecMZWN3hfPC0BPIudekTdpfT4lBSu7aUkz3T67jGIW2H0xkVagkWiCIma0gJzA2+4Jrgcph/9ncf2llkSwD22mLLTQyjEi0m01nBPvwzwVKDiQ48n7ydw8ycURuJDSy2BgMvrIwi/6mjpPKH7dnJwWBHZ+9Ix2tG8duS2On8GhLPVQyVk3j8b6Wzl3yVM2oAiNvJTJKZ0kY9yty9VBtRnqyAzo7Dy0rE/puQjgqUSPHVjcRmQO9WbSFVHfSWHlPPAeWriGF9NTAyPMgauGX6of9zMcxXN24/v1TeWhJLSUTV9Om3Og0BnC1rp1piVDg8gip/kXp5mD/pkfj/0fAu0FpettWXt5CC+0yIJtMFoFSXRNoId+5Bnpcq8YbFY1lYj6CGSRuKGLc047xTS9I9sNjRNSbSIFlirEjUAimL27SYDEHAKyuH+dI4R2BFGVHuxf7QgkVx60QgHwBfbltH1uLRmWg5Mv7kZNCw7wpHua0AID0p9HvIsti4HIb7FLh/coQlG3SiIwPjM+9eruDw8feRQnq+hsRFW//SNoJpxxf2vMZYG1+Ya1e2hdXTLKhSVJ1xo4QEuq502MIBlUEnYyN97OmQW8dNnLE5jf2WO2Ah3LSEz5JvPAuZbWO/3UOlXEP8xeVm9luJ9caAx3ejEnEHFiK3plEVVm5phiQA+wM9nCq23BvVEMJpMh9EWkM4YfaGWsCQIbWg6OYaqsmvpjNQg5hbyxJUcpxosWXBa4W/09FmnEAqkc6UaiE+Z1NAyuE+/zqcf+awyM5rADbdbBkI8FVwPo8TjO5szvLSIFjFNFDulRcilQxA8JuYbyCbn1iEK2AD9W/TspNKLvviec5wWBtOyxTg5IeTmxQaYQrlh2X7ig5twfpM5LoWTFstqZb3PYusKx5xe+XijaXVlK9Ua2u/mBFPt20+yrHRtyfX1TD3+v4BqY0W1WdQOhdiIZ9yt0Yh4Se/tSHUGyze7IgZK4o2r/I/0cvkO8B3YlFDQSyxwKtZWmBqN5kOjlOrL/7CpIMG7ggOojhcccFVfqWwXQeaH6VHCLEOQ1O3xGO+oBS5M7rluV0RVAjo8fVd1l7Roa67ts0DVDKZYhsPSDIsoWuiMo4bN51Q8Y8mLGgic76BvcTMNuKc6IGnJPESFfVWbleQfuN/6tObvJgEXqsDH4MWYh/825WS+ihqN7i98smFu2k6MEbhnzbOUcdYCQdqL66gQQFQZkMw/haL81Lhhnk5BgqZY98qfteyJH1oE9OTiQpN6f1eE19dKyGBYLvU1SuykHpK9qQMl6Qpj+hBKx+szBFvnF7gA78mBA9azz0CpRe0clqtVTnm3FWs0FOytroRoOAOWE4nvoU938l5gN1cp4RDEXpfBc9YGn0ZteO9lCOKXyGz2HlbjcVpKZo5wF18yf+lxSLny84CsS5MkU0kxUq7Mc8gjp9TC+tsGU14AVL0o8R0uQRsCAe5Cjlc8Nln/nAaXF+3lcu99ePHvg5LJPtVtaadh/PoaShF9ro2p+rqisKnOSuoQ4mr3qbbIXF7zFDR4s5NWqR7gjU9gpKjmgjrpnGGAfurU6BSibgtgBRxX3mzZxocjgAaqTRi9GJP1q6fdwzkr3uKxPwavFjI5jnFGvWwu+jTdHKnbtj4rUmecBjniTpnoht/Sd3mMkhfCbSok1F7/d2nV3As2E1JN9K62jeb6nAtCISXgpFF2A0WJ1lzpzef1ztGshZBCX2DOhpAW7o/zy9Uxgfo24Tcs7F4qOK+6QnMMOsITyc/vVlfRER0QBfx8bbg5VhGzbnN0bdNV+c7nIgXLfrJeKqQn8CzxuwRQQvppY9UX+8IYp2hW/Kl2h/Ab00zvUHOlEK5kCg5dQB/bPyIcEzs7VHfnSYBu08yFXX5EfmEfjKAw+iKlJ4mNJWlpBlUMsoPRbYHdDlSmoDnGJCvPX+B0VT0IIwVvIPYOyXhpo3WKRfMHnWqFLcn/qI2/meqSm+Q5NjkvQ57eop42K9SbccQzmnFxYKb6T1MZWslM0Qu93YKEpU/Oogz/0ckdEehHXW6Lfl5iKkC7IyzvR5fvg7c2W7nwRsCqMqcPNlBWVMOEDHG+Km6W692IHQciWlE7PfU2qYbQFuGBOpjZOpims89kkpOMfSiIx/MndTkw3B58z0mnuL1MNKX+lqzUXNL2CRduVkqVKR0W6Q+04KbCwYBej994OWv1FDxZQfCLrjAk+7KKvCVZUgTg1b+8YGsmBMAeUrQRcXvM4wou+JgT5wXzXdib0zppXhJxGWHOmRUMl3tXJUFa7XrkinOM1zOwxHVmfGDSg5jvFnBku/MIIMGLuxqgjDrblYe2TMkWLNe+9yz8Cx38qHDpgyXqZZmZS4znmvdbiQfflhOPYIOkGCRhP36yyOO9/OQqlXAFAXvtKLY6Rw5VKMLPTQewwKievK7o3uBtlmOUwfs9NPeCXGVBjOJZiTDuy/9TPfixURsGS9/GHRhtTVSprg3T5kiBiy2/1ux/qAqvF+60tYKiTDalYjWK7BrQuGvUI53cE5FLOodpOccFa3lLWV/vKpKV8tcHjCldyBKgd436IuXUKojDQ39scdYJUYCPUtXQlDehkq1Xk+o6DjYcv92Gsvqh3o02XcFbqBxE80QQFhDbmSvjYoxCtzXAmYdn3H37uM8qIsNB2fnIsTUz3GwnTLz15TDkctQP1nKsR0stbRoWWZVmdjHGMYonb0R5iPaxZ7NkV1AkvwKgWEKlaG8yG04l57eOc6L7TsqnhZMYr/9fyv4sTEfO0JxI9IgUWbKE0UNECs0yHr32CMm9TjF9J34NbMCONibTheN5U+WpMKdCPmoxdSqwu/sZYNe5CnhI+tCjWxnwKnQf97ech+af7ngkPnmGQGGIvhHkyw+60qD2iP5gx7kWgTyL+wKOLGKqkz4XbAyOKrDA8gUxFFnHwAH691ACtuYniSx1k+vOBS95TxXueTslVl5Jlacw9uiVti733MgnoLxCENzRS7coevDRUk6aq1VV4MPVJrsxjtWr+NBv+CM0OVv78gHIC4AfQttpGF8hWw/MNMmftA3TVpjnNOLQpacg//qy6KNyIzQ9A+sxF3YuoGtqmdZznZuiZ3c2I5v7IlpLhic0y218chTL1r5BgIM57uTItL4ZO82Fa5AY1Z12agFHNYaAMFmajZMhFYlBfgqbtdKShhG99iAUUPQy/o40MTRi9q+iuQTuX+gfM/ekNNkXb5/rYdjKSEFyiARXx4CyFGX+ax6L/XcFO4Ao3Bammb+BIcrpje4SyvMDuTxfX/1T1udjjI80b50qObR/0ETxQQcWUgBams9A97Y4fsKTPKel6+zOL+QldSYG5lNchHcL+YUQTqiqOMPN5VkhZMVKhRSeApAYvZ/v36gdzJiBM7So60OB17VgFPX3wVyuxdIfACO1BScHMQqDQrsw8zHbS99o4ad14Bn1eoxf7fmy4PT1sh9Z4rAnKbnHZQZNWeCTB6O9eIhTqlGens1gw3WG4DKMwwGUP+jJSPFNzgKq1x+L1LKBmsMNcfG6a8mlOBlTDy4gjQzSFC9f3wbuMxE9Kf9WeJ/C4Rd/w+cZbq7bJnXgn4f7j//Y2SGmEDBHmQWhmwel9DDrwkvS67fyroAQPQua/LNm8qPZAuRlC2rVCv8suTzsS4ID1KkPVZzRtAa7ZcViQr4j1A3PBJUH2GaJ1sVSuRhxdADnBP1Tm8Y+CVcY2wu+pLE3Q0QstuPEm4Y51PTSmL5bl+h1X0OiK+JQymbHTA9vJQI1/y1LVmLA1kNSsNk6YwmwRvPOCFZjMCQ+EB5z3IO/+cfA/Uu7m1sCz9L3gAM6T9RkkiimBCnGKidbLE8NkdqdRrW8XN1DWjGlMgSqVchZ9vgorqcY9wKR1zXBPZCWW3xq8pmSB8QDIYSfsdwXG5v+VB1VDYdzjZ37uPQFA7Xn0EBcGNcWdNsj7sFHONxjaBrudK6+82uRWo6P8oAT5rhQ8Lt89dRwxXFkzcvlmBoT60DIAsTyxRpbL00XPld0wsOe2HcqG3E0j/8fiEdv6hsR0JXHkwfk4KJvdXprg5Bxa8/QFdYk7U5cofzEihc6OEJzU8zP9w5AFhLBdKEughL1n9WRMBP1nMrQmLX/Hbr1SQVPza3TYe6YTuNgGdzw3ti70gjm2niWh0YUBNCEwRoTSD1QNRULYe6wsSzDX5fAID3EYVQBMiQkPWSNXYG9/z6Fv0MsuYLQQYxCs8tibo3GvCrCbl6qhefguxLrILNDQMocn7PvZTMmBkSliX9HU5SJFd2Zp18ot96oL3JeVhufTJDWeDEh21UfPmJ3x9V98EvPF+/ZrZYjczTTcHBO9LIhNC7uWcZE8MZhOUsRUy6vAAS9n6MUpkNW0MgZ21DT3dQ6eQTWE0ZkfJEVfMnd7TfNLDzOI3dxjehzbo9+CGCm0kGWwFRnBFddEmifCNqs6vk3ybTPKmOYXTjl53WJ2hi6oGbZaue62Ju4e12+ZBtkmcaWKH/86trcqn1ut5pRqTP4iwv1SO8PQVNDgoUYUbjK1X8BXpvgdm1Ae/R1WIqrRZv3Z/x6InhFC2MVDLnrWQzbFpYmvCzx6ApLCB9C/PUsYkGUhknrjDALG4F7TWEkXhqyv/nR5x0F45B9FUL8ZYTvrCgrYL/S8NOFcH3qwhXnpR+ztuRJQk8616KQySLjuAPJNcwicHbziNTS44x4Zx3/Z6ymdzJx1fBlhSHW5mKp1AgXdrn+YZrLH+CPDbm5KnWFANLqD6YV/Eix9F6POagCFr862mlcpuVC6yzUrk6pP8F6oSDPBfeSCsIaDrdw65WjJr35xwPaOHPbvUX40k7NavoT6uZMXSNARMUfB5MWWeemE1DO/HxuZBfptQLzn93MX8ObNOeR5dstjbbmp3BkeRCt+SYYu2DKOjKK5IdIyemRfnwlIAKUpZsImmTlqrI9Ebnd5gJipIkm1bM7U6kEPWD11LorqeB61URc4DRo57VAA4dLDn6BqNmRvJHlai3BlYVnHMUROsbH73kCkohSMhkoiRgsY5KhRFto/BoYduxRymDQQFAur++ipbh5TRB8+mr3KkTMO3oz9xG6kPWDfwLohoxSk0lsFcQzChhfS+tEWKLfuFG3fxSqvAvRVawtHDUPOSqFZZzoCzLT/hVZCd8xJXhgeq9zdeOy1RS4+td+zF25dUhDLHJyszfJh9Bp3ZNmxeTUg/0peEPvv/O8h5bbSB/EoQPqFZezwK1P97G8p71v1tl/veP1wA7RR7g+lrg4s3R88N+Pq2eU7R2BpVdFGIl7hysZIHkCSW65jC+zmoTHiw+5D/Z5RQYM95Ad4++mOXcEKTv3Uhdlh2x+OQ/2qo+mEPxn+m84/XwOyox3bENnnFmly8J9C1axMLJM8y8FjNHxxlQJ9SuWl0bIUWGjzNPKYGmGOuww3PSGaAVsKpvft1O0eWPJZ/z/DTtAeDQi02sad+hTFAZFQV+f3kmRNC1NCkRmKcBJnNHf+cjfTPc+B+dhQrn3Ad/9v1bYnLQft5t5ozv53jRCco7HkoU+ZAuvlyBJwvq8aL9TruBpr7W9kNy+HKBstAZwBckDlmm6da4juws7p5Tjbc7Ecj0A9Bl8W8Ou7cD+XgQhfrp1R9QHM5slKgZvW5EOXuBAHBkmq3Xtq5F4/GMGOmqe6QUHiFOAzo7IcJ4MFd8UBEoTzzo9a/x94/tedre1oZ/EHKGNTv3jcF91hM2umgv+NjGoORD7nv/dgWEG8RS254mP9jgtsuKf4o3TDc8M8q+9UuF2+bDELJbDq2mLu2yxbOpQK5rExc8hzrasrwWg2fJ4OB4rUtcaAKbR+ItwTNrMdImntwCeiz7CUEaJP6byjmy/aTsFrxMMv/iNsXR3AshBWH+5VJXVMwMAYOgEmzAl8L0RlJTgid3EhjV3nQoQhfPwdU16EkPI1s9F6ENzStGw+kLb9DoskwVDbiEnk+xiyErhfQbiQyNmg6Kolwdmlbxg8a4m6dJL+LzlSl0tTU9xbqLHcntAUgJUL4OfWovKJlsYf/HnxAxashSUO476zi/LHrkv5oP4LSDl1xjFI6rBQ8OATQFp+DCkhfqnb0Csn8UK6dqbKwtpEAvhWHdlLLO46a8fkfOthIOPZaZA2yfNOIROkWhJPtg8mmyzRawe9nSDj2LvIqx62BGRc+JYLuKwEESCCqQBtRBChRJEeZt6l7aGm6neCFrPoO+IHJyx7OiTZI72RBktXA1P0dQr65ZKUqN35F3B/xIOCMtxFz9eU45tXLFIByhf+sCAx+vMm57WeCLiwikW0x2iJv1iqI0dVFPMd9kjBwkAKMFKAaD+xDRVPrl3max1fWgCZI5Jb24l3BVC+1cde3wdbAelNvBGNtSXx6s+CyRYU5DV9oRi2AFdHDJDtWO6qd1AlLXcYMDq4ZooY+tXPcLlcRuWuOApLGeLSeMUQbiHUwmkykmcKvlBpta2LJYpAVzVBLCBzRtm+Qxtr3JCk53z+Do0KD4yD0Y/tZkf/tr8PmMRXsijFuooVPKa4M47k3r7u6iiopHekft3q0JrjKndG1HmCqMnsJ5BpYhIhBnDGWLOXIhWADgsPzgxO45SHDDavx8q8wlF7+suNPxSwwdZnBGAicjOytmaAyQmF/cGFRL8e7WXrNitjIDOu2RRcYNp+N3Rg9kxaS5q9/rFR19TD3JvZIHwuCW5rj/GqyRORLQm/P8yi5CdrZuippKG0smIGu6MffjEsCjOFaQYW2Lhfju5gsky/0JTUW6AavLgkCK9rnmQmtFCZ0tvUSgi6TlcWcpm0BjJuXDdLVrlh3oJTalwMW+MCw0QEZD9wEstCltSduHj2NBZ8Bq7GEFY3/dUgn3qzgUHSSQLJVU3K9ioW8cO0WxirUjb9+doSJ3wLsN/Y0MK03Bogs7AtKURG8Mz4PZiltS2D869Pv4XtNtlLw5I5ePt8u0j/cj+hMzxxwOJL/QU/p96cTGMLcakKMxOZ8JHXAa6w3mwiB0lzciiPj26GOiuFS7K+jelm3BCwrMZ/Q8Hlkb2k6xW/Q9hNDeM1AsipIcwOHGsBLKqngEV6eG6s2mjowwWS1tD4NhOQwKuJA+74BM1yNRLWctVJyTh7lBIXEsznxD2zclLNrgoLLDZ3A/setGvgCf1JrTFUM06K8ZiltgQzKv94PSMM/+HDibONYKUYTSauAOzkjgm/a+nnUag7y3F+um/1ohmmYVFdth3mwXOjazErG4mogd6pwxlmHzNu469cVRnxzoDEiE8MnXnuKDyjQ1S/jePDTg4Q9hb8DYWqlR23Z5y5eHEIqcGEa+4yJy3dw+ym518As41AdEG52R08NE1Kd8NRhZwhfuabX8cdf4txnsfr56cQjCwtEwoWVsYx4HYnh2r8ei4op2MUQEuFgyLg77SvUdAkccrDDlEw62zwQZ1Zp+jHOxSGk8kxUy9UmJUTIDJPhihKByjg0cuXGySF6MLXB7YwT98yBcWRgHk2c8qF+yBa/aJ4WrT1h3chOkoz4Ji3vjVXPJZQzbqGeJQ2Td2XRa/7x6PiHHRVGLpUgHyNIKjxTggO/w1aSm6VHFgJ/722/7JEIsaDOFMK5w+0mzwPpt9TgYePfvqCVmXz3tLmXQvU5kTLuknt5zFMIgIk8ar9s4Ytj5qYZP5qHcF7hwPI1vgCZqhiaNYeF/2WeI8Bigz/mUqqSmXzVqKu4mC6kVATPl8QB1ItWr/YW45xR0NlOdAjUrYRhk7tC8sBzHNF/mOvhMkJcsOEWUIKEM/Agc75kPGH+pvhVHimdQgOmWgGGSQhXlWJ471jNPpmNeJ/hiS7AapIaZV6t+SpREuVqPENpAbD/rLbw7sNsKmTdLW4CM1pXbY97lk4sxqgxWiTuGvbIBH2WFwwHbdpseYwwXeA2mYpdOkL1xVuS/oynsgJqvr06CPIL7kO59hu8wbgLlRwOoHKF5wRlzFZhVZ6hOo8YDtfRiHjGTtmo/NG0I+Pua4R72K//4pCsVyJcrNb/+EwoPel/AyZshANRjxnyIAcSQzfUiuetPqidu3I6tDLokII+LmWjxpaVaI3tSWQx5rO/7SgNX3MSIhJ5ROxW1nxvXl2FoFGMAUvnHOSMOh0/OPmimp2Hg6Mb2xzECSn6vhvqx7c6OxJa3YtV5jPioP7VFFlGeE9IP0wHpdsDZEjZNX2LBI2P0LR0wAhPU1uRcyHygMErBig7+vslprf061ik/3HoMVnapZ/PbO20ZmqCFoI0AER7i/0ZPc1oVV35CWXMdroZNO6gdFoxMM16pFzZOHMeZmkECsh4RoPdYJzBqCf+0hxGD33aRzykW3fb+gbfesQ/wh0b49DkURlUosOm3/C9ypoaSPlzTZLflDbwsatisJdOhkdfC2as72RC9QZbTPMDI2lvy5c2YAUB6BEn0iam/gsMcEhtbmQ+dENGh5ru79KLUHliQrSKZyMBRG/dXQxOgY9/GCmPboFOg1061m3VwU95SrbGJq7AvNXUUBTVn5te5xPljGI5WimhDST+fGqzBXdq5rhMWkQO0yxNuu/Yq9666OBL/bmO5aoq7vAlvU7n2NnqTauTyUoRdTbc+w6QFM09M5tiS1yngsLT3M2HRUFvdbiDPcvhoW3YHwqGGxkiHPPRk8cKLiggQTCYLwSLG09k018pD0xjTnYv/Tw5U3dF9+AJZrgM7rltNxF5PkyD53D5G0OYYJ2XHDtLlcUBfqg5Ny8UisJ90mIVmHDUO3CsFf6aN+WuTS/Aue1yxVfBquvSkcEa1PAIwk+6E5jpES2FyJ0BXf+O1FP5r0ANYXzGyjLP5yDF5FPq+qAaynFcNn5BkHDkCIRdMvhp92EEYHsTIdJFutsd8MYS2zb5KFU21RMuD1NblymHvONm+jk1rUPWExmVvw7HWsdVtExyS+sXB3WlYV0SbydHmTA2AiWLfXDwR2fRa6kQAt/LAAfzLYKt9yaukP5qpBygy0kKsFErt9uYkQWUDf98hSG+Vrm21IkkuDRD5ZRMBMIsn2A5XWFbZoLSS3TrSqTcJusFU39NXxNhpo1RqWTajEq6yM1oGzviS6uyq7gT209fr9vup8a/VGcZM1jCVvY0s6iaK4HofXuoglrBql0Sl3Z/E7AT+6A2WQuMhwiCnI7goPGa2k/hT9GCx3bPw5Yeu8xlbM5/zQjUC6ZHv1JWIUBaJSGj5MhMqS/i+5HyXTWnUYJ5AWRAzd816rwJxp3jq6W4ec3s+FPgG47D+pbvqdLVxNKBRJX5CSz0uM42kW/vz4GWXDoKzqvfWs4nneB8TF8aN2UfmDEREG6dPGFrPWvTIHTiqee8ARB73EXdgB//CiHFlwVUzH3snNSmApx5LIu4LLrFvrd7+nX+kZ2x4jUxL6kD25H4lQNK/0pQQd2cTumN+Fs1Bo+rp2JKMVRS/ju87cZg/xBdp4K+xapCeYNGANIGzt/YjTJ5e1d9dywsEBG5W/YrO8/9c4zsj8cVFUHiDObQIhKXrdRziI/o6UqQvNDB/OEOYNmUNbHYi558hD1LaNtNghPkroIx/+jdgTdcSkOPyNhBVOZw34lGlUDJtklirGQg3LehZoYf/wZnBRXMUdUQ7J2/m/CY37VxgVl11hYJWtPVPbGDHD2F61xll0qNGuNshtv8J90KzxwHjK1Z+0GCNKTPAlNGzuBMxqQWuxrlUBcthHtXEdTx0oUCUNc0BYnXkJesghl9icM7bRJCuQ79mMJkIuZZ3yxAKjtVc3aB+m3mrcrFig3ecpTh7lyFH+fJrVMGi8SuQzfT5pPntyTzbH23mo3dSnXvhgDF34TRPiCnjscA4tHEGds1hIUsQeShp823Nihgbu+1jLTr0Lyz8Dk7QciIBvKjjSNMD9F9UmSw/DqIh/WLQc9btytlxdX8rzukopORUsSyMb2hBNdq4YMP1MLaDn6GDuXTAR4waDMP2TGkf5wSCx9tVgEjwkFPc0pFHvYrFUr9jxy89IWV08Y55DV6ejAZunpfO7wGP1F8ErVVCHw+ZmQ5esnTbKmvk+ihS7W1D1dsXODOa9sACO4UP9c/cMJWGurYKG0k68+1K6OehDlacr3YlfUMfzzDttVx4y0wA7NsmepklEkshp+iotfwiyVlLiTDRbdC03A4/FECvYCwBf0wJk4MJTYziJh5e4U+z6j59nBHSCde0GyRPEoGXrVrOPvavvbTgjmMTJl/6q7pYosKWG3Szk6HinrDn/tg+E2RMMOv/pkEZHugz1B9otSkDXf1hUHrhVWgUf2uth5rYGl2bSWCcEO8I4kzhCHSku3CIP5djV/14PQ84SuWDvuA5YbyyOa48e4lDl4azeylp6MnfMVF7Yk+0sHKU8wgD2bRKkXX5KY4IKl/h1ivljSkW6jTukYfQp5pcKVg8WR9JqGsWIkDBDybB5s0vqSzHSMQOZlXQhSkaYQiBIG6a6noJ3sHdCSHG7K0jH2OBPvj4HAgyWUt7xZorN/igIGiKmLXug9wyzKshgApbpc7gvEgUcvIVUu/VLEKZIoTqkxPHr8Pg7e4c2wJQhusbguXFHARwbFO4MhJ49pRqIirkuaQourwHNoRgjlpyco+ySbpspxQx+xWUEtPv6ePjOZa9mOkGSffdnWQNZgEk7flMOoWB6MZdk0nHIC+fF/pkUFiROR8X6fQ9U8yOzcUOqh1jvF7ge9oJfJEPppCOBtguhIGg/JkCWGfeGS0nvg1HT2ReA61mxKdJPlAPAtsf/ntp0bnwaeHlcKcoIKToFVCCTAewWTktsjzzU3F26bHwHRBm5D9t2Uah+Tiuq000zR6In0sw9D1qikR08GIqxnWVmOHwFHNK4TrPUReZeI+pNzdvH/hgvTIk6pXov4UIrBLm/yILm1vFW9Y+IFsovxxvcllWLHInJgHlbBgFpI29D0TVnirfWIEZ3ys8nBUyqCe92fhAeYDx2xbNI59vmOKUFpcu/hkQuLPi1ustQvQWZmuISv+Ckrm7Hpf8SuExMoSd1+tv8k0xbBzy0jYtoe7zvr+uwJGSdnKQYewfbb72YE+EqdZZGnEj/9gU0XPMSD5TfC9cVYjakAUGGiGRtHycRRCbXX/udElIcwLMdw1ooP35PEagGGRsag+dqE4QwxrAlN/BQVG1Pk0hjys+RXTfbjNNNsSHiBzM35HT3ntOhe+VGTpGHwDswCCpLXLkf5CmYQ0EbAlp7HZfkjsmvQvyT8d/PMauNoxvKwFQTxC3rkLRkgfOuRQEn1uQm41J8rMPyzEnJ/ChWgGoDoYMwXIwefAqtgnL/HXCvGGGCYmfAwgPn1pu6Ft1rCpH10En7Hmad5Clw3nIcLlAQfp2wteeSj3n0utd6dtJd/KVTa7gMsvXcQ974VP3TOhInkOHLmukv3LTuPobO/BexusxJQuipmmCEJgxI/leZy/yIJ6Dka6hAnTN+uOaB3JSEtGiAV34uzAkI5LqZ0v7eqdXsKcwgJyA1Zti86l86gSyhwHIUPWMjgEYQRqkxEo/XuyoN5gOG64gnc80Yhpr8MrO2mwWjHoL60WRTbTkLFWWE+JP6Weh4ZEgiTqUtqASg67iTFIrjvqJvOmUJpiRUy1Npww660+Sva+7/L6IoszYn8HUk27ZGhiQuI/8MlZl8Wv/07oS+v5Gw0Dlkc12yuVMR79yzNgbyXO7+Vr62l091q+AlDfpOs8pcNhwrWuMy31c6T/+DSXfpRJDJQY1I09kMvWtLn7ns92I7aQmbLIhbgddluzbeoiS1364ODY6kZCLl2SusG+asfIY073ejqVl7gc+yInbDaMQ2masCTU4/wHKGlFfr+sIk5v8AyiVAljZU3+M1QcrZFDST5sHQIXO5dE6NTpKPsVK7D4Qc7hzSCs3jks4ItM1Tv1R1l2PaKUtXe3Jcu8oiot9lw14t2a05DCrc+fZ63jVY7LScZNT0wzPnq63JLa78fzGoMLa4DLrLVq2m0njYukhMqNYa9yRRo+w5NuJVSEXGEsY83htB4VED7mpfMa0gZIJpl55v1mt56BYhDDOBXJYcdO7Qdgiq96kjD3WhaycsZnMonmL2HKgQf9bz8k5twOCacMl+/JZaq3GxdsrmHMH6qF++nxTv/318mr0huFL3vWtECnx1ktmTgevb4/xTfYEcqvYZD+5skUJIAhKiAAzj4Txl0h9IcGt2ne+UKeUw7uQMNtPA1s29Hct+d8JhqWOdBusxq2KARCCkUmCIuqLPHfWIL8IiS937c3/rndlAFEqOuSdHtFHoetKDY1sUhgZvgtpC1S5KOzht6H8/gTFC/IZSsUMKkDderX9b6quwm209BauAp86DvRLQgnQVCHLLGD7ULYdJ8SfWWB79okfRUDDtpPVWpx7Ro7MOnw7bOj9IS9TGlNjgX79pZdN/SHcX8KyCBzuZYNziP5Sj1jY1SCzv71oi4UnttrvoffNM437r13i1/DyItNkpKwuYXtHmUJlm3l6JeWQxn+h4pItBKV7i162H5nSSlOSeCDCK9vZMrjserspAc6oMdE8J+c6TxEGVEBJoQk1koCAbNBHz423dlOOLBwez+PYIDiAn34grtbJ4CFgJ0gybCH4UrVwC1tIEsu0nto+ZskTIHgiU1DWS1Mc3iQZJ230rusBLea79Udx3syG4enGy+X9ZhXOsO3f3kCsn1UjUoyE+oJZRhca3Xwgs1JU4AfmU/q8Dl0T9Vdp5YM9RxYsUWj3dTcGt4TDTA9U4bH1S7r5ukcAUfhjQITcJ8rXb0CceZokSiS4JSemg/ue1tYMzqVJu0K/0BRxPOPuNXELRnM7zQBUlrb7twYuaKGWQJtXvnFQ4NJwHexAFI/WWBIVyI6s8/SHbd/NWoTuYTHxC86zGJ3yC0YB7l+GGI7g5D0HZMk35tHLDEF3SnZ9PkDe9ZbXTpGNX7btif+sCgTnpf4uWZ0c+nVMECtc2Vp14OB9T4huMRmg0nQ9nO23h9rHnoyp7MBESNN4iw+FLEN3xwLDg4sz1HdeVusSWFXTOnPzAe3Z9c54eXQAD/+v+un/mw7UC+fbhJIryT3hoy3YljQ2vUQyOTz1J0ubVMTbRHiCLgvJ9OCOQcJXDt8Mfhe8/IA3qV9U1WBBKh6KsYswChqls66b2RyDU9dj9yqJTCvSyPfTZcsx3pfW3ykMcsaQuKx2umVLaqDniRRDvxcmTzHNhobNIr44PfyhRJxLcin1G9eqIo3kgBOKU0VrdoDT4J8dDKJH3DLYPsK0lOE1i0pWJ2I4EA3LMoMdZGBfGf4gqq4COBOXl5e8PNG3otXySuZVjSqWtOaVAoyLo27/pRnrLxJKtb88Z67Olf9M35cvqS6aR+Ogt0s+KRI/D3ZeLeRjmzEBnax/DpHyEBkyVdWF7Ook6lpiuUTdLAVRTfinGeFEWXjJEd2CQFI1vaDGMRzVH06G7Yqaa7dPhZj+d03QL/C84d7OK0aGRKr+MlAPaCbs/bUcgqS6Q1xZi2AZfdoH8o/dIVQbLbSt8ybvJYE7JhOFqHBZ9KDSlVsK2tPGDmFxwdR/eTPBi8dr22EqALR0o02DInUmf0NiFN4XTWD7aSjcHF30HepnqIc1CMqvJlO+trvJjfTeE1QSTygIhrNmB2puPSJ++bLHby+DV3LQPaxz7qyEhjxDi2g+YJeeIeeoNuejwF2bPkaCGK8ghJ76zTLn3cKvg4ZFc0RGjHo5JXhj5eYVPq72KZ/UE1a6S7Us7YDJyVYDHBICmYIKDUuryCi5hZpqS/1DGzq8qiAj5RN9ghxkqvjcb0jcMf6HcdjuNuuSa2aWUUt5NiZ/HB/m7aNwet5kig1dnUn3AAQ7dfEXgRQ1f2mTRIAJIOO/uAU0MQBZtFivYSqm+IlXvQdhAJC9DjM1sB1mF20V9IP901scO7mFS0ymBpVnMYaaW7xdYwWkL6hNWuRhBxE5i2QYoMUEfT074ULxw08d0qGGJY2aMjGNk6bjbNjaIvExm+WZ0gatBpsM6apk8bgFXfH4wZmj7CP0tWBn0phdlCZo4nliLuw/WtQmze1om0RAyxLURn9R8Ck8EmeCq1CEhUW6uvUhU4r6cH9iDdPqvNAmAbfV4TQ1XgZg9x4gFUam7RSjA6nCPXWPBLOYOw4274KoByY4WLlEOq47Z6q9qgF1kMJPO2uaiT2Emu/uWizEwHIezWzdR4JWMmX59D9m+7HmEzNCWbhPRyUK09wVEQHPQc9iF/JUdU/tV5sYNR9rlPIjNe1RqsEiPyW5M3lArf0VKsi/0piWrAfxPtwk7mveVny5k9jlLRaAboHu9paI1ZkPKdtT2GSIc9X0HlE+VazF9Tza2jjukgOQVbD94TYG8W1Nz5KJr8hBvDGFSFlffe/YBG+/MNNfIqVS7wGaBfAO4fnPDRhP2T7+HTZ6veWS2HdqmUo12+ie54tO9Aul1cAjGr54Md00oI5lMTDtMzxQjxnClyKIcIdrY+yBxLljdwkIHcrbzHrswu3V0zMaDddaNR58DJucHwz4b3tj7OJpwe/Uvx6wk4NeeA2HyVzIeXCjI9/cA8NA2yCbYk9Xf/NdX/KyPz2wW1z7R6D620Oc+uwd2hG35VI/ag4OvbIhpcZinyCVFd2nrMIN9w7U1IFQgWj+9gZ0sQEzu+GhfbfCZOQcLU8ktNwZm32tShIH4NCPCC91OgkKrwnvc9YrV5nzVRt2SBcQjlGjZR2RY3dT+QInMZ8qwooZBFPtcflgHZPkAaBQ1HVhtaX25Z7zSH8m3pi2uZyOlFeajZwknw1srJMZ5wyl8BSQDRLttAPB70q7WE/e23Np2ngWtg/KaQanJM7dYrjXKXQ0PfG5zpPBkcYuLsgWJKylRuX3LPxgLGer3NY+dPUZn2PHgxTSinhxhbQfmDc6Wsn6oiDmRGg6+CgV3rc1ZSwe3xlKTt716JPeRki4dQKXR8UkP4HCwAln7NdeBrkJZjbK5KzNNtpY1deowGZOYD3sVOUbbPca4sdVNyBF6QUOa7DRK4X56qn8TjgM3ej3hNo/Vr7kOTSiOqNVNjyOM/ERUA4E47jhEEi+p9kAtUz4bWrQM5MmInYvwP70VSSwI04q10VT+8pmK3uGzIAVspUX+Iv2X2Bm5uJNECFpTlnjhxA+1k5whJsabb7WkUJnQ3JKJjeUFizGm99vBaqvkpQscVouzM89N1iFs4J3u2HmdkxuX4rZdEgyi9O2u5UPf0oYGl0EpcuLnVv3xZfrFDCg3WJ9u6ylMhQufiweDU4mdQxC5NxJ5/8dBCXdUt4maQIXvk81IfoxeXjwzcRLYGESrVSCLtDaYKxXhZ8t540eICAcE3XmRjqRXOYeIQUW4jdTYDI4lT7TMjYJYsf80XGlhXcOlNLQ2jmW1YWwnF6P64DLW4Q+lNFRQjlB7LqjlkOU+BwkA++HUk2XsSlT+it7aw8LjgO8Aoh+pm3odowqDgaXDMFlxR0KFB0kxA5Vk8EuQB08qSR/zWvhnxUChabDRwHzBsfOlCPNd++vPv+sCzV7bvn9GNisulytmXj0zv8uD3HSevZ6awrAuY+dudoGACETOj/gOsZxuXI4Qv1UcNO0/MJ/c+/g8ZLSaD+wGEaSzJ7r2S7i/KuJ6+2FpA+TUsU/79mh0R0eScHqqis9nJcO0lC2uFL/0lCHGtGv6wiHjk0Wu3BlQ+vvztWjLMeIgr97amId9OJFtojM+c03AcUHGBH9sCFNngZzjNfy7hKhzdyMZcEAQ7OUEM6JQVfSqUTs9a1mLMXfGdimF8n0/d0VUYYQL+UMDu3YkLcYJxUl2nTTyze7rC6kJ9vGmnBucvlfAJ+rUNvhHX3PHzaVUUMupF5KitgEfRZ9mZ0yDrFbK1luq9eceaer8sMaa0k5i97Vy3vzi1YOjC0N5xy4Q7WfrQ7vGXnaaRDKq7p5/fMndNJBIDAgE5ghEJGyfNpPZk6lJUMUWbwBz5JmYaKNE4Ex9H20RIgq2eRyFU89EGM08o6XYA7PdgnYp/a8Ip5PI8wATQC2SiDqrXPZ4bEVDdvrRL/IdhdhgP/ogqtXrO5G4vIVG9HTAGSC8ujXh/G7KkdX04H0SZlpZuYMI2A5F8ejpEFdPj0yya9HF2/fxHiZUOSwM6+IvkSRlNogt7bHUqvkD8MP89GT5jGPwgoW1vcwkSf11hgIZiFbtt6EhxirNnnGw97OZ6GLwp/eE7Gg+fhxiHeFH2kE+o6JHz+OfzR1rasQhtO/tJoxFKXPiQ8vNGEOZ5rf6X8dko2ZmIC7PFGRoqClwFx0gj6LH7BCXR0IOsTFB/1DmQny1ZuXhNEBA1CDmh/Rrw1omiLJe/9WnMY8TmH1qK58LzNzJCSnfVM/Uf2slJgZyBFOEnKymKKH/unvlzVa67nVC6lk04qU3eTGfeBzD8bLfaOXDbdjSBH043m1TWS8L57Rz2mRlKHLp8jc27LVcrqkl2qUWjz2hCyN2I9oTBj1TRt/Z6aeWnVaPJzj/capmyJyS0bWNT7zfdMlDhNwIT6guSIRpzojkwM2UUAs7MWx09qElIJm9MVy5513PNNV5XGMsZ4KPkzSP6YakGsonmxd2B/wvRJUD7c5B9M7e9X1+Qu+OOcR470E4JuUALWeP++FTCZseE0vHXhcdzvtiP2OpK4qBi3yfJxH0etDESZ+U+m3sZtQCKibtr3SvFnQfPwxZRRgI6DhTwwLl04XzDXr1zFkRaenkAs3YcB8JKxgZrMIEP8f0jpiYLtW9kzJBJrzhZnP1HOxPyeuid+TXhTT8/TO5TAFo1uX5GcjDUp1ppk1A9bjJr2xpICpDjpOZtXmN3fCOxBVLeUg29OM+b/ysedtLUx1ESudCqiS/QhEhEpo5l2uXEmbCQWOd7ceBvK0G27n63PSNV548liYoIVZUKjqGa6H8YCy+r6c4eTLhXvtnjjnJ4nxkNcRVOSTt661rRlqUY0TrfpopnUWhN3hzAzhxAPmEzBhk0/R8U/WlVaBrA5Qe7UkErJK9C0YD+mEPOb7XloBb1MrMTkQf43aZGG10tPZVCCN/aYpfOd/XKoLyBT0g/FNjIXI1CSqDvbMf8pilUDf7+uS5sCUVD+7yCSLA7DSXNyFYYUz+AQkEBDdRgy0ojCxy6pgIRP51pNmY4xmWKlL8WZQYuqjL5EUAxW5Dky+6EAFez+U5R8lu1OKf9+xtiZmSHuhAs00kts0Lv9+C3qYbFHbg9Pu4RjQZdwThLyckCyz23Ogh7Th9TKScaB1yKr+kXlzMsQ2r6arYKRW+nUtOFhlNVGAr1JuQcJieStIPJWvfozBqrXNR8Dw59oI/cVOIJ4Gtq1LqwFEwZ30d4iLasbTR3IQAd+CGEZZboZZT2+sYofpKRk8RjEJZ4dyIbnK3+OuGWb2616oP5xttMKnkAhYEkEimGzkO0j1CjIhKnNI4DcopRf2e4grFNPd+A7BB/7Kw8P/VbyXbbWmyNUrhdfW6lEhcQuWTF23XHcl79Hm+vwLoZvvxZQzqgqgcEw6qqA7TKueRNiDpJX346YpIWe+OfF/acf3qjHponpuqjRnf6/KvYd6rPYLqSkbneUayamHnSG6at0tPKnaAQ4h3QZZ33OnymzGsju5iqySFI4yZbh7+3qrsye55SiUhQ0vsuik5NnD5Qqu9y9zmN89TAlvsc9RUF2xD5bK/b769EXe7t0gQ4hPfIcCj3rRkVe5UVnnNArXwGtWQMNWsYhzS2rxyN/HT0NpmTBAbfyNrtnvT//VgpbToXXbdVNTLLvBZC0oeVW3eavvHeH80471eXAiFP4qp9Eg+AMEY6lHob9vBtOTUjfxrgTpOtfJh+bgCyn9zqlzllXarMxE1ca43p2iaDWWMEwPQZm39Rcu8g60QugqkiCjkGWgHNpXASDNaryXjb+113rJxvbtbY4F+ZWnx2Dm4HrpFPyeEJ30fMj9SDUrZyyGg5isINupyOrn2ICaMEC6Ekh5VSfmpdTbnymxDjo+TZ9BYQ3FdpUBFMS8zIYqVhYjitn25nEvLpRYXwWUFFp2/HfXiU/0mlkZJws+Yx0bWof0axUe57xE815MoeXRhqrLu+PqUnKCMUdU2UGZk68jNg5SdgXfTD+nXq2EORdcDNPWZv8WUx0EqDGE1YaEyfTn6tK2pRhNzIyRMm9Sdcxo1WYJBB/Q5oxAbr7PCsEKpBauSXdvzjJnAbjLxilvgfg8j6xt5DM0/pycj8StAnfRCrkCiI/ycZHsWJYpLBdOvGQ5GXSM5uX9rGdcMy5e/FIm9mIyxjbhJ6T/A8Ur8CRP25HmfaUHafzCTXCvWGV87DQbWkBLZkY5STuPp/mU4+g+tP7wAb5T4T9RSWXLQSS4G9kKhYtVAdH3eHMJbguosHVTdrW/TWjiwwsKXLxqfycAjwndA3q0bNmcwd1tiGuQk2o0XUiidATaSSIbRGnK4Ru+ak8r68cKseTHKCSRXcG9iDXOgz5mqKLTkc1mFyBCv4BPMNksVuntjXkhuVZ7ceCARkkIg8r6I5YpPdFPq+lJOd9BBMAdJiRFSQsL1/pshg3/ghTe1Yt2MJbzHj6oYzRwFYPkxTtAEE0Ww3cdQ4sBkzfR5MgDR6JCJUv+PFKbGtN5ALR5ZgMROi7q2vJpmSeAhq8wV/FuTeAzawXy3Zv8rD70F349gfZZKWTQPmOkSWi8UlBzs7P/yxYTK3s2wdnbIjOFos4cXM0yxlJ5AjRIssGQxZMtNvxpzvb0P1X3e4hx8KUQbqZcA3ILUhM9yS6DQ8l0GjKbiTLsjKl5KhqHxO+Ik4qU3voddKbhhVVENYBtJN8FaW/LbfEPZD4DNgw6EGkzpHcZ02gdTruVrJl9cCYL/RXf4Q1MQSABP+PEBAWFh818Am40/hiLU09kwBeE3MrGMfTUs5Kp0jRVJxMG/jYYFmBjyiXhr67n1x6tTznGSsJKed8NFShcxIRcYG8bRH/kMDJDeRlpz+HtWd0rCBXaNlllaya8mIc/jbMku8QxqVSdOckzjpcVzmz33zyXu1w4xg7Kp9gRkNbTYveEWmxXjv5WCKC3EWkVv+Yhm9SgNLOSO/QckwNcA9cc79iGPV8m30dqk6S5N2WLtwErZbnaHGq6s7F5cy4CHDhXsPr+GNVcznPjb+y/6OCQB46hHtPZmpdaJjxRXdM3zoy+iIVIwX4mcU8VbnVOTJbsDfuIyb7q3xhQ+oJOvvW3HMt+lAE1Pat5MyUy/9jAtrVizJpE6Mh2CHtkyCwv/vNDsMK7djVWa159TEdN3OAePntj54+9OjPdi5g6nr0YNMB3FDfVCJytZAMcggTvOEE9tbIriKcmIzgYSHvbObsbLaUGvwMikwJTrr6corEvp4jZJq+8i0CHs4lfmJdDkhhqVhnivxXuLoqgFvWHPpAUjlKIpKm9h1ott+cc76qSMCTo8ZNhWfNqqH4iW2U2XDoA+Dq8nCVhGq7E7OSB6fNLdZx+xxdMVQjBaklLu6VHHN/9+NP1ed9Jv1IZsF6x06bp8yHKmROU2s/M31lSlvON/CNpkJeWxEijAJvWhlM0/PCQ7gfw0fNXYGlW4QsWynx7gbEwTNiQp833LwbpM9culnb1AYfLe9dri1DHvVosVRB8wFNc2GT3831ZPYMn6KmW+s07wGlbLaxNQnDvKGDu4ALMzDyClsEg4hUkrsul5QPj2JEFCbxNVAQedjIHoqDT3zOQHCjm4UGVomnFVkha8/Vvx11o7sHFFReAeDsBrXxJEDLrPvQN5xPBsBghtJfcf3mlbAix6QYZ/9yW3WsB4qpsM7I/SnFzKkkChCWm4SGy6yIZcO5TdVWtHk2sHLD3DysNxejpq+vlWYbYFhw7YT6dh9jrYMorg8WhtuzzOZAppGK98khlrHOv6CYFHjvyXxX698RyKnIldmOBTGdpFl/Z8Wl7IGsp3Z2dMxl0gObKhsWFU1wPyyP0LVLpfk/1jdNOznG5if+36gVkWVT1xawsKBgG2B+J1kGzGU4NGs5JGUV7Gt7dpLbxqqgjMvBLJDYU0L5JDeja6aTC5Wqy4bTLXPqgeXsBhoTyPxMeRO/294wiowpATdto+tGK8xIYtLTq7e/jvFQEisZQw3zjwtCUrbJRNMZ2zDtzVo6CB0BJWLcrAYj0qFwedtHEpsskliYqVbbUROEYWp7zUwPbjYwAxEdomtBzj5LTR3SFCa8IJDYD5fCisIJA32wuN8y4eqtPdViZIe2TzhSVW+XXf17gkofwFYza9MKNLpD3p7n0jFv8XCK2hzLd83eVKd97uqZiDmgT3capWw4iI2ugyZ7E9ZeSROb1wgxXbyVVWoxHIA0jURW9yn3XjmcLHEfcRhQWw9wWBN3LbCyL+fQwilg2fNmXgZDJwyN7e4OwT0zxTjLIA8zlquNT5fHOG7jD7ZiDGwTcBtkOLvsWBQUagCiDUlJfiCHhNVruUa2CWsTc3F5up7qtQN5jlPHxzX4P/GTyvX9KWlfV9nICRMqt/NtIm3mn6K2fNF9GnQFEAyaAkgVD5xQu/KlpnihbMQ1B6OYBTO9Q3VGO510s5noCmveTBx+9YyK7KSNxKc/NQ/8srlvF0BpmMz9tWQMEQhXc8oqFELmxRWZAhmFWvKp64p2p4dIpME1ajDF/HAkt6xkXTdf5vXug9UTzdU44QF+b7D8BWXLyYF5QxgnnlwcTvKWftXKC9qzJgMXbplTGnlm9f830qHIAnsngGIxubz/CGBscfkFiBDlBZSsuCHHu4s5ZzMS5clGlll+sAJv6WyUgKMBiCHUJ21Xu+65+3Ee09Hty/o1vfli2foGwZM5L7PvZPhkfgf1CmqgsHaeGYn0svDp6OyPNW/P9U2n4aRKJCVWungj2ZQW3NgClEizFURiT33hVhuaySkuCEQYJeSqYXWU9CFjNAIrRBWLR1xTXFngY+9HIKXXzIOn9O8STyaoRGSC8kaCYpKVxWhCRT6nfRwIDER0BRCL1i7n1q9DX0QI233rzCZud1NtrR4UPqwQXI0IR6TF2/e0ZfbBl6Y+LJydCN4chwPtYTDRkqC6NIUOSiGKdnd2EDorbqIHW4i4hEka/0EsTlghyU71kqrNOKuQsv1o8l7ZQW9bBHXRJYE+jl0dzNOAjTNRpYonB6gDl1DgP37MjngBSLc31c59K/pxgInqI11FfllXF8fQ1mipWgE6JaZhIo4Kc+JNXEk81EI3qhSzD8bHT9qIiJIniYuURBJzdBx6putEM01wbDZHhxW1PoKkj4AfwEQg7KCrYL/sUq2mXxtpm/Gd6TpjkZxXzlamTrH62ZOTHDeeiVfZD+IiJYafbhGLuno+5wDNWldwS1Opb1vDFrvDNrFDK6ADjt3JeTK5haEQ51W3mNvk1mYt5pXrRgGlaz5HMj5yrqBexjJNtJLD1PYHqpq8Z+iG/PQGc5t2/YLWe6miANthXkWnlG5Luw9EVqC5pgdrFF5hJ2ZgZ0QLZaqm/Do5IVEq235fPSK/+PQYljS7PHEEeQiGTR6YdcbAfBhaQSGGR+I8xUgKJJMznroUjlj4JxSyYWJiRKVZRqfKe0FLujC4Rc79SAfc9E3d9c5AVQ+a/Y3bsnv4Y1ydmO6tHkhSjR0i/3g8liCCuKC1E23CF3D6jHXI3rK6GKDqIo+e82ijoB4R1pKkF24uKS3zCzyg7+Xg++E+M/Db0/7xguQVpQnlgE9a04JSmpEp0A1TQNJ/NSQiiY5EHYurymWf5zENYqBwAX5cuYkjzNUdJ/ePrI2Vx4niB+mjSCYJ1iMmCY41XLm/tkmwSkXlahYLI/leAGCB13AcwrhhwIVbCweEIFPLdwHu2L/q5TWgMqE47ROWugFhIVG4SmqjtdeQouIYW7hPMjPGkqr3HdQjT9iRJiL3vUvvlpfmvdBtO2jaXpVXAaKlFUcPz3WzcvOTXiaep+4PB3Vh2juF/+QLEeVYOGTq4uHvzGB6soUKjqFqKSSZRkBQt7k44+7VS6F6J68dRZSSWwk/yA3RXTemgXIwttcII9Mm7e8jERXOcYztbJIUaw0pahpHIwzCmz54p5aTTG41YVerXJNBzIs7vIRF2WHsOK2+MR7bqe4PcgULzLWqce0XDnzP9Xjww5YsSy3IzpDWUgeld2hgaphbHJKkpoYn5O23Jwcrg58kifN/BOi+X6nvf0W5b2sLbyKW+DR1D8pDcGyW8Q0G6LMYwIHGw0W2iR2+mnciaqxZfCRJPOZGJrQCxWYBUG17KnMici+z2hvOz3JMJBMN9yrPRNu+vV8Liu16TWifwMoyJgL7hHYmzil+CQg7rvyHsY2O8Y4h4sgoLdlk+Z7DDcFZz4AhKUXAkbmtKiaPD86nTDnHlCILOZRMd9YZ97d/Xt4d8essn2rLVzcAvXsmdQgb1eBVCYitWN6HLUZ9MfI8yifOInwQjb7G4/W+bro9oiM01TTV2iNYxuGlKCYEu9Ixp4qFA/z5IOJqJUyFhoiTg8UL/xjvB4MH9RuuSEQH8aneApFo0H1zVapGYJoN7smwH9cPaV9RYuEnIgdK141i6Q2zeQG+MBzHGMXgTU2c9EP76HTZpSVDPJRhZ7UwFkEaVvPPhi17BpCdUjWS4Ya0d4GTijKT889GJKuvACjuJIu16+77GezYm/yFiIfruQc8w0QQB7kKgSR1LCgIj7itKgg9RdKbmS8eYBjCY3W8xIEuVIJHBQZzV5LpLlw3Lgz+UXgwYnhHgb8CCD8vXb3g6BZovJQm6a/NZhRpmdniOrfLgk83186Xaj8m9W7cMfgGs3L2bH3cyucLs3AXmJqEiCmYVlGU5INnZLu6rXMlS1q8V9hOz4ZlglsJb3bIgyWIdvNU4ADMGpPaFWzLvZNmNx8dcapEKhhL5SYxpFSRdyrvW7nMQhsHSbxWCPKDYHHkNi5fR8fRsz/2fGpBiT5oiFKjHX0p2P5vvGDRrEzbbaEiCzrtV/fmvH56FlwiO6p0+iS4GpSBquiV6VsTS+FyIX3vOSVZ1QjycfQ3379PnewMAwxB0hqR5+r+wYFTguzf9q7Um7eF0hIpyWBoZqFE5q3zS9+vk3PmBguXdbYQ5akORBxru7yN401JLTDXQsIjUdDd2HrOh3JsGwSqXRRM1ykD2baf4DFnQewVUI61w4rzWzy8xAA8xM1biKuoZSk2aI6nAlftTwGYgSF6o4vkZzuKBTneaKDVLjlR4/LFT1T+rTjkJUWm33Fit3S+AQXu6qKoMklMCBcf7Hp838+ynI7c5PXNXAoBLM+9+QZ1uc7LD4RmzsIXnwCGzTFZKpaaEzL7HzJx4JtNH7BQYVlNmN63+FYTsS6DYn6rLH7o71oxACqWtboKLDwKlLGsHJ+W7PtTjAUStDrMffW26LrQAUvRCLihdynTDqOal4/2dLpgTAKgj7T5/dd4Eb9SM7yTEBcciD8fEC2nmEsentzH3kU8kCejw5PAHJxxcOPMMnkUQ3jL2RkvnRD3WfSdin40sKwZogzH7EnMa0SdMLBAU7srgzECE9mxn5fpAbJ9x8Gh8uGFspHEMNJxUeVrhiS9O8J9WM6JZrMyfgR2n3HCAo7AOwE7eAhpBtFfa4tBtYPM/r9cjxEpEsU3IK1SnhG9f8WKKJVEwlB/RGPTdQIcvw/VHT7E57G6F1KNhEsm4p9dvywzHA1DFpcI7vtycSokikXIbwMJmN507SO5PaxIFb5erM18VUaSVlobHjyN3GqF0TOVRMQLnlChNCW40aTA8zP0kHrfjBSoj05Anq+R0YpRuM1aPGyoKjaZi0tMqDjf8NDz4KkiblfX+4pZ05j9FgHMhQ+WksukHaX44BtMHf3M6wQwRSuujmNA6AqNL6coDNYlHKK+B+zRegCoi3dWltMI4bZHw2hUwytDq3pFlRSsl+DMtJdxv8ReLqXGxVMCu7a4sw+PxfcNdYtq3+41GNs7pk21UkIYYYi2gcu5EIy6ct+S6kyELWq4ya60Yv+1l/YJojIR+YQ1wqOZxOTCUCNUiO1KjozN6weuAqeoGr4L4BbgZaufVIYxGFXiKKgBIYj6RXjmqecOrXAiIsarVOIZgxG7vZwm03DZE+U7TkifWuRlhSQz3MqeniZxywcJ8AeeQZhTiSQzWzjNzSezfdelekWfFphCIlpSU7ugvnZMMLhl47Pb627GucRYM8HoNds7uiULH1WbfVaNNtTc/Dqqhs3vni3W65G1SED8cQeavJe1MFkLZhco3mCnDKhVlvkmyp6RvlDoFdL0NQA6MK6nHM5En4/f3q0tl7gKfVdllUi6aqEThkZ4VVB5rdVwfAFCVSo1REp7LTsB6/qcxAFrtxcFrymTltP7YuFOFXZO6gW2YBjDvXm6HWCQ5CErs93D4OykErD2/4Y4Ne5E9HyQHGBXw0FieIvMh/qnNIT8ZUdPBT1YgR31M05qQSjSalvbs7AevbvX3wp2h8fkoaT0neXdqXTm9fZSmgxS9OzXuaIAb06RjK+i67aE/FEODGe9gbnC5x8pEOWvzHA2xhhLynxcEdhq07cCwbfPORujwLtlMMGkyX1hLxNR3DywwtlsELtI7zjMexeiWemwYCqqm7bKC4qX6jJCUefwApE/74bl3lckrM1aLSq/uHEKC7ztsjVx8MRQzyeWU3Ro1LqwxyIHsfEJqVwbzXYn72AXG6DmA3/7uWoqwR4Cpdqmj3rQH/ymRr9iVIJeamxV9ZnrA/pIjnqyNFYQl7uQNC7oqkPXDYH/iLC8NCGhBgmZTNSlZz0EdkZRGHh44f3HZKD2cQEK8ZEk6ECEDjDcwEvoSj1QrbItwZurbAa5ArwRnMABaP+qKUyUKqt2nYWwU2CSWvkBF+VLjk+Z1cph4D/Kvuq/qAYLl/RpoMw+XhzZVo1SLHLTnVqSTatrATjuuBtXz4Ctoy+HhxbbbqU7/SqqNcU1cbb6W4VvPe0FxR2i/con1M7kWF0535fr50gsw/a3OB5hNvUHYGgPHBFTVS3xwktXAQNwe0UzshAhNt4cvLI9z8zNSlS25JBGtHRq23sFA7ZBhRmZqTmmQlcylydbNXtgZ0Yv0Q+U5i8czgjCpaeK/NxGCDKTyh+WHh0VQNfS4IXhFK1ihVZNHuNfcKWc7+t7bJ2D1SSHtI3NZ96ER0fjHT+lZrFcUZY8834e3vF5c8VTW0M2u6b9COHoCerMqj+/OwM5aih0m7/K4BLYuzHlsnNPKMp368vZP3c1pvvs6+nlVC5gz/WouTCl3POjx6lmYQquP+20Mzyjc/EP9zQHCl7ZD1uExDDi+KqVhPBkeuvhlB3pX7pcPLQeNp1b15KWQHDXdq/yrp10ZyluCG0sJcwS7zIn4ziTo8G/vMDc74xqEPPzxhJq/9MzD6zileGp+d//9ose/VYxa+2ihvkLrVpm7riXlHBvYtppJiTKfKhtIvdbXuOgWxWpMTM7PihNdWnpqnOQRjP7AS9znPHXvtcAn7OeLdMa1jlWBPo+v0f50cJ7DVYLb1t0tRAIVYdcpaU4LVMz9Z/xFfv48OUktBOrqP3g6PkiV4SMLwvQxh9BBNi+rm1frxsF0Cvo19QEGF7sV8458syerVLPRZ5pqZrER/jRXMGcGcIsCCLjLzmBCdLBAi0YhinK+4RXP9jADEsVj3YPdBvyX6811zJhfWMtwkmZBnfOcDkL8GMoPy16EtzcDB7/S93FbAwneLyvtvhBLU/VU6QZHVRli2oCbCbTRHDoVuWozMtzXQRCz98IsFPaQbOeQ52wEUQSLcFVsEgCWh7wocBn4pGWtlh2nnN3SSBbLCkblyvv8P/aqZ8lAP7Ncpt0rMejePag0cmNhLbkAP0cmNDmcn5Q6Vq+ZLVZzMEux3d9Tve2ktT7Z5lOxx4iFS3nJpkeTDTfSSNcOrdzlrqUV6RE/l5XR5Hpl/ZEU31tGEB7YdOp+VNBm1s+aSPBUmOLTqGmYyV9JnZbjIhUXyn8nGhKuBmA1e8eMJiNI0LCmkAi5bDV5PKRcwbJJQ815tE+m96GY88XKvA/aatgd6bd5TIa4M2xitzg9yMPZgnXgQ6ve460BbP9G2fzMWLO7Kp7FpVOomZvu7c7HkxMcBlmBvtOokrVUEXb1UheR+NvH8Dj0GWdzS+5RaDHA+tXBO7EBzluc4QEUlIfs0T6SvJKlQy6KT4CgHcXYvNnG+OKZxZZMjM0Oj+AsKMdlKtvD2MXVUrXgpd0dU/IQtvuMNWwu3n6WNYtxbyON95CfXs2HtbCyuwItnTiU6memgQvotpS7S1hN1llu9MPn7NFEsfk0siBvW7sHkVuOadlYBBYbA4sFmYiGyPk1jibZv2JpefEOSOCVJ6FqKKYjUDlHX4sIbQIONVmQEyiHY8u0kvzYt9yxfupPEaPKrOx/E2CI2MQTjN88yJUylJyTPx/fyc15Jz6BWGgqvxPn1XS9RI7Zxay1TW8KVUoChqgs/hVwnO5kjpBWTXTuJJ9Gu53ZSOVTvsIXZcCy1c0SKhokAu+HPjV78vbyyrRGonupEUUJwsk+d/9Nl+R0uZAX1cDf8K93cr0kOURghP1VKCK90wemo6WBLqrN0gVswwLcEI+3p+oL+DAzeY7u0d3LmdhfYpx6/jJBRlxeF90CCmwaqDNf4SWX0xcPwzc06m+31h5urkilllr5PkqDJjWgQZwSjAKj5iVPxVwrmKq169BjLoR3FWoFxH5Rfuxov6kfN3OnUZQJMJr+4HorLslGlsSYUTxMIb1alhrE1nEJQWYCqJwcTaQbRWV0DFl9CRV7vX862zYaCy+j8RIqb+9tj1Zb16wXVDeZl7CR7KpYF/fb2ZSEqpZt7p29Z0dcj3C+h3awRGoRmziVowDBjpHKf8RxYRY2M9SJmNjf+0+f9zwkWrfL8lsno+MQIv1Izc91tqslGufFlhLDM74ATLUv0CdPEjKXujFjw/W4Kqfd43jlAdNJT/7rC0uBPQuqaaZwAvfKhMalWQss3ayEIJXiD+PKMkv9HQCI45C1TQHwGkQxpvV37fidSrytJbaXnc9o3R0E1AhLwjbuZ9szA6up8RWrrN4xgbG+XAIpgwbuKoxyKAU+MWMZXDXYxk59LmapGPxqKgobimzySwWGTfPcEcDW1w6WajBJd8ibtyMHE64OPi6ThuQH50SfAk6dA7ERIr0eDdZY5vZwZoNV69btO1Mg9GtubUUG5heG6baHP+oFuUdW8DYhlSdIDqrgNfG7kdC8293taDqMiM0LsHHNgyYpY9ivcAvERj1kHv9yrAYcdrReEP4nRQKmwulOtiUhvlITgdxGvJB5YZBc+8FDicGDnIs36UgPdHCrby66wEbQpw+6t6tYoSS4ST/zqDqF7vpoNwCvFdEjvE6NlQ9At6vvnDU1TWaoJUzXlO5PmVjmEwmkL3vXBYV1C7fbRe0qED1nm4Vp/AudbutWab+YAOMnbR9yI0JYYAtArQmbUKe3rG2eiOMwFbH6cFRQkDcXLGHb0yqsps5ihHbZvlrOnIIwg+e9fzgUSRZkj46faB0jKfvHeL5BeFm+uEdfusij232zTBnl174h8VOyOQkD5ZoJ4ZT/OwMwcV/od7IQJgpSsbgvZcl9UqzzHH9lm6udU6wg3bKhNASreKYM/kNtbqGNviSS5CN0CPoqUQkwUCiCiXef+1JOwKDEQ3AWgE6PLS333alMp8uB/WoC2mcnPtRP42aJZgIAMPBp/4k71uH88yW1nRfpdFKpC8tlXYyvUzZX7qpFStvRqJkK0psJvM4n9e78pMd3x3b7ENDolnJg94qDYpiyPdu9pzGzkjeC/qQyZCOX+e5OM5py78USRFhqWcDvGH4ZhpDXxjWv230UnaiQMmlIIn4cnJLp1ysWSjhc+P6gFHc+MnxpFWCuzBjmdfOCr+NpVuS0IyH1tNz9iTY+TnjiR68fg+EGQ30GKyuIsPhGnGwO9YqKBFHGKPmZPPQqbV7VM8E3GaDF2lEzg+O3hQB4CW+GJingaps8nBquf8mshKaTgGGLmG9aXXFEZGcij5/Wb/WDjypWKceEJGi/5GkRxwJZCUQxTZAFbElgXnsICZBqeLCYxonGKuQ17OJAsK+SnvDjAwZjg1NrYxWYl+x8lvy+hAABBeJ/b5sWDgoFD1xh9kX9AYBjCll0JUVDZUNGKG3zthy8BwXNVvohfC3gf4gZTfHR2EWCgoselxeQnKaQtsSgLKfDne3GnsT5lFeP1+Cfrl5CvD6x+vPON/6hBucIudDvxA3J/lSeQl+9DU+XZKdKTkaTjbHkw6g13nbodDItZ2qLUqVQMwIcoTu5NSHJCUwK3DmVts8d27EA0jSExtBOJZrquxJIPtDxEv04BejdLhyjCm/hGbFvUXM+S6zbeE/KMk3CtUCPREWeTyimeeMsj8vPPL7ppY59YngNAGwBP0AEZNPaEdREk9MT56gRZUD+WobIcqw7ZxBNvY440OStAA4SNT0eTHecsgrFaO3DAZlRSp4rN0e26TLk8M4zML2FzONyhuNxCD/SzJMnN408zAFSZRDwxEDljtYBIvGSIl1pwVm8HuBjL0pLo8LHRDD1+2eV/gSPsJ9si4Q+RJcLgZ+FfwACLpocSZBSyx73pnvTKlC9LsZBfwhx+fhgZ/hm6B8iLuhYkWmk8ptl/HLd4/zhk1jGRZe1EpKGTSSG0GWxSwD3YuQx9Z1zLdTOKpauQVCa0fel2J5Q3uF72EXg2XqUAvg4CTyxESRpUHQcNYQchn2kWzQyK0vKczrAmublNEiVA9PMnvg3A8mZazfh6cmyX0fIEgeO1d0qvB+bJtVAvtfM7U1jUvQTLW1k/JIXIHLj9GDEM83c9DySotXKGCPjARcKU0bUgm/Vq3Km2N2iprdQuOp6q0nqFRC29x+xow7rdTweipVrwi98d1sWK74RqlCyoTkCDBVDPEGpnaW1E6wi3qE7LrvGP+Avxv9UmmZ4rMEPMdhj6iNOzUOVu2671cYSOvyvTUiGWBU+F38UxlIXDlgp++pL/3MaeVdjZ9w0BVKyR+sHIlpTdF5YsVGTPDG/E6nn0T0CrB3s7bVZhmJ968tnV3d00BYHeCxxPqelN/6nj3DIN8DB+BOmdQiqOcjA1MMbi+/pgwCZrVUaOa21AjAMIBhv7enm688K0K6KFoP76FCwA4wsQ5OXkguJNlsC+Ptc3F6sE58SYPAGUGAZ0U+pjGJeMY6LXSoCirgnTr+Eku6AxhfX/WJg4xU8DMJi5MJBXRscMehEGvTOQGWpT3RGCzg0YOGQ2iBnOyMnbiPl9BcjkVUJMJyGcJqsd4Km+/NUDmGcbql44lAxsr2uL6eT3q7amsqRi52Opo2Nxhvs+3NFd+SqHY6e1Y1THE86y99ESIL+7tnGQSj8Wc572ggdDKRlnTNSxtToMeWeoZgPyCWuTsTfuqXv84U43MtvjsH5qnYSyEKaRxRC7BZeroIbgb5tVanAg7Bj6IXCZB9R3yFYZBhzGT1GbBV7WxLht3S820/PIk/+rHK7Y7iBW69TpshHkZjO//rPWWaB/dryj9vM5RhODJgn2GV0H5fkvaTsiDmDpeUul9e8oG/I/VjCqLtCXlTo1f9b0AS6ozX/TL5J03yvgsj0efcMH2Ymo4ziSlwVIlROHVZ+rdwlhDXuq+HO64isVnclwMfciFTe3Q6ULMx/GqmozIGkJmqGZZSmSquwefHJGTwCJW8vUGaO1VAhPcNtQQ1fhof99RCOtUoG7iZnLHHHQqUtH7DLpvhfs0MsGkSH/VSkmfYvRkngsdpH6Kwsb0fWcWoMs0rV0xRltUjJ2igfbzIAbQoOibKXFdwz3OaQia6bNPPaTvIal7dx5e6piLXppLeYEPaRpz9J934L+/FNlUKWCgaAI8myqYX61n4JAYq39MUHf29/mqaHIDbHCnCkbAlB+5dWZudBSQv+06VZuI8e2FsvGZAhQhMExYSohVuaxydC9b2IQlA2J4msNXHerqRcAdogZbg5DS6/ar+zlFTxnGOBYFeCXZkulArFQ4o8+mW7trvKzmK9iKl0ec0+F33VfNGcFquY2/E1RPOJ4UIdZfWQO8Oe8HuT5ubmbrJ31lWnbQE4gPn/+rmHUjveKuUBKM7dhaOC92UaSc/bBrECUZc7A4n1pKLtb6EITYL3rJ0AembsupSpuRfz/Zsyem0D/RQIgqSUBl8qPCiIBZ60Ix4J1BCJ3YfF7e2NA2icOqNwjJnK4dODQxOljspPnO4wxFEqGyXAAUMF9+K5Om+5IONc3c84aZEfjH96jHXhBdYMZgeUlarkSVIvixbq7ibN8vLXehFUvHKriCJXBeCZfN9UObDMq22tu906ElxoUPADAybBJXlQCcHG9TPzfSBr2KaQoYUO2jsDCU5grPF/NXsFXcBujgVedVd/nJhn3QHFbqJXx1QGa4YIYzcdfu+9KyLjbbt4raZMXTH14kxMD9odcGt/WKTViaRLI395JNPHY81jhJ630A5B+HK5hxMc9f85GkThiOyIO0XsmO1JwWpmV9OMCCySYJJXJUCE4LPzlt8mE2NPKCMdcojivSEkUs2lVBim6Gyq9eNQ17MrHhOquM4ohugA747IvLlgNW2alXYCjkTIJ1izb8b/iSBbR15C0EuSD8z1+dtTLz8y8RnYpcDHvHs5LBt04QkjXxtSKHZpredSvDgj9pfRNwMKaXWasGAg7xMyG8g71zcl1DQ08GqZiPxrPKXkBwiPQuZKXy6QHWlpPp8V9B1tuIkUA1ff46rNzB0Yr58QNJbZjmetUOehvh5b+ABBjJurze18QNJ7LF5IoDTK3ZkrrO2olgb+YKFtR4bBShTaAr6VmhAhh61EPFH7OxVODiTLKEw8ABzp1r+meKRMFDBm7tcOe33LGyoCvFX4Oq/Ak9SIZGGZSjzJZ+Kg9ZvD5OQriknQmNyl2nPqWyls6rvRZgG7IiYGDnt2R7+dTcowY9aV0DFsThhBtNaQr8uJDhgiI+4ugCqwMytEfYefey3xKRRASX1etAKmjetfTwFoloYY8anfUsgogt/BGnXdUgPiiYVckfOGM9fDPIjZDf0VJ1TzSlSLnXjj916IcLVJgdBirBvWHXRCmNOH7iBKiyEiKWbQHFvE8WbJyVTcQKEaxmixtK7TGdfhK+7RuU/Eim6TUWXpMqVrPnh28RA79w3QabJ+hE8IaEbN+uaH+2bvgH/oA+P6Xi2TfBlzepTlZ5iKtLafr9vKYSe1qWJPJDNzWRM5fjqcGSt35GogVFEp8YfA66fx3/wzVFrQmQIjdnBiNLQcPMxIAHxGzchgowosnsSlEmIs1l81OGi+mTVd4HrSlO1rfVAJx+OuWpYNfCa74n2AEFZnayZKMvWIpdsskIhjI8Krj+FmJyCosNY1/KTFODqxSWxOn7HYxE8WGnI5R0U9kVEtOltIvZDGeK5KNPsDH9VZq/6UWncVydgjJFvMstWyvR9KZt1h1WKbhVWgwHfysa98Pp2cWqrglhqfs7Q0E5qO+hmHRSDtFdYhBNjbJ54EBcl6jW7i1L5D8ZodafXkaQoReLOsnE75r89AVCKmXnajB0szIkagSvkidDfWt6UHQtTzF9zE6qSY/mBVqzW/dQ8/9G3fhnNtwSLaX4/QzxU/aH94ykaq8vBf62lEuA32Pf1vxL73fNflJwj87TuTVbcnLWA3PoJJi5njvpJu47agj9W35yeWKkP8NvJhUksACxMfdJdKwkohy76F5B3foeBzZqcde/aGpcCSAR13FR02WPtblDLu5pvJkI8f+GFEg8uwRjkrWSB4hO5aaUZxupf00Od72ojGxnsLwmBIWerExWN5pnxJ+DrV9nbuLoHqght8L/UtILi1X6zizdnlmZ661KY5CpVWf3ijwXeTJtWEhso1N+JWkpFNC0g39E6CNCk4Y6/SkjYMJaASobCuISFXAFzrSQq7fmpN6AGeDs+35VxtQxvaAtwiq4PCDmX3PWXRjw+Hf0eMyvaOrgBK+HtsJpMBFZyHrax84gmSsyxOIsNwDnuFioQIY0r+qd2pXNP8YFcar9rdCMEKK77+4iL/AvZohsucdxel64FLf8HBX2QFjFiWUAySyHYrsrEwuJRdtciyMexBMgWEim4D1MncB7Og86FJq3fQZxLMKZ+sWqOgnTu79k3yaHbcICzhJSkF/TwjMDfQLx5o0/UDIme1von46xa1usppVXEfVg/VVjI5JqLeKKialG5xB9sQcUzujuJBsAFKhVKEZOyj+IkLDvCYLMbvGkJNiRROIXFChOXMR4A5rJDXCLn7Dvfoe0uPvN5Wd9ZbK7/QTB85N197/M36y7+7/d8wRs4b1fk3Z2FYgMKf2NHDQo3gHVAskmhSxEnojgCan5jR74kHWx68JYn98Aj9gdVzreDw0oWSMScQXBPmyOTPeKpn5iskZewZ+iPDb27eE1li7XXoWxmx3ymimxxU4+W+gy/PIiF2Fyq3fvLqnGi1WlNbSX9AvdRJ9WHGtkGT52upclR+1SlZ46dWJOh3tAn658e5PRbZSYQ1MonlfOiRFrNwuwaNDXbe6oU1GmwakThM3F7673PJ5y7k/Igb2+RHf9hFO50DBc/PBzrxkxsvZzIpSog64NIM9x/qPsScPwG4348Yfl+NwQibhrl5OFyT0Uz7I8OSF+gtqWMd1lt8kUUKeL2QwFsy/51Erg7d8Kw1pgrD4funmwzilNLDTxtuKVT4rN9bYxt3g2N3xvetLJ3sQWrHtoOdw3Zpf0afFUqkYfSxL+9l9lJMYfZnIjokrbKI/WqYJakfGDyE0W7dB7KIUdKkGpDD2lJvE9J/JZOi6kXF6J0VLIvcuSQ3WC42N0YI8v2mq2fHZMYVWPYMTXD+JjUX9Nk9/vhKt6nTR5cfYXAIhDQcxcqW4G8b3Qy7a9dfg+NCENJeeR0YuFVN3V05JW4hZZiWe2Ov3Xg1UbJTBJUibL7QlXljVJy86YHVdgmVQ7VT6eeItCQB6X3pP2wgLDTIOnAdQBaV4m5CZAO4XZsdcbFUedGK+xR5tIljxKHstYfFvMEC1LX8ga5/mTBAyZ0aGbzpgrgGOu/tDMR+mvwSF9giAdBqc31bZ/7bDLSQj6NvYXAIyDxSHRttcKqHCGNR+oMCszHh2nzKd/gz0T3uaN+Ui6KwJ0ZxWl0RY4pZErinXLIIZBueaunGHEMx+ZlnH8Bu71cLYRAYy8/lForP1zfAryBuSsvs09bzQNMnxzNfRA/A4W2jyhSTwBs64aqP9Q3sF8A014sGKdKqbPxo8PngqW+Z5fpHoiORUj10EPaD88ZZo/BCPJJXbUX+EFwXMMXbriEd5jQyyczWo+Kfjn4p2tTj2xrQ97ntYtP+r1DCL9ILBcESkPGTcQnD3irtdnN6vWZmgi6azR2PqKjsNrG7wL8KbGg5cXZylPY2sXkbg/j0eL9zgbMV+eYg3d0GPaZXGHD2w1x9rD1v0hMAj4t89oF3WaTIJWs8qnNMpk3wzSA769IYAupLn0B7yMeOJ56v2ttbidDfSE6kdH0tROYh51LzGci3P4SOUjdfXhZ10r4f4g1iRF5qJRLt7GpO9AQr/+4QSgcWwY2pC3vYtju72FvW5dtlypmN02ygplZ1xmvY/916W/v3psRQfPBDd1531b2q3wkf0IDTrBy8rRbrZBI5HoUK54kJGOCxoLCBfIM6pMfjebAQovg6ni1+rPkutXXA3cswFwvF7lUSCto/s4r2b1i3W6UXv+y/XQ8g0qV0gC102IbBACbhZBJeZmgmPYYDiZ+uHIsMlJbs0EQNOn88WdRuCWoITi2leP82a6f9pJ99FAteSNc4+MR4xpPJt2frgetVwL0yXa0sisF5N9fENmhK2rGeHXY+nnEfRxZp4wzW/IvSihKXFuYW7vnYmV8WCWy1wj1nozEk6XfUZj0Wh3WD3GhgrP2wFfPUGo7t+jl/+O2QuSzHHz9BmL+JbLp00gmHQsAPhFRFsxn21SPiYrYsDkIn8zrxX2dIU/Hok0UggYzSggzCi4e/+IiydW9quRFQB0IMxMmFul1Qyx6Wje0NQwCSl1qG6V+VB9S84/J9WNMf0sfQ8vrowt7i6cxZ4FFJh+Bq68ARMKefu2AePHQSiMNkREZkEmq4JOJoN3samQrD9N3HJt2G++RdsQHD6XOiwhal700fgBsdS0oOkT+ZXzxvB7cw0dxUVDxgIVfxG2bj+SEakWl31JmQKRD14jfD33iIufas8s1SiFkvbIADw0Um1S9X8tl+JAMynC40gRiebEW6FiLWdT5QIUgUlmjGUby2gCRcE3sa+mODNCvXBiOm6soWHMnmdQqSy5Yb2vj6Xp0dS8hx7G2eRvT5ONgkvUB3bJ/N26zPVfM"/>
  <p:tag name="MEKKOXMLTAGS" val="1"/>
  <p:tag name="MEKKOGANTT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pSePy2GgFn+B77jGJ53DqJHFKeX35AIOkOhCjcHQuyzXlldtHlaSPBDqaNbb3dEC6HmTPRNw0Ey4dg3aCSXCujqljtRDZqwjZqcmY2bZ3zLVym640sXgC9MBJsHSoDb3C+mJ5qcVfvwT3AJJndgVHwfpQNIV/IaYUWrOg7TkPcMjYlUoSCB/WBujejYO2FHTNG7LkjzIW1wVnBEykL/4YrT0INddG53Ad3UbQOyRWLhTN137q9JoZm4MuzsAS1GJthDjAfD/qzjuBcZsMG8uyuz/9Tc5bvktMStzQ72SGukDB18Z4vqfcfJHfCEYH4kC104OlCvUA+o4ZA4woefCRexHosHqQ6RHzwEDcJuAkTR5PHGUbRWA66FPLYZ4krWus0/IfWLOiwKMiWi167rInhmTfXmPjxPQPbuYfe7K1Z62kH8ETeIXHgdOBecehvEizchqWIhHPup4N75c8rAVAF2QU+oTZJO040TzdvCFdnpMGbSDNblUub6HLlSQkFPjBFtfFGbHk2VE3gnz/IfP8sNM5KClXjldHNgDuLQ+kbnkfmaabNLoniDaedBNVIgFFU1Bz7w3EpVgFCNAfLn+vRTrX+9pa7yyg2ZAjWxK1cwhmfcWxyI+RGChCZpVqRTM+ikVhQmyyBSgwRZ8BLuTMMNg+TOzCnl2NCP1HW418LLHGp4fhiK+p1Du9NLNdDxQSv2w6vLRRE/2SMNjxMeR4cPi0f530eDtulqmDeCdm3uohpLgIahpl5tuq1+6NLeqRunE9DbLAWFQYkf0+NwUCpm+MXoTK4/oZTIfn8ICI303FXEVbQnn55PBCR3wcWa4zt3ttTEgEXF6+PkLV0WK+GMtrUYHyaVNSaWq8nkNlVzSJpHsvDBVrcHWBp+1bNezpzO4aJYtJpvQvLznQ1cue7zv4X1YQkh4TbR6qYXuH0P8IZdK5l0ow2ue2fv1I3Zr5w1jvwzg1eKbFtuo4HjU6aqtscLFEdbf6+TAo1uw2r3vJ8e3hX8h0fVmZ4viUU6iarrZTEBpahHtXa5Nml42rcPktUGxuc75s+AzM/nvR0pRs4mQ1K8PwK54UxTpiVfA5P6NEz5yiwkiIRKZ9FPvCpf3/rC0nL9AiLbdBY/RWxcC1WFPbxshTHs7amNFRJ9opEKyy7BQDht6yow0KBJgY4x1KyEOJm1ztq5Xe+F1t6BbkKAczJb2O8LF1rNa56da5sjWa9A2Wpvm9n8SO1Nkuu/fdQ0xTshwabUyPt2swnQARnZx7ndjntZN9ACYIcGWGj9/hkLA/7vH8KYW1catuvVXKfJAXzXLd6SsG1aNjMkEUKXLj/bqiB7heM/LSdV266WsNo332EH1HBs7p03yiSSL6q0hPKvkGV08rvgclifzNhSFz36xCYuf+Gj/IoV+0vxb6uprSVENLLXzDPqHt4QdOfK3rOuptblcMIT7Q/QeYbyDqwMlC09h5U29o7erQvvnSqcmoYdg4sL9noqcVak3WFm4XfZJfY3aS2mTeDM9xShYXa2GaOWJCh9UUrHBR0K3r1oJkjXSNKGRaFhU+JrtijbqEKQclY2yWP9Ie984AGkRC5XtSRs6gQwpmFD8DypJwGNNhv4CbLCMqFMHYNAOmZeAO4qN1GmiW9JEqxIKMflkvaCZoOUj/TIObL6q2cQRd2ThiiEdbhcvYtCeOubZQhNRzMCb5/8fWXO7TayodRll6CU2lFAzQkrmcavXD648NJ0DCMIROsDoUFRP2lnO9Sz/RKY5hzv2NA3quR4HVgr9B8tXbzhTabBy9DqtsZX6czyDzU1Jf0VfihZGBU8upKiH+XrR9L4wnmgu8RyUyEtvOnxTbaHuTxKlm9v3zrSBI9lyLDNcw5v1PvIXTFam9oLHsjUA+H2jNEzehSNqwP3+TEwAKDKUKhWMkT3xMmQ6gwEb6XCXeAmktTGlvm/1NCpsaJaA96DKCkiDDnACVPwmzbQkrmdr/xUkSKnFKIH1YaaIosrcYyH60Gv2WLqRzVmbzjFeEQu4Nfl/obq7C9tB+u2SYsk+mqVXKeLslqR+YzYf8OlYGQQwvZkpuDoS8f7qm4++2ULcDq8J+R568Phbj96o8Pl1b7sXC1hIMr7L9Rrkikr35U8n9pB448a0qm1/7yo52Ji/wIperKfMq7+pT3bDZ9I4T6Ln6tyjCM9YKt+dOY3fQUWs5yXHpXLgJ/NS4RmXhSN9H1T5O9gYCH0GI49SqTi/UkEAH/pyldskx11tiX6IOnzTDFCQx7PoWYzxcgJXeBtfty9Wpx8nj3zHSPG+qzMiD6/NL70vKgtPsZqafGWR1SadyFyhVTh+ukj8W+BetNRIqDI50FoF7wI81EOpSUgB3wiJJKhsziV+HTo1D/l49AL8/Ap3ya7vRe4p76xfmlERKebDfdru/3QnWiT2Ml9REfXrlRVrscEDFTEdWlQhpPLbtK+rqXF3KyvFQR6GTGtsjBaEMjsKVcVty6jbDEA8dmPTlxSmsLXf/YQVKHr8zpM5yPpb1Zps+fZJX9PVAi7qu0rLCeLsPXB4OUpYc8zXSKGAdR3J1DIpx1b+3ZSfkZ4uQMihSuw3JpnQ1UwVjRZ8ciyQ5vzybBnHn7f6h9E1xmmCHXbo0Z0NiBxfe8v7kt3g4VvsGY53PkDqywzLdGe07GxVp7WrBReZHsnpoBNUV9nCGTI5wkctaRjEIKkBqxc6WLe6SJVqMWFhpPO7zM+QlPONZW3erpS15jY7WAEKkK3RN3Vw7dLlvbXdd8A1KP8yuICbc6qevWxN4l0ualA/lFipjz8+QAnvGVYQXUPakIXrHVv0dyn+HZtKRNEZP0pEyfxsPPFs/FBChrKTcO44W5iG41eI0J2k2iNyPZ0NuMPQjpY/DYQefrZV8tgzL5SsQ92G8HcoAZTPeYqUAOalFOq9Q9r/L4q1n5tYSmkLaTTFwO9H0Zn4j/EhMiAbeqaEAh7SD0sotOcmfMTBtFzRyF92xqOZz0GyyO3MnnkDa6EMlwkm+30mubqAP/aSlpLABtcSCG6XYsfpKSUSkx1nf1/4qkB9GQ7zuivBjRlSd9mjHc+QYrqLPRpOfiwyhwC8dAk+PsE0yYgecNOtJgeQDHOj1M+pf1qmpmhri2mGf165pgzSVGNIk5Adp/7z9BPjwKmdyEC1G2vk9my+SqAfBc6j6fgdKTDXuBQKvXB/Pg6SiPEzOaEEa2sfu6WKqSwVNB8TkrO66v3UmGXf8naMEUH0xGES/SLsHCvpdzv7JziS4WH6e6Vsorml8sjZur50/Q+mW58YoeZQCBNJTnD+mfKctK+8nWbZUKqChcFXi1IOCv0hN0NeiMo4xGHKFpZtr/o/sMdpojzBdDdGkmar0NllIpXkCPtxzCC7ZCkxjtj/1JKIo3J5nGVKHC8b852YXkKOnkEYshrDPPZ/m1/VRXkjk3/Q3X5Aww26fh+QxaMyYpj9RkNJJT9yBBgouGFvXha4neYTHHmlEl4BEbOTEyyCgtPVqsb++rgoBB1/EOo1f9Bflm1zvZ3FT79dw7eGbn5h+T7Spi1HHXlJ5/cQ7mk5SyhjWVFnSSKhzvC0dbIVAeaO2cOHWqo3vkJ/vr4vpDgiNZRffU1dtUQL0qcHlb+ty1wf7hERz2r94NFsSAtQ/wPb+GShQQPiGKZuhO0psR2daCVjfhbzvE8H/MW97MeL/1GD3XRWne3Vn3q4E6UKuJgEoLwoA9mpMHkwlOZ4AD1cz8i5c9LTiN5c5pcCHsVe0MosI3n7F0Tmj4gGVBE4vrYQoT0JTO1Pj18xVndTjH+76+LhPiIogrJ43nJSWecL4m10zjh9PcSKbUC8C3zjimjop5q0ZIdb1k3xFY5QW8nkW0Ex0DjFUlvIelKDc6hhxcag9pyaoj3yg9baiiB1R7EAjxsMCkP70bvs+uNs2XotfwOw25EElwCYvESq1fSPXROA+VquRXElB1AGpgd1DsRUMKBrjQ5vHtLWuILkrhnm3KJVe+WpZqq/82+oyPWR8hVJhdfqDN1IreJTr4NMr4VCZ2ohNh/OeQT/jCHi1P1NLsbo97Mi59qPJomXx4SmVXuOFmROtI99e1jqbIffcuBT+8JcHetcN0hqT48q6RCQi3ZRHZl+R/GTF3ovkC3af/vyH7WH4U7j8aqdu4QQsyUguz9HrLil5AVbb+DrVB7ljjK1AhAWJvhY7Lk3yBfJcfuqm3h1XogTZMEITkfI++O++cYx9ylnXhBwoso0Es+vdCFL2jYpGwT+OksSuGazNUMJjh2w4Q0cmbO8lPwg9kUPf4tfRJw8CmS28f1lyQsqf2w8bnGi5rqSumrqJktGyYXY6nZpgpX2nXiJ/pBlPqKSl7rkVlTHdFW5EjJMiYur9LSIrl9KcVu4ZjiFqg4yNK22DKuYvoIN8zskkJlqMa8pGA6vBw9DZB88UNAgkXk0I3kPMmr/bkWgb2S61aHef3kkiU0w/6Z1O/wpJmqovq4Vfbkm39m6q3A1kuFSxinntQYlDbW3c8lVMcAYk8n/QVLcF7CGFcYb9AceXrOiz2QTR65Uoqjd37AoL2f634/mg4v31qfeajDKCjH4fwDHioNOacrhfKoFBEQOsdEJnRhc4Inaw+NROoXAthIry0KXkxVMuOOAfyqEx3jZ9+82Na0nwx2E2pUmAuyLNZmfE6ZFMBjNHx+ys8sKENRIXE/2/B63rdmFraO2DdNGcqOYcz5Hc6M6i9DsmZm1S034t4+1NG7Iyrdmfckv+6Qdnzft3Ti9IcUQWo5ZUVABwT8rRUe17j3NvN67dpuaGujcr98TWXYZvv+MhtTUFzIvwsFV8FfK7gTrp1x76cnExR+S1R72dicbRJsSODcdybYiqfQbPG3WNAhsYkyRB+QfxD713VkVYsty+uOMjqdHyiwcdSedLGMaoDmeKLz32+qxIMFpIQvJVd6cWrh+5nl8WGNEU2phxdQAi/rFEiDA0M1ILUPY3nxtr/6BweL4siyQMYyHOUIm3IgqYjH7eDJxzoWtgkhexcxjEF0YDUNlVV9SwJpYhc15UnpMJ8dBDXFFYp6t7bvHtEv7lADIwoD7jDaQGyCMPUJB9c2PcaU0Ntv1Z863aPEfih1GAnIP/wy1JzCuYlLqZeyPRPKS+QmtIzFEMf2KjtWtrHDJGBJwuRezqjQc9biP8Glve3drSU8//AwMk71u6kak5LqXP5H+G1czoFqcOrpaJVnhTyfu5Aw6K8bNnqCn0jPmTkVUTa0rOTfgu8eiWW3sJDdMjY5YiiqutgeVzS290U0hNolrW5u/D7Kd9n4ErmIejAkwsfbOE5VzdMlG7QeUc2uJj4bHUTlXJjvFhRvT6mCc8QNjj9uG3DNGGyqfesNSsa3yG9IFknK36vRbFnA2EqQBJxqFGLi9blqupCbBOt8ED9aZrRsUVIslH6TIBRVAIxIB1yxYOV5jtXcrS3rBICA0QOgYQTjNvGwrwqa1EmbppbOSvY3+BJwe0cYpckRBKW9xhhiyQqFg9NzQJuFv6LBcqhk/qj3cG4cZOFG6fIHEHj/ZEX6D1kBTRye262iNCcQDR9+eb5lv3X3oRglz9pH4ix7AlrH9pEU6wGgjy4KsIUX8MR/KndyBrB6D2/5nOE2+A6aM/f46M3Lldiml9sb2OTPW6LxNf9CEOh+QVuXnTjtBjw6D6ZH9606jOahZCL9EQm8dyNc5YKCQYkY79+NdV3ER1aIKt2BneBDGsTguv+dYndmhK7VR/2sMJrCbLpp+AymBLhhZL5Ny5lrDWGgfwgpIvcurfbFdUqpyp0DauXEYL2DxaqUG1waFBGNL+Mei2EuHvScbd2Sx5t9svjd1pJ5cyvGUEnH9vstyXMs5yzbbygqlg3hOKu9RhgZGS+jQ5FMepUIAHEkK2ZWl2Fh59eSx8tngXPP95vGpmxl9e0kEsMkkv/h+UBmcb0xnfnazexk9m0xYMG4prh+DT0baSdv6KIF5pY7YkfqA+RT6/nkIEHpfiE5JI2aShbgX4QNLnm6WjGHAIp2lWm748fUKSIxG1aKROezbqKOiNhlIALG61Ir5WTQ2k1ZC7LQ/nxZZh0pk9Lckg0GWg7ZB75ZBaNH+SgrZAXCpdeDtD1aUmhWb5cvt39KBm/MGV+/23xnIvXLonHQjP/Rr/0Mmxc3VGZ0W0z8Toy/9o2jN2UonsLBzOiP3VIXomCgeAanqyx+yXD0H4ZCMvOXgAMkg8n0zMvFTMeOQczQx0z7+nqFUN4IbFXxP15MEnp5xN2pff+NT2VPb5Srj8MQtNrIgYzn0JuEUP56yHEuIwn7mXgjKdIEWUzFXde5bpjRbmpiMpVfiyutMRw5qp/t9r6HyrloNrAGwAXTuPcKkPwEovS3Q96k2RdKyeTxl/1t6+6RCP3sfPiEpKXJJxNyPAIJVnPFuGDnU3FlCJ8UBFeb8/s6f/EEq72vwLCFsztmuo3Hl6ouZCY+rOTNjUxW5wKSIXbEGntu+ZVi2DG9jM2ErY6GUaKljYZWPUKLshIawnXRFOW1Cz2jEK4gx5SrNJ5C49b3Noz99Zuoh1+3qtxKv/z2i8LrkEeCP8CrN1LRqaN+L+45lKHnw4rDDj4FxXHHT6rcScZNXjEKI8/8tRtDQbEnWr5lkHv7eWmUuIx4O6xM/K+UkK/+vu6O0LeMtyUr6NKmWU7HFrEdhERmf68rTmON6pUJOWLENttZIILn4x9W0BvnsCaywGNQfMCODwsVV8nGhtW/ggOfUebz5FyiklaqzwxDdggCFkTa/hIptIQsjvh792s7+X4yzo/YN7g46M/pTykGHFc2G2LzwHPsdP9rxh2hC1eb27te/FjgdCtSPW4fTXPRi3rfHf0e4lQPgurNzV7z5O6gYr4WiinjOfLkAg8r+cXQ6MtF4IF+dCfDSsA56hmwhhyMU2XoMOTsJaiIK/mbi9owW4+JT200PwaupzK7EmR0AFybJeHe9XBgzOrsExluimpWJUZxwgie3lwdvK7pzMeLuTmXIjaq7js/rElgnGnLkWwJVdB6VOYfW+CyTYjQvw281vZlo1x6wPpdG86/HgmQVYPR6dK9cW7Mv2HCQEwzii6tKsM1nuXGW6RYczkgkAcDJ+prLyl5lYfuflwKXvxkvZKviAmdeYMx3FhXP9V2xHiqKJDqQKx9Auut30wTxOho0WWt8rR1ieMMk/Q+tjVUwp18FMfSXD0rTRFyVFTDiK15yKo0p7AYz30+Lif01H1zITQTc48D3FNnpezASZKLNsTJIUDUpakbRlGYARuvVZBaaojWLvs1oK+6NSkpnGdM5xbZYvN9igD0H3LuTDBL6cFyzvLhjVNXJhJ34b0ZXZXcTpmhcMVmb/pMbmaZOWsLVby1usHYeTpzW5f9HvGLqajBXbHzfpMqm7REWhFp48vntcBbWuopmKgGtFOpCsidsFE6sFdy+a6T/G/KbeTide8R6env9YSMGb56XhblnRUiy/XYgRmKVlvysZLMDxksaNf2mZALyy7J2Emgg+S/2cKEuxp1bRxVFmdI76mvmfxodCEHu5PHTww7LnT7uvsW3cde4YcdGVGfJMwJ/QGUlJ2llk0FJVgEnbx84z3ZU+fBHyiDxfcIYZC4ToLXd+p9b98fpExHOIU/UGBYm7LSg051SMP/EtzQy2f9sAA/rwMJo7NUGtXkV5Qs2uKbfVLpP7M0VVyhpXclknSgyEy/1IOWu/puCdPPaT84Kjjk4rsZqc3O2w3Yarn86qYEnLAg/gy/dsxDQSTZ3UISvhmJXKAPaHQFx4kGZAMOVvKiPjCFuUGsZQXmPGupIkxiq3WyaYi1YEP8aq9Pv+DBkvHYACrzpLeLl0pBwo5TMGVt+Z01kHJhDCoHiWdveQPRPx4YVK/ef+D3APp5r7ULEK1mbhFOjwTRGCXV2gqjH9Jtr7C2g2kSjSIYMQTpkK5p9yfitC9LlIUjky0gtO4KH57A9kqKqy6WRpP8FtK1n8dr2CbZ0rYycCoigYBFjT+oji1xymLFBLUIS+AW3HIduHS8XnhpmlZJtz0q1B5/v0qrkcvsbxGsMfSSNzrVL370OKMY/adirJpjJRiGpPjm8MQFU0K2SzTBak8xUaC8wn8wMUg3EdUBOh//XsFuhaEfDBrl1zEyCuOj72emi20ckySxqwK99i49pP2vGXHVvoSOZ820ePpgveErCUH2PkpoKlVi/DJZ6YtcguftxylcKFAu67mPAwK2+1WOUG+OSg00mhNqoku1/uuc955XYaePPQnVSfctndnE8IQjpMIEv81F7JYfqIS4VVd5br/Mc1Epfmi46nJG61/CO7Qzq5s3HCIqq2MvlNv6+tJjXHTkHqClkTckTBbTJkkVx3MDAFDK7jnaK6521ze4qw2hcylYYuNTiWxRR15US6QLInplHOocTvhEN+8AeOow8P6IJVWlWBy2WZsMFckbPx3JXoHjPrbj3eaUSC2Jww/of/BLGfzpm4R8RscnwQT74gOmz34a1pPgsTXF0saNHwI7sQogmZ67UGoFPSUdZpstamsKLrpU1INrPUyIkP81qfba33HP9WP4zTtu9O6G1hrvO41nJyo1H8Me9f0u47pIcQGNfNF/2SgCTQOCCGqT2nNfecy8Segv/piSfooUt0+Yq+MXB67YwXtok40FtVF+T5svYSnC6qQeUfpgkfjuENUWuH67RpvsVbI/DfUhMS5QOqVmgT+TctYOpLHiPgfmk6S7Vjt51QHz+cJz4Lj4G/a1hGq686gxihAkJ+NqBi6jnbxu23CFxGdfrNQR/qgMWoLccWjQy1JjEouh9NCKYLKkjqTgK1ZHjJGA4OV2PlGk4BeYKtYKtf7xBDOAiG326s1YXesJVPkcW5JEu5Wf+rxiWMH9XmMzedd769OIGG47mawZl/5L5Pqs70VkNlh2SgLwNf5Sq4jSceuFPneQ1JWQpQjc6BrDL3Uy9Qc3t6Nq/IsuNFG2syDaI8hTEta4HTQrgHv1kB0ikS2H3pa+A14h2ttTzrZxLEVvu+uqFmqly981SLB3Vd8x61DCJdnqakwwfXOMHZ7Sq19CYG/FuXepQ/4Ak6WdQ9XZMMWCgf2cJ3CYZG47sJztNqeqM5KmGk6PK26yXiTr3JgWlu2ogf6SraTfvLxsqBPLPuh+Skefq/wdj+F+wcP+tqqOnnoPw+Ty/65+JYmly3VaaLjHS1KVW7+odIpUZtixoPCUCd31SoVlHzpX2LMIHHfUiXkCZ+cP81cJ3A9EsxtQuyh4OcLzCoHQUOFaAoWXYNQ2QExN1H2B2sK9gWsMtW+c1VkK0yWC4PLJPE70svTb4q/6DAmNZIgVXxW6noe4KEBebxfJSalVrvslRhuFjk1IDkPmUxvh1wbYxEE0W/ETUvWHNka+vCf7BDNA6wiyfU3YMJU8jX2bOSIPATeOyrM7oBjo9jajmX67UvPVHKPjlM00ZAPC/MRZt/r2zANH9NRzH6vTGdcmInOJnXrHt+4dz3Yfn9YZfzoBf3hpUn405DPVmpdUahH08tOa9b9thbUcuf2hIjn4ggOa958FJOgOUnJTOpJSrOo86MoAfScZkwuRL5KRKCDMKy4yd6laeg7+6CGwizFZCCdb7wIRodtw1PgSGUwHWMgi3fzsd56G49TVSl7I734WrmE9THYNFN0t1cKkiaGepdiInxvxF5hSxKqQFBo7ZAKEwxTPV9/Te8hf26c5b54j65aFK4X+X7+PkYQ/r5RXG0/Hu6s77TpndVAhMMf1iIOdotQfQECFU4lUglyyvPwO1G4RWHsuREPy+q36nNg1iAyptOzsylYm76BZvIpJgGQcszq1ocI/uYogrxUyo0x4O9mG5JW68u6I91U4FRyUjwDMc0GGd4ftOZZ/pVzszgmeLW9RgLZfBjP95zlY1MzrFlz1JaWv2JTX0k14+r6rtI8FvfO0ViTgTPpsv0AA/Wy7CcSo2wRvlYXNRDl0yuiSpN7yIi/L48fHgA/bw8UreMjXTWgcmbGeAsZnnyvGAMbW0U7iKhJGG+zwhm/EMqJ3RWixr/M57k8CA7i/6OCx+dWI9rFiC2iu4pgRRUnAOptxAS44Go/z9Ir7ymlfHvV2qBiJlRsPoFFsrEBoJyCQwMvUwb59Nyq1IpDkCPhurq05UC1MKMRGSRbnz1rwnS25IO5P3/Jk6KwgTptYixAH16XkYTOz1hSIVEq9vJ7qjtJa9y4ftQuRY5pkE6vBn0sdtiPn2B7zKcFU9LzeJ5hXhFIbJn4sOXkWzn08HpyHN+IBzFzDJOjVi0OPByTtRKhLWZtwtoy/LFjUBECrR1Dun08H1ozQCftFDdicYePybFLbsfHbwaOzm0bLbxQJgRNUfiac4b6Kje2niK7AF53h2UKgT32MIXKpKmd5l5VimzpuTZIF5JoDJ5JNgPBj2uYF1YSyZLoInce1s5Khqscui86n8UxQV0KvK5+sIJi1I/m3JedfyOxJNMnVwAEpAdJkP1PhUHXEzTbHfwnefeJrhYUA76GS4nAxEmuQJBIcr+ERd/0JIHvT2NxLxuiT649ty3AIMyqJaqQBnBhvhnAvL+sru5gXDU74AbtGFrmOjTqs9H+Bhp75cRI5mL6JDI01L+3vn8FB6U0q8hcJnKKuqSNi6l3nriD2nm3kszL+eZKoDQkp5km8rgqWO5B07h1ZFQeLlpnNhqWa4KCmvXBlR7BSfrn53NNtUDCQCnMLArnX5h605L2sTORo6y4KeUGO1oTNzhPR8JCrYGvhasGByiRxycvXgDnqH+WIw5FSmPfL3amuq6AYtlDWJLeDRu0XBFynFypgOeP3EXcAEzmnjjpd8tE+tTwz99yfsHpXXeR+yKsdYqpz1U+vp4h2b0dzdXiOO5AXgV8Ag2Jmo4A00mv74vvTi0v7lt8JG0o3WvrcefpGWiRrBtXbQtZAZL6yX6WlaRp1u/JVXpsV7diIZWLG4z0eN5gEDKGvvIGhabLfYIWT8z/Yjw3oFthHUk9zQq+tSwj3FqL7FRIflvOYS8owKkTKkN95xdUydE5hxjzgWdv3NYKhCDVOFXtMCm7fdci3BKr2TaIYYEUQk0sTSPgCfRGi0LMWKDZYTVV0R4yBA+mAnUACBaH5bLQFgEXq7loV6C3qegodrSXyZ9kMyszaF7U6TmZtvmj7HUyBRhIA16Dk/Dxq9DxokpYGVmb+k1zS9GD/yzJqJCD9Q3iCI3i/QkN5xKcI1EVf4I9Tc/0QzO6mcVCAOF+YS3x6ksr0gdsyTEz3HK69Btti+k2kZRGj8USPtOnxXp7qxIxk9xw8GGzhMALvVGa+Tc5nvLfdIhUrWdEAU/c/3dRCc6OSm6eJRQskufBDlp6YrHkNdg8x7IFzEmmsE/VGKBxM+ILy5siaKfLTFJAgoZ323UBFTQsUf6EYR3BUQWFyPYK9eihGeCTCHzl6JGEavY4OZ3+BaGSAGHJ7fCsiyn9xuOaxkaXM0aXuOkzjZURVPHgMJ2zRrmWx/XgXPgKYMdOehu6fT0i1hmblkeHNEZpfIawXnWmHwmDeUoaJikts8uPS1qWJjfcs2HLnuJGy4zb89tSVryyUz4w+j4oQcAmunNtB42g8PAVfAz8hxIpghuq3KZU2+Q3+jWiO5UVhh6ctFNmQfhbpg1K/HORF2KE/Eg0e0I0GmgIPjcswbf9E9pEcsjZDym6QLufShtkxoea8ie3dzf3ix9PwdRgzKnf8XeSx/Aj4FbrTmre2RkmcZQFyevl/TTFTc4I6Jaf0OsDKRJ6Gh+c/rYIzvOdiT9LkPxTW1CuUt3w1SNPnK9YxE6KDK+d9yCRo3YQf4nxfZDQmejaSEmnL2/FVjqu5ekQneAV4fbo1NtNItv9DpiA4yWbURAQmW/3zF8izQsaKpfpYETr0XdJ7wtSB5lcDUDMVcKk0+Bf458Wo7TtGrt4dA6xgKihnrdIE31f6W3+sf2TpJVK8EGUDG6RIXI1q+cV2ZW3WkYF5A73+pIp+A0CLOb4DXd3Ou6VsVeKEzYgSB60V+w1kE/zmTkfiG/iP6VnNtau1zF0hOnbz24WubTHWsSUoIVGGYEpthk7ct6OMrAfDyg6iPP+BZyPjp3G9SpXupqo71Nj1IF7ft9TP96fn1A8lD+Aw6zc2e/8uIIQFrcMCgjCHkUp1BXOOb0vSpAnknLxNkVpvmcvCqDZ1CUKuDYTMBcdcMwP/Vrm26dqf1ywyYLw6hosyVfT72lCmOsMqXlwIA/jv8Qod428NfiiB4VvxJ3LGZcb6SB/n6N/GzbNoY1Q2gyzKUXaj7RDPqKB0R59tdse6OzCI70hUsxYQGp8RdUxY5YjfL8SYRXIo9aTC8ZiYyNpGS4GUNc2puehayPXcwxDuiD6fMIhVdYsL44e6vkzC+O52Y63sRPoM2CHXTx6R4UwiUnkSJP/0Y8y7MbsaHr44lIyxxGXFRPqUUOPtbWHyhasQLAm7wqzkNJNn7GsaquEB+cYMaO+5UQ2zMzqSoxKSq8w/BaBiqL7nEqi9j1s/z01brOH5kpxGYLgg/1eWJ5Biir1kTcO03AcRGJcnS6ruzWIggWl+Bd+gB13kZblOpsBYMO91wCQ6+x7DeECHznjfxXLmmcIrOWRVhCfytDScN/8Q2Oqz/M9HiBeq6bC3vTHoySaNsPIM06GUj55YblPjKZFstD1ezt4ITqom8JpXLCqDB2uiMgBuvl6GuLaqQhTEb4g8HO2spzU4reNcK9LoOH7k4w/m34LZIsaZ9zy3Eba5/3nhME/tyxCQT3UmX1MwQhbFoU9IBfIpnzvrM+eu8b7T3sPQHJr+mWPQyuEGjA1F4K+PLfpfehquwgXKE68Aphvk3+vtE0ivysNO4gKYQLVZSl9hu3mpUgJEoRErY0OOKowFgRiMqhZfYBYTj21RPrcrHKDS/ktrwjtDEOHrMzPOfXL/dBqhI4Y7U5x8pmUaAXfBwaQlyTMdW9SbbUp2K8TSjZYVKLquWEqNmpHOiFAbwwN7bp9F3TgoWOg1JVX+54PgsFxvJIFlFxeEJX1Y05QG5DlKnec40zpKaO9ufGaeI6rrWWakB4dqZBotKp0mvite0ormhKvMCO/Rw5CEN6iszR77InRUzqQP9FSR3hU2nQDnmo2+/YF0+b3xzAgz9KkugQNq9Y/HD/aN0r9OVoToCYZow3qbkvOgmtmCLBrAIOyu9XZEGOG/trqr9o9/fRINAayJKRFAY4FHaCZncQeZNlec1labl/8BI2ZtkKe7oc2pGLDDz0VlfYHTOLz8UNtuvs/w2Tabdu/N+3OVeiQW+PbEXcZnv4Ai7646tyNC66OiseUCSSl98lqgZA+CbkzsaDI4nAlB87V4jEGczmWqRiJEG8ENGxInNAnQptsq/GcO6pvu+QByPmQv2SHRXpE+vygV0hOuFBTU8XbkCjS7x430YVOGgNypMdWJ1DXVvcBEkIN4Kqpgu4hbVq6q/xUSYmbvPSoXCAfpp5mRlWTDckIQZm+OM9nXVItUVkgjJXijfsqzbrbF0zVMW3pFMgb9dCIho/WWujKodoW/Biv2dRYfMbvRkNV6hL7+BTElcYJIsqOzAF2qLMa1AWGLrBjk2i0j0ZOHLUo+XSEFq+jQJFjV2zpHeb67STkV/YZcpLVBqsfTMPC3Jv5C/ii3LGmUDFRsFAOY9yWB+xyakU9+MEsjiC7Gq7tZ/f4meqtRbSOB7YQvMbRDymD4fRdrDxOKJm1McU/pRa3eJfgroY3mtFapZzG4/7+09v7VZccUVoMdoJPf7y+WMNkJVu7DNhclpJKkA2jYnw/eJFZdyv66pdgp7/tj4WkmNyx11uJ+95NT2VyQsPGEzRKW7unPM67T7QIqGDv90UNvbKj19DYeghRyavZ20BuFxbxa8y8nfqimewN1cUVYymNJ+sfti4PVXJDaQkQm7zRv4P5XRuQ5YUSa04qm9wPHNvBh72ah/fAIBkBd52E4oh++5kPM6EpS2K7zZilEHazPxRNTiAuKOzismhfqwW5PFymFBlm/c3WyruoPC3Y82JSrdmiVfxPrTfNOyPMO/pQM6P4TOEmGCOQLqBifworujdl+GKPnqT3qUuHTDWVXlXsKFWhWLr4CKfdumKqF3FSso7kgmITc08EgfvaMt2w1hKtXeGCE0lbkM7k6Suvt6Jx6nkpzCEY3xO2MJIbD2KST/0Fcw8UK1Jg3+V3Iq8a9saGJyMPKK9L7ZMAXp1aSmZGqZnSbfJ2P3gLXW2TsR5dPAFX2M1W+kZry68Tm86GiWdqwCCxcpIJf8WFlek+2u6Bz9Eb1Ywt4w1/2K6FiCvLOGGFI2qUd8dH3duEf9SGZvMhHv029BrMdIZ3LjEW5SH7y8ibwZduRDpFu/kB0/fZ4bsPN3c0pCsYQSVBy59IiHdEmaBvJvQKWKR5giN1lD/vDzEARTKiHDXEVCaFq5RLbBAgK9opdkMU/3vF0KKSP2bBdDEZRRlbNKBJ+OgCMm/Hhed6/On0xtyDwMa61cy3prF2DTsDRHsm2zT8A6OOH9FWKUj6DJl/VH0js1TLpSjTIjgr3naZ9PxU0moItqscizMsiEWkqSCy2im5slssuLdeQ7E3e1h8krjGgaENVDSXEPbcUJmgpAg9ZRrRrFiGzt8xFzL+fzcm7perFkupxoFQ3tJE8Q5qzMTSoz+hED8/tiEqbSLiWyH3nvhohnteNElmXADZqzwmbGHCMPUjwADjjL9z05gtNIM4Z8KyUuvnUt8x9Ys11LZKx5TnTJnM2XjcHFpPP/mnXiFX0XwmAkX/3rJZQ/lnt/G1ENUl9cSUcbWeXV2nGSo+CRm6DdpASOcvuR4Sjf39Ch9dLbtWl07/4jWQRub8MpsBoQl1DoYUVVJvVqDX4Vj5f2s0ElsB+NdCEXR495WifDbQN1FzXrHBG8NsrlBPuqvmSsJi+WLijbk5E/x4e77IozWeTEKr/Qux3c2/u7MXSl4MkfWOWPfwrvaszPXvA2FZiJrcG3pYNHrrHFTEc9FkwPf8Om+PGu5yASuFtF7OMknbjIKtQW1lIOTt9AjZ7wvesWxcAtksKEOP8gjSdJfbmybmHt2oNqPQ0HvYelZvpwwgN0remQVq2wwQ+j1Bja3NXKIu/S+zTE4X36jNNHZGt+teUAz71S6r9NBAqeo0WnGbPBhAkwCYe08NVSohCOe8qp3cQS1l/bZ+zbY278JFpkhGrIAQ1/pMMhHO1FWFINlLY0XrB/F1dlDvi5dQzfGnOwkQUGwFsiWZZHq4LYIN2dDIon+1FBtZulP+p2jqdcEg3L/Ih6gqakHARWF6Q/PkUItapD8MfUi1aDqbe4j2EP7YelseiuiZ2f/pIx1HZEosrikybBjWvTLwn9oWqcDQVSzDThhlJm1OKIhn8k+7Wm9+TOYqLeezyzqEIkOIHfL/mFB+gLoDVTJyfcD/M0R03y03fDO4CXJHtWtqwWSFMLnjSjDe2WVsdZLtj6sVIQm21BaRh4jl19NqWtaxvmiUbjBvpdM2G51GYS2hdxJWfishST7H5tVVr0DRV2TeCQh0fI2dlimxJPeipVS4kC5P+bNeesOUjSTMYtFwI/p2R9nL0qcacfTP62K+5GLbe6QX5C1McclCUYdUAG8D1k17NAnqKHs/oXsoYTmKrYf4JylEnfVqxzr022Zs08ZXNDf1hdd7iUXtPljck2YMEiYAAFBmgcs52JR5pkY777M/tMwFmg893MfZf7T7vqsr2f7gN1LvivZU83kjaFVpsaqf6B6hCPxstizP1w3zBY/W1vfVmsPmZjQjMHNCmA4l9i+/Tf2AvFpSH0QndIHSx0s4awDCJMPZzRN6/AhpMu9MaBFJsBZjPgwvg3zhloVSZUcJyWEhRSypX4gmxFV0PImmKDBQmLPZa13ap0TTmDouWJSpQJ5Q40mbiWWdOifACrOwyKli7YOmNSZwbq37vglCp0LXgqRvhqOenNrFp4NZ6oY9VcvgSu/ZRMvrZdQug5074uHdhHJth0sZn3bidkNdwsEPZoaGYbvKq6eKOu6UTaatoK4hlekKGNy9uGLcwsaUloNk6sDwJq6XBocxebM8y3Sk/LKqQUPj544qAtuodWq5+lWUCUirEdDuZpRMsY8Bi9AUrH9/sqrCEazS4YQcovZEAx8EkgzQZZd2wzgMsLEW7RW5Ne1slmTmnofj827cLdyNUXpekvMcr4zxteehNHvTvFhHyW+nV0ibL5xFqKFdR8tfcwO8K0+tx6xsdgipN0S26BHXwLKJyXM8DFA6NRN2Xg9BM3CmRZA82wguqtGY02TI1tv+TS6QAAIMEfkyhCG74z9a38H59aqhdYeeU5ooAyz9fMGH+I0qIGwXi/6t8mLuXrkYIiI1b0NoAuVDVRGh4o1FknkRpydDxGl8gM68c3ZU48+zrn0t+kNs41AmcBeLnSfWrPPourTOa33Qu3xlwTu3IQ0cupmvrKsiYdM+P7QBQPwZ+bYbxM2QRFsiHrYVWTy5pib4y3YA0d8tlu3AkiqH1COq9+kMXX0w/zSK3YLXYVCZfD/BGJn/T9HK0JwFdXtdwTfcgA0aJyhO1lfLpQY3X+YAlcvM1nahuM2eOOfF9cVhx7lypvM45JxdKfWXbLOvVDTfUhHAX6r9MvUdjuJ7k1qXb0IXXalZtxlx40EQWZwn8FBs4/2l8iGQ0OEB15uYHiDy8ZsNx3RHVIqsFOTZy7ClywaSnuDZdB0Zq0XiduQQtAquogtX1XFf6MVEvBs6q7RuqcrIeGurdd5SUcgOVtCYUrzi+QBCtuGyE4shDHkEBIztCU46fFSMmCZX9QUIlUiE7C/+Rt6b7b0bSlvNcz5n7v2Zp46jgGt+6tLZBMr6/3yia2ohJH3517MCdfgX29msiPJUcYFOATLHI8CE3+lfnJurg/R3YYqZ9FIcpbG5nd5hFKB10wszjZYftEGXTyATKUtXk0PFoHPn4wJJKOc3uTP1merEZgXQPGz7NWlqBbWucR9iN74N7lzbm65+wyT2lIZqeGZfxvT4jPM+3H81Mb3VTwOkgD/DxxMzkzrA9dVwGvFtZqONH7Fj4uiuLIFOByki5cPABPk+uDwWir5Mq2OiFb4XdMRp99GOmDh576IxVwsVi0IlFeYvDGaNmfLWD0Lr37tHGkuJ9jkO5a9cmQehIF6X4uEkGvSEbvmhX0N6kexjq7Di/dZkRNAeyy7SaChb6+/twf9/u2pKp+tAMNOsK1+VXJq7Iio9nrRvfTd2DanJMZFNTeHHjhEKLlu8guj3RHLiom4TPwM3GsXammW/nGnaYTFTM+A4a7HTTjRRUcsA4K1h0Twfab2GTz6PEA3E+0/nnJFz1P3PxF/U2Yy/dLWr99/RwDtK7clNz2NOhxTc0Tfasa2LITDve/vHKEeRBo2XXMqW2NgBJKgCqxr3mDNqxpTxL4slPd4nVvD+8xgnAmbSpbL1YqeOVQh2Ulx3O0T2RcFtoij2PkvS9k3zPwLxtRhlrwCeFUOkVUUhXqbDU/+p/SbXTqwZ0i4DYT0m6bGj2tSyPU7s/fVj/FthymGq/uCu1XL12rKXRf9swq8T5oIPmbel7Tz52uBRKjuaiSt1mSgb+K8jqq3g7s7xE7XRws8qjo9TIEy+/LgOpOFgMfs3RbjfcDG21y7fDelew9nOgVeMPPyKDjI2hKChAbZp28CWCNVbrtaKBXKFsgoqvSRsIoIZIE4bU2X2mS2eUE03Z0WNEHanvjw2WlvOujh8TFCbw/EzNE4yGQi8k0m2MNGB6FjAf7OLLLbxJ9GHy7lTPEpEcdmjWk2wKb/8yh9PZZfLoxAy9mdDJP9LEY/4VATGJa55SSKgOlFPJvMuIJIog6c+FL+UN0nEaNWdnkWesLDK2q5UV2ioU1YKN4JDy7iEjFhq7L7GoevTuMGj+DCk7raWq5l+O2J7KgIucE1scN1S9JC1dw/gOWbARzO68MDqfmRdU6yqIVm1KPlHApWwRcQE/w1j2TPUEgj+59AiEpOHGf75/SUnEtaPBZz/hfogu8RHnG2Aj6GGTSreR68C31GWliFnuAc/goLK8Cuwew0Sy4wn8TWP9R2jWja1y3hwQGRYDBElgXxPEONrSGeduvWcvHWDJk/v9QZfRYS7wtOWrQx+ffI1lO7Xye7C8JTq0SwvDhDl3iWPEj0aDNSad7yqL72FvmRdQdkQCv1z75QlHiE0bir48crv+5ufUAhOUXYxacIvCwCkwCeK5w3WUZHhWZIHrAgx3gftdnONN94J1XQnrlemx/4kvl4wX0lPQGVvWbHomyUBXeGe+GHcS1d82I73DdfgcV7y/3XDeXaymANNvS/VfVW/kRNiPRLtyQKVs+bS8YGPDOPizgfmAl+NjNMh7Bcx5zzbU83y+sdXK/ecXVEjanVv8TO5Ym6aSfJ50mlruV6s3IMukRRiPOdsmSEoO599kHakdLCR4191qFbcBbh/JW3Ak42aCKo+s4yhJU9bIQrfhPfcUSQOgaQ1DFUVNrkh8TX21q85Dx4DEvcidKa2Kcpx7fV5CQLjF/EQ7Cef+y9itOpcAkZjh76NRjaL2yzbRF2HAt5GSgLhN0R0sYJ/LMzqG5I5jylgxrB1siB8KejvBub6Nc1lKlrMopRdoAZQTQAiWRE2cF4Wff5mQO01NkOADSiOAZNHMMaXS6/xOsPze4g2kL06hAIt6gnzIZ/G1Uw3uEpboWgalnXFIyNrp0Ozv30GUsR6ljoTuOU3MW7X73OB7/OXLHH9AEQ8zW+5Pkl7wtIqaKzIs5LMxBOk5C+qEbTSts0OWRJFQFz67q7vNVvqHIDcOY5mfsHHId0PqnF0bVP1syU720wBHOuSpVEzoChf/bHRKSElJLixnPsnBZawV41B1TVJZobnYLqDfDp/xzjhbAC5NmtFBzMdw5fbRaS6cCX+vBjjrjowewOJ4hD9AwMDtVjJxC7ZQ8Iq1GrGqfooPax9T5Na7fTNADeyw1q+InaAC99XrN+Yie2abQGxiLjaEJveTLmeIU8BXVc6Wv5prGN9gRx2cehHnZDDtw9fSiy7/le9nFregJ/5e8mAXvGbAGkvHyJl3Nn24/IFlHSE0H6Oi1OwegZHfCz/OCOnIdng6y0yA9B07TfqjnlWebe5eok5nBnVA24KNYOb9lSbuLkCE3NR4lA+587jTNbJx1l/0GtvmzxE987El6vYWOLIEVqvvF1WPVPhhpx0ndIEeezd/w67pxAxi2rVq8cZgjSvONhsej4SPrQWu9K/O8q8Lpn3SlgPDMB0sYInmW//GhP6NBzDYHKPZaS1aAd20gx8mJ37F/SmiZAe2VSbbHIrnuOmrbQANR5tRtSbobuwwNpOf2Rd0jrggkzzIT2OhBFhjHI3BYueMlO+459mOJktqFIuwDugPcUZxb4OcP8fE5Ae6yL51xFy6nlsDgqW3MTniDWwzvGjCPvSsOyy9CyXP85IvFSXmRTQY6ilj60FPFmU3S4oG2BrID1/fOmhQQ9cgmbe2MNasMrD7sBGSMhBW11SQ1nteEPzskLaP4BB0tM9Ag4QRq5LXEMDAG76feBtWQRDOI2wJH3BgmNmTlvbvJnQMS6zidFTeWGMFNEk4yuLwz2x0cWdF7RKDwgltq2kDiIRQX2Cl4NCVoqKdi/FFusqvBBJppkZLfq2HrOAo25FtzZt0C8uAwhampsN9KGSp5LpZ56l4KLP7ynPPXoqtFRrDGAjCoxQ1N4r8C5i4CdHdsAaD4SP3emiXJdBSBCyaKrbVHoW7758lmNCbMKgiD6U4i5GXfQ2OqjzKgzHwp+IU+IG9riMU+omSRtEfyKGCDAYEC1bDFbQtrzTU0yilwHhqN5t3Nof/B0S4/w0oydIhUFXbPZpdojStNQZfOTpTkZXDOqzVW9oHV/BLwG4M0JVPbeRPsVWG4FoxangPu3iBPeEi/McL5gEXzloykaHptY57S9wVPQsW6Q+4RTugm2PmRyXvC7VLsz89RuGpuCWYqw2r4D+MpWjwNgP/OmFm6o2rg+LvUIBFrOyvKFaOJYEdaM39s0+un/n1Oiu7JII/CbyOXIcWmx6XujcL5b+6NhD+lg7+ajm6Bt7ZY9WMOrRDJFh8Alu8dED9eVMCcurJKTwvR5Ikr0voSFXak5vbdr2j7UyDFxUu1ycp03JQs0ehHG2ndvXWtdSSOo95rp2giIDIaFfA1AKZxo8oswK4ZoTZ1CawghMop/1Wje4nKV0Beqyb98KTbQ5AWLwoFpurSwQ7atp1gFfiXfhjp3KhpnpMXasXwlo+45PbMMQ8P6YoONkTSGBuNrtV1zikRqbamfvl7uF0sEYhzZlHxUxywRrIKqkfEa+3IlpWeBpSxm+Vrb4+Rf8HYNRkWhy6E7cuiWsETAlMe9/yLOi27XpuDyL6GsotKxW2KK1kdCNlGc5fNXzrOOFe1MkIpaYnPhuA/CnDrMwlEOTTm9+CqTg/uWVLa6SekzHIYDx7vsKe+sP/d9zG1al10PuHMNce8PLnVgwsrKgDwaioAMLUp5gCSCo87Od04ho/D+Pajl6YW2U7BXeORQn/oUlSBBrw3Aaq7ySQ6fEh9KNN18ycB488lOUKkb4SliI6c6GtGwKke+QR3zR5G7p56bMP2WVz75Iy9PSawlbZcPK6OOKWtWn+3b+gSObDLXZFvlK4tYN/0YLKFa4WlbRMRJKPiKWDeXBdzxFtrmmDojN/NHRJj+r+kmzgugce68ktATnOYrabXBDaSuPCVVkJ5xF/ILKRrE4AnWerjIodCjysBZxQuY6hW77pciL0pSFnDrYQuzrGeqcWIM1WKLvYwmBNOE97v/M/m3F+yicO8nnZxMU29f7xXVHT6ONarQEzcbNhdC6rRcZtUyySCu5C6VaZUl1oN9LKxjjK14MOre9pXrc06hJstLiLoH0I023i/opN0XZjCtj5rptt1iH3/oc8ihg1y/2GaPpXaGr9oSycSjnUhyzdGqOM9EUzJwZw4635J7d2hE1OB1Fgerir+R8SQL0p0zQb5b+B9pOdSU9YfCPmReYJnq1L+E9hDXCPuyRYu+514dEE1ycAqtjkIuLMN9XpDz0rflXiU2A2SFdTOKLOrgy031aW6wcqMMR2iWopOa3hlhG4wFKX7qoHu9ZAJCTFvQ1Ehd7ahV0NJ2i5sCS2mICU4Yd55a9hmmRXbudrTMovUc1DIUYoOy2ExRT7jzH/m0quTgMcOM6U7j4P+gBUPnS7cwym4NJMWieCB91GjiXLxJRf8FD59WLecHDkk0reiADKvaNXMKyDgwt01n1F3ZDKihC/x7a/ZJfgJyC+17SWPgyB5bNluiLIaYxjiAETZ/teRkTkRWtBpx/lIT/cAgDJ+frLOKEuqH+Vf4GxrORn0ykGmR96OoYCqCvdiet4EAV1o2MjfkOHPrdsXViq8tfy9/m+bBkS46HiZyyezXmNq2/9Ccns48ougOZVRmmx8lh9xOXV2OWpV5ofiqPXynH502koBx6kdre4CVUwIEQ4CyFpX7+M7592sFa8v4I0+etSZJAuiyRau3o4T2E9a8zSDWWRbVrn2nnmOc5ITgjLAGAFSQQvPWHmIB1hxoYeJl2M2NqUm1tiY7Ru3tWxNhuGitz9av5t6SwIa7PBblEe5Bz7exVjKfKcKLlj3F+VmdeEDcJ2fpwqsc3LrAD3RdLJZ6M3pYdZ+nbUr3rvnIiVJo4JKgk95e3YssUQM2h0OUpCCU0Lm7i+nUdGYQ1VeZvlNt2geerY6eWNw+ETArnVfcHsTaczk0Akp3p8EscAlCbqd9/kfnnvSWyKX1xDKEiKvE858t9SdvNqu52gax6hLYUvXNBstEErritmoo86QMzYcdQdccM8sYD273DDY3IWqUzcIdAoB3TlN/4UcNzV4TwgFjuM8ffKmckhCsOjlJXER3dMvkuOUbdEavb3cyhBy4PF1BQ0Gra794c1scFYpq6kmWfajf38ffWMstrL+NTgFqUpxzhH3faoDRhRwhTPZEpWsbpYbg3V5u8HeoUoHhg89EFc2sEX69+ygAxy451mjPH58LM21NZ9/f8NJHiU2/4qHrHdvPRscZ/XQo45nG6MfpmhryFF5qqj2jdRLfyJ6la/ixkjIAr7khiZr/xNm+Q1pRuKUGhY3dxAra1/q9CdPbFeNAp4qnpnSN4l2eHI/OZ1ZWr/xx88KakLQfZO/I2YxMZHn1tnpBlrd8wPtjf6te2Xo5WqidNAaGVQsRJa+o+N+34RJDpHQ6WDyVl9om7N1QxsQUn1LfEbhsUdCVQgmtj4okWcrWAFG3PZWwEvwnfuAFyIycPySV4SC/lCmVtuXELP1n1v+Eebd8cW/HndOaltBlPSpR7PFfBsCCVWMrfpQmFtP9UsR4qVUlL5aGpkq+G9lun1qQ5EMDZwkBospm4EpPuy1MqftFsM9DSXrjRFokDEkuShZTlzFHDsTz7lqKUs3BvuRKoaxrVlfZ3lLBbDUS/6uvKS+ibPbC0CBcl8/X/x6uj92HjwcoWjf1h2iKWD9Kp3INdpBueJa82WEqZ5VnIudU1/4xQZ/oPk2S99R/Ko9mntM3AS6UoF3bnFBmNa2rUgijAYTC9aiJnWgcOcte3LnvGYtHlqs5OXrXLdOKzQusxK8i02TsJKiDAaDG4ZfkY+DDZIX0qCo57HhUEy4cBGQYgHJJzd2nhJMje1kWe1vdP9WGS8Gl0b029cWptaDfJoSu0MzuLDl1ReG/jpPH3T6cKZXTzwlOoxLAbeMQ38S0JaNtNCJwQowaFKHEB+7UHcpas5l/jYOuHXi0kvjTlnrznTe0dJATStqtx1D9SRRB/vjYdlRQb1vUESZ4xe7FIIcy2E5US1tmr160dWp4ZGU6XzZxMTp48f468E39OXJeMBisnmKL2VPmoJzFY43uUl7Ekf2SHX3mOaG+lqN7Daxlqsb1OkX40OSuxNLjyt/fnP8gZ5fGN68TWfJwsVJGzk9E9wB/5f+F7P8BnHT5oiRGh1DHeV7prXR1LzJzolmacz8z6QJmxVbElbKaSMGsi4SGEYJb7Ho3c68VGsxqQfHdAy+VVkveekocWklCA73GULjwtyLQ9GoU9ONaOgK7e0DHsb6OIofyXPRDVYnpNy7di95aTv907WevbiaOwX+hilAJ3V1nAV72wfdPhAJpOGOdLOABljSUQj8J67qSxjSMOTp6SmCgBS5IzjcxeS1XhEW1GosFo/cwb4Rs8UY3YIBF6jKv69UKxNIYWwmTdn/3GKPU2ZWFV73sftYvyhYt10moCFCsfUyE2UByf+qcUTp2ntBK09hXWRJHJQDE2k0BduVsQDL+MUik+PZRx6QyuM7NOcJjKeDW8GM3LST+X2U2piZT+hm45aeqZ928hJPGOElGW7R8Ya30o56sgzgnR48AoH0yWn1hQc1MmTDOuVYOYxwvbbyhl+Fi0XlWFkkUeQ0nraPyk+G0JM4OPTNNDj76Xw1usTAEKccgnEt5f52XmhzFFK7lII5FV4VbFwpGe7eSL+cHYkAY7SDSAN7onPtp+luW5hmU9rx53OW0oID2+98/i/4rDvqTryuthHxHHKR6rANoZcG1vEa/O0oGBpqG1AgVAlEeIqCWwsiCZGXruqy+oggX06M4Vba0gvNABfdo84m9Jwmm0kjRtNhdQ2gvYHjhtZzC0S+lmrYpJJC2Vy3UUDjIHnbiRpAHEF7HqJW9sz0qB+BWjFIzvSt1NvZwFWQT+f8+AKw5tgO8LZyj/mbd1q+5hWzhfq4Hdok08D4YrcNsEfLgjGz1EFk9pH78oz/KmrTAwfsAT2IoR/D8zsZN7MQNZlumokiuXzYZOjBN01IyUS5+AeQjP503Jf62UFoGaOMs/YERfodQ6Y/fM1Rhfggi5i/VdpJOM96ypu+1gJs0jrxgGKf5mcKKRhuOHeNFA2tcK0c8i/Ue4XKBsIrx8g6Lymjgkcys/QBcA2CgY+gKsgSJxurUt7nVwbMU3M5CK1kuNkWjKVRQ/hUCVoenJYqee+OVvQSGzzOcyT6VYXUDk6kZ5ppJQE3xkjkrhxlBrM1qkfmRFmqVQinEfwt/mg0HY91+/jJxCpKyeEMsyxkNxY55U3bMLsQe7rUtWLI+070TNCBGsY01eMzntfK2P9XAF9tvemV6cxlNRgzP84Y8Af2JwBlKAl/LC8qy4RGhEu+PTVaFBQEgc2ZKXGwQcHF2TRiwnlMUZJPse317o5f7VQt0wy8I2Cf7wZY9uf/PSWW6ifI9Yzen+BvReUb5qdyw3mEro+dXJuTi9B2LmYQugx4I76XfJHdjEyG4vfjqA5Y+/d/RMdclokIbQ5wkBsAWthSEXdIYsl6KI3s/vfpSZxX8lIOyUoHqnCoR19hi9xqUIIcwC37rQzlAr52wDe2sc4YR+ZrWSjdZaXORpdKk9k8MvjBdB1gMV/QUf8r4ccrBbZ/8fdL7RlOKhU1GuxCHebU4X3H7sd/cLTxWmR8APbHFC7uReLCQSfBq4KHOWX2ePb6HaaE1YvmE9Uo6v+nthqbJcijJj7FHP59UHSdWj/8S8dzoSAJPj2mU0H/L6lZGbt3Suvl3FNwmTKK52hG5A1wtGahQyyzlVQopuR6wp0oVIEFXNLUrlgcr8XZ+eLBAIlWVjxwaZCUnmzXVBMMYPV0ZHLhi7XUWMhX68/lssVt90oRBY2VRlA9MFFMIpwQaXzJejMxz65IZjSWPu+sQ/gZmp1rpv6/x7q1ZTS4oUawHdL1MMugSJJQymGlfEr/hDfa2V/rNsJG/C7QsPPWEL9IfgPWiZCv7hUjCSLxzlV3ywtZxZJenkgZxow+7unP7bAcvy5ZoocGO7qrGrR6Ci9IhM1FfoaHweT7gCSM/KaP8QgxRxoDUsHr66QYUezoWDKQ9Zk9AAwpkGodSKICQokdundyO/hM0JqgdDFgC2DpGhLrEcwM0rrnz3FxsSl6b+hO2+4y+QRDMR+11NCPTOZsfLAlEHuQ12EMgBtxCd9VOqMATD9l3XM/RWM8ni/uPajrdB28SIALkOixfx2Q2F1PhRYlMPszEgXXdsFGnBqU08BzAWyewxyrYtjwW173d3P3oY75h8TOe2rImeI5ZDMCNU41I8232D7j36giFJunS/Ag3HpsD3ITTtfQisMJtyZhtBbwzAxNLQ0qED4D4LCKRMdMbQYCgE+NvesBXCMRFpsknnUOnJnPAAjQxMEpCLICZYKNMWpn0Xb65lSH/0fJ2tCdQl48ogm8F647SuZdmX8bNyd8aOh8hiJfOXnw5pjqA9uP8jnQTRMkSb3jFN2P4s8yRH/ummUO4jDcXOLhQr06k2KekwoAti2q0qq4CuBbiEmpvSV+FwbQFPGMbkEg0E/94cVvvJwEGblDEuQuq98oOh6l9nULkcJOWEIKS230WQIcB8MnYSIzEos1QaxMi4M9TvDu7W9xedINqfd/Sbo93X78nQzscgHHpco/MWG34zj5YPxACezchfVO4doelHbzo7A4nn6N3Ve51ERx6wTjYwwp8BNNk3Gt3FnCoKNqIdN3sS3N8RO3mFK0dn7EZj10VLYwpgz1be+E/wATudkiM4vmMJykYEPNMk9N96IL8IX9y/B9PFcQ217NMf8usPIxK3ZK3KLW2K5YvGNIATWRGmYOdEHhrqbD4mD1ReM0yqKab2xHXPubP5WGYTzrMuSQ67X9MRq7P4RfWpFsNNkAhcqwjWIsJIfv1Sam33wD2yk540WthzQbCo6ES7vZRDs5LvA32eppZ8xWdpAFNuaglR2jiTHGbYgq0k1adEqFke8fvx4SxK/ifmvOptXqhRHcBeGIggYFhphsLwmNKQFoiLpuQfIZXmSfIvw+Tv+OppL5Bz1frCOG/1P/37y3qgLhbxtPD6bFErY46+N/X30aDEwxcerRd8ycdzkHBbp4JltOpsvglhueHyHSdgf3IjK3a6mY6EpH5GnD7kDnfSeIGJNnU64NLfpBVnB4iIUojj5W6VvfJVXa+osoGFnarC+FNYwyw2oUlGO3BbhJunUeRJdGrkyIqFnK91APEtVSH9CLEloN0eODbSVTzYXblPL6OCAMXIRppBizPvJaUKwYfnJlGt08HtVJXesHyuZB6xMUynwwqTYZNVFauJGX/KozeFMDrG1kbiFnuGqzpW5vdypZH3C/RvYT+pIq7zODQSBIafCgxoF/fLoXP3nEGtkoOjyk+eWAWj/Ff70YohcZU32SX5CsX/3jadIXX4bVSMBQmSLXbQlZanxlQXt/IywEDtTWTokOGXvs28jM0+4Vh8YNHZNudxomWx+/qKX7QelijvolX9DcUlTeKJOzBw7cTLhp6tNYIO9con4jxv+hTURN68DPhjlPe0uLf7HufspDJTAj4jpAitVFVezBtL9+/uJCsrGqK64N2gehrD3WW8tJexkaBNxkWyFQfeCCJNzEcXo6UjIpYMuJKrmXxPuNl5LAisHldQw9X1zepCCAPOd5OaBRHgDC1jHy1rRq5hQgcOiID1rP9Ip6gp5nI0u29iGWS98PePArpTkYSltJJXR4i1aqPBQ8nOUIrVQrw+0dzL0wHbuoQLF44HZKmZZFv5S6xXZts7GW9GrrZRnMhtjwHBVnvxERG2J5xP6Z0eFAsANzLcQSp09fT8hq9dZEeZE05SjwGJ1RHQkTxEIC+Wurtm37NhBEgwaJNQWQyiBxGgRGsPnndhgP0T36VxFqOeFlXD2FTGbfx+/qQ0GghjJLcpV9ovn/0vIDcEcPsLFGGH7Y5vC/jStIf0KLm+IjJGkOk6BruvQpX6XZpe4agzZiLvq1c8/DZB3gIpmi6S8PzhchH2/A0enahwH+OPJWIf0DIcVeg278OX2tUw0XxrJeyT95LoyQ83LA/S1X7brh6a5DJB9El4+AuBRGSxSRh7UtmuUfHxF9QwK0jwxHIfUyCEsdFl2rtoINBZ2zMGlkvPvqaMGfxehz2PNqN2pSd76xXy5YfWYTLJZ7D7kz1nEHdaa5PYMwJdUJyaJzhsYvnrUBrq/gFgCW3f0rMeSqpkRGLEv8Lo6TjOx6fB6Z3bqADieLXaEOVENMNQg5aISrmQCgX5c1jOnQutNF7rmH9z9dVNT9VUhTyyOscxnTCaHhItVXPobJufzaobtaBL5XeEXQppPWjovkU0tJZwTY3EursjPTmVeifiim2QQ8rPW33Ss5w/KBJCI41BnuK/3Y4fiequxiVdXa57fr+m7BbZJXuX85A4+LahSXhpVIWT6/Qa2Dy4PRCZbmWE7wC40Vv+oNvyD6pPL8sxks/eYaZfN5+VqJ44GjlZ+Day21zsyRu6bG0WK3O3FacxZASpL4ewzzBvqvmj1XGUkGzyO0DAW00ZFC9U/DfUSb1ITvS+jhP5T45HEu+qKL1BQ9S357/YC+jPd+McCHhOthS2pqMm/s9x2PmQdSYCtBu8OrAiTVvUdYyPBaLHG6ze9BvPQfBxLWGPYSYTmPiGY4GBdCn4h5AsrK+Mq9CdKoj5ScGRrgW9QSuzyw31QYXezmsNCfR3JpReX+nQB8dQlzHx1wmmZjRydjZg6XwPlCC9BWsleo/9M5XU0qrmJ9DWEjNyMu3c20ZbsoVdahl7c37H1ot/YLiWkW5M25JEtS7FwaARiR4qF1dgcUYqqUiJWUxP864kLvMULIT76wXth8Yzdzk92uhvaH3VfhzIz8yJge/BWc2n6IoOxXTN9gInLQTbxkR61GrswD0d06UrnsULTZmIy4X1y37i5V4c/C6TpoBbYTLQdrsZpQVEzB7HheGzhBmi4lpC3vwt5cNRZwG4fAdE/MSkUBgy9qKjJfO7Fn4c9WTvpDk+LyJORQafXhJYMjHi/YY2lEvqytp1EEGhnQ87mFmpGz3lTIxM9lbbnWy7v67gRTDc31pJTzTSMWWV9GtrF7ChIPX2/+vQNtBFJxGX31JeIhk9nC4TmSDt4bF8y2asyAdK3UWUOc34vyzY0ntr7KpRE0YsdBGBfhYiKYIv1dKQ/LlXtKglxXKjt86MdN2nRLTLUQLJvUqWBzlFBv3HjRV/YUiyHKEKA6twy97eFrTCr2OaR2OmhzlB2aQX29ZYkdLb5ivgC9FdtcTk9RD3VN0zzQ5pHzzxFFA42eus8Xl7soeF8aBupUSka0Svr4C2BwPsOnfYSzMQMQPcXm7plHM+y8o0l7g21dIYFlyKsG9R2OL2wiH4LupMnAmxmnDsvQXPv8ZG1A0bsU+X5HD+XO63PP8y7tcjw9eyrTG2y4bq1NF0n71TsWgrx2/1a01P/lG/PdODi5XLqojHynUj9cDmZMTnORFNSAi3/UAymq6qDGMT6je2e8oM7WwRa8mVebzeVhqzjDp1eVIzZbrQUaZaUmzwEaqTwObfcit5QMK3ZGANlQfXx2ybHkGPF0+UhQZB95B+5VD85c6KK6YAPsytM1S4Ur0S8a4u15P/J8XTpIfEj9nYnupk7U5cuchj4uRnq3T4tZUjrR113FMAqj+k0OUPMjjKICGBYIy6TpFxpmOHlTJdmcOFpF4waB9XiQOsr9ITsQRZ0HBnJ7ZWY69ihtsKlUcvILSZE/QK03772VC7cW9VBlgypRlnFhrnXNM3zQ8G1FuX7rFBJ3Fy+Zr7vylHGkmG68Exzqw0HONTgyoDcYiLP3hws38vIQW+otXiEVFifl0EhyuleGSJtTG00GGSpkeJN0RBH+hCdT5Qo1Ef7n+YG7FBzYFoFi8N4D3Sz+4hSWf+qWB7ac5fqrpuFCpV0oUj+V0vXUZ/6fRslvbIE+h2vRIHjdeJTfdeQ+vH3RQAZXM8x9C5uB3Te7LC/PyZxfaTcG+CVrzU3l6m4oBxTagnQuvAvHKZ+hsh++FzSC6lEcI3eTxdBKf80A5uZgxhTCABphnXeexzUeTVvVaHokKw8ThSU4GFBgdHCG+9QOMVJHdOtJgs9mjNTdPrMQzBH4EpFNdfAqA17cXKRPslxphbZ4v8gh5ve7+bpAlKRpt73oOe5cyP4uIDgTfEk7Dmyl6T2A4SU8xDk9OTMmMfbHtyYg/x7YKwXFgYUO76LDdmnqftjyh7ksbbsB5qpsH/SsfQqmyOVGscHRsw3Y+9AdZW9Nq8QgUen69+dBdCEtxxv4dmjtOo9X0xrgS4euB1Nwn5+EjcuU5rtMvVtoqqLH8MihkPRrnbhVbPaotg774/muIggKQofod8LWZAruMfx03yK3mRK8mwYFlmcmf1TUiXgAwYgAvdSv9UA0Ti/SGPd957my0du2b3llK99/dv3VJe+atBTf/s2yLXOZKvAK31yoNHIJ72SDeGQfOK5hr7pqzKX1LfLj4MIrF27z+fxsKvDwrDVhdawpqpefyJhbVsAuIj5SixhLEAP7VA9FD/Zfx50OhOFr8HZOYbsC51zWv6fI/kh/QK3nP6Kusf2SCULcoB/k3V8nhesD7tnagvp5Z2myNW5dQtMfhtC8ET4N4EURucK3J2ZHNQVkPqdSH04hGUgf+B81T26IZvT3HnaUMnV3VABDLTP0e+wwYmUR4LO1CcPQM/dC51uUgiVfrigmYw2PyqtBYk/zyCecZ2CRUsDSNZLqtoyeZGPoTG5aOYs80Tnm1+eYOUf2VGEceYLd6qq0iqSCXIF/VxR/xiz95KyVH9qdy8q4el2JBRwtCLrw6uO053Ce3WLapyul5hLvJudPhoU1X+4uD6j2wZLvDmJynHZLcRo6PothtaavLDPqbe3plngbalMuOzwb7vp0F4AueosLd9kF33Lnn5WDcGS5jl1w5XBsKGJrNJeI52U7jPKeM0Bxt1rx1J+ckVr54KBcyL5E4nb4QUJ4XwFzPlYLUD/IAuHMXtEq7c10Pe9qWtsEYDJthUeWBleSDBB1kRgE/4N1cmwYRg7Wc74ra9qfLewy72k7ZWEwZ6e4kyoOrI3k7wUZvf+zJRgdBBYgq+zJzHet6RcN3sOP3XhlRMdlL1Ul6Cr/M1vthsLIsjIEfDhNrk+nTyxX868mBhzNHdN0bajBcy58kmQPNs5tM2oa8cEy2JhncV61NGlffoGKVrin0VhHRB3Ex9xca/3Pbg+SBMyzotClJ7bFINo19PXZjqPvUQITER9YS0VxLI/JSwSFTOQf89Obhp3bxV7OhT/8Tbl2PabFlaYWBPm2NPqDGgL6eU+Gce9W0DqIubHxH8KTLKWbNnXzvCp6nrnkF2yjodvbTUSETIZgnoxOb4oDdQTnGov6tm2RypYfjNXYbRVQ6aqQtH/8AJN3RVuj2y6SWFOGiOMCkZAa9yFb2fBJx9vTtDsJ4UQlWB5CO9p36PNSjB4imHyMImDC5T2uR9zFVrDmgsPaDPfRyKhR29UjBlUCFPUN5YegUqDvjkGGDvp5ZXfA4snt9fFpEp3JicXa3NgDtQ3Sf0RSdR0DMF7r/TJBXdVJjHdhL4BfRaZjzTMMu+T9M6M5nkTg0ES/xFHH00vEAl+LFt5XwCj6UG7RE1sio+avj64wIcnUd7LleSoqKoBEXIAvD4H76Pp3mZiYzSBY1yFG/04Nmwut0mjf9fQlWi/8UqV4uqk64c+RWwiVo/oTsV7NmFX8RqJaIXN/W5nabk2eWErsw2codjHonYbqY81er20KR44X917GMcSAN2F2cbQ6z7fRs1lNXvEx12pW/zBvT+8cH53g0ebTVrTYO3ZOGMmHy9XdK5GucZqCIeFXZmlRdOt5WAJ3m5qiDh4khoA4zsDCZYdlozE9aUL7Lu0qYLBmOkEsG89es+tLoOU4H45kGpklMiU6J4LKGgVGOnOpBsDYQA8dgUYnYKHczijeZDyzHMYqMSMniZNMTArFxEdIKlIFlEjOztcwOM4hRITf45eqyyaDtaIprXb3wNLov90UKur1IDgG/L3v4Yk9azGAB3bxP+8qQU3LWboFCXCjRvjHgjn5LS3J9ueLVKHWK0ca1qLpEbvSC77l64RKIgaKuZ+GR6knFAy2SsbGfkrsTL938oklUVJ1Sn50PzwFSJvnP/YdlMNYp5jqdKf3MfX2ZQNfB67Rek71U690Qznz6ZukEUbjWswRGpPrKF531UPAqsozo4GWn/jJtpI6DNHoe9vm1PbOEyEIWbnDx2WgCngntNqX4HiJiGnXqjbfKeolqwPJ7Xj0/nUw9CfRGABUegDaGUh88w87EqsfWPkHDLJmxIhrzyP0bIKVxSd4IVghwKr9UZZ/2G6Q5LaHHuBfvaklMgNMAo625rTTLEy4F1MWShnZmBqBz2XF/mNn7VZEq+8H94w6LWUcL4138D+5LsU0nxq5JUw5WPj5gH9UhOAH/BxlYvw7dyUKrIX6fZsYSdgTeAOuw9ZoNvcL7/ublc/80yC//toI2ab3HDUunDAwugJ/+U/qRJNbm82YzLvmZpniwnHxenEj6O63uKPoU9CElyt3AufLVIbgp27dT/27H7HmaFvwsyDoIGrMLB+GapyVDrTrpeZf7fBMSCM7+qbXNzczA4UkqBVGXIUuWe6zdTy8ya52XF1AN1P0+U/SfQbUcSOGntRSqcTiBqD4jBzKyJ7DiZLrN4cqCk9uHDI/DpnIRDMgZ8lbe2zM5O3+86cujDCpVVgQiLus3VX51carhlfc7vz9OLT455LQAspEe1eYu4fx59X8XuSI47nOvz6hXjCTGVvw2LnmzT+hdGjhHr7k5inFtb+bmO5QTxurq4AJxOhIM50KkuOTPU6z4eD4TeD90sigi5izTkCQBaHy88tIJ8Oo02YMZ9eshl0z2fURPp0/dfsgKZJIYrrDlyZjUsTE4JZebU+E15U0GbpszXCSu37YjBIyoUuMMbdM6NOcIqaimQBePud4cOgkkbTiuX0OGkdBkkAQU3AlxreIHCrcxxmKi+8zQNecWRmIjMVgWJAHT/viPPuc432HmHnAf17y9IZRQcdI0P9kI32EchWHHTQSmnK6oAehO6TWWqg2wvsG5hVSCDovicU8F9RpIikeHUp0Uc9lqn8cTnVdHQT+wn4R7Di4Nl8tuQKHa0APrbGfQImF0+FV3AjK2e1wLNx8zoa3+eQu21RqTCxUGjS0Y6yc5Vlu+Q9RGC+N4vEmgsAQhs9B1y/t7URndtn//KdGGCMgSgPEs2NmMAC77E48zL3X3D1xtiiMJ8FQTmVZoIA8SffNPU44/swyO2zaRMStIN0p5HjGAiTy59ROhrG0RtjSN9NqitbswZHoFZCwqRXyn3WrXMPY0RJiT6g2f8Mueh5McsLYJ60cNH8o4WDCGYsjOQgvMNWpqMkB5rmC3U/8jNrKcCjw/fJlg58hPNZ5FAAaqtKk2u+IdQMw9HdspqDo2q4ItvS1uuQWwNxoC3cMf19HdL5TVvWaHlGgXpsTiacl3czdFPS4rzWpkyMA1PI9YmL0n36sjr29bkLJPtIos9dSLe4v4DZJ8m+DtuqMOBLnuHDTxNnaPckALiIrIXyiUDn+MPXSeIAqqZzSBwuWazR+hUKrre9vVw6sOgMjrCg0s7NEk+JGySZFrIRz5anbI40wV5A1Im+3AEZk5CMEHR8ZEaMTpdUyBLKU0TZAGwYtYTvNmpOUEf7zmLmZald65Ybx8DiYjgsX/qqENdIBmmLKOuKQt/NyUN9htViAWo6uZRKigpIomaClFtYtwgHwHVpUiUWK+hKPRYqTEocSKZ5eQdGdrhvmZmF2BSBFSvg/6p46CbHa956q0Nls50dIfmldBL5lFPc3i7ugXuEYTbzvGBmOy2wt7ue9egVvQO9Js2E1KgykWn4GvJs6kvldhmoSZp7QVpbQs9NrOFDyoiwNbjA8exZHXd5bdsNdj5mOeGtEkboqdR8imHjzJPDfKGpuGvp48+/pSUIf5Vm2wsKdvKAHJ6DeNiqbkBAYqexbC6eD6RwIaEA/8P/yez7iMkO5GS417fxJRYU2pc7R1VFhmlS1tls7nuI2Ht87mw/W0u6IwrrOgzZCm+L0raDOIafu8hJRN8ZnVNpYy5hcYZAqyId8YBJS7qXQ4rs+6zBS5tlE/DX3N5GTZ9AnOI2/sJswNnzE6JT/dj59UWkzwvM1+RI5pRRCDfDFLzCwDpegfD/YsBsockJ42R/1rcvxz2nLevBA2TmBa1I82+TqMVjW76qFiaVLS4r/mMjrIDVp2NawSax09uJV7yWMGgu0c1Ebv9xcv9+kx8j7QGPc3boKIqDa8haCqnq5a6p4CpZwxz83NQ50UUG4Z1ttkNfeAh7NfUEHE9fW/H5jbBAOxE0XeUUzSpGfCyxCtH+3e38u8A8gmCChD1og16B4PnHcTB9HcCjNpF2Bm9ltJEhyWSdp3y0zasGxfdHDw9501ZXt/mOWO+fKnVtRv56QRlmKWS+owsel4WtQ2sYmGdORmWVJXULba7c9XyMXudBtT2ownLYPprovrk+iBd8NSzd0nW2V89roTnf/92sDY2wSY6cO2hRAOsBpR4QBajznbj8OBrAC/puS9U+ZmQM6GszNrbXz5Iw+NrGZeIvBap6c+2UjnUp3u8WzHfg8evBXaKnGBEwlDAuq4B4FIpFkSOpZflowPDkYcB4Rn1aa4aMyUAu6nd4m1qjQ401YOF3pGuEMlbO9YqU4CcLs0KJmhrIRdZir7V5LMYmQO8yBX1Kch71YFKDl8I7aBni8RBzZ5V0FO8/Fksh15X+pFnEfpvMuGJ6D9idNAu80GtB7U1EqAiqIF2Hn1thmgcFI7buwfuXimUI/wF8fWAZ5R0uVchz2XsGaZDoRBmC/Gi0bGlH8rxh762VEGOr35oC4kwqtUdwXwi0P1HdJ4XbeDKoLRZ8XL/rBmYZ6zAYmNb4fEVxLQX6kQ0pUbzbcz/Xutn9/dgmsFDWw9GgjhS3o9QbWYnojb6ViSwM04VajYuZ8CBU8z89XETvEf3wzb3gWPg/QlNd1W6HR1Oy/qcYds8oj/oU76xoqgC9lx51PQiePMxQH6E2R3giw9CN1hwjks5hwpkQLgNgr1Yj57igP2U0i3uYBjpCCUdxYplWdTNiDX1fbmU37bUeAHM1OxWq1mWSFYtmXcVWKBEtT5yBYxFUZgdUD6JRQW4jalGMFWzuIwDFC29QC24pUxR0GSd7KPElH/gMNSZnx0RjEMhs4oHCC8lSpSIsEpwQI39mEtx2WAtTd8gY7sbIsSrgyK4UByRvbhLWdg5t83/TbCJffTSVtrIcL8WB3QKFZ7U2cxFNEhr0tbguLx3WzqUPhE9vZ+X4cEhVi9WmGF3bBx08JRiBL5jgbjIbzAmkZMYxS5L9Zp4ayji0grKraUZxEEKmrfDKXCh7a4Xa13VuqjncnTs7Om+B5FMGpsZt8miExL0w9d2CIHkUdxlnNDbEqJ06/7VasYbvIcu5kHn018yCFRIEDot+rScgN13oprmDOS1L4CmwXIsMqINZt4fGlFVfT8QPm7vOZ/oHQNQZCKLIGjb2MWGBIA97aQw+5MOpkNdeJ4+17KvuP+5SV/3a+il4/u9Ch2Vi6xa6gbrElAedokPCfpEQ+gbwN8kIgmg09XA9zpZu8zJYflPegwUpqJJmK/9LsmEPuOZNsmXWYKk9O/th9Gb8ycppTflotnS1v/WqWRT6Zp9IQd0WNyay3I7zFccynMsC63Q7ue6IiIIrt8YDmV76UdQA+zJCVUfGhyLZGLlRF2R2wC1Jd2XjB1ZvbWhtnPV2XXXney4fCuOqLRdDJOmH0Kp9aqFtRtDI0y2BQNemWboSbpXWOSimLDy1vy+7K3Avtj/6w9FEMdRHV1KPrqtZR7tL8yl289Yo8/H1kt1n0lHN10R8hT7nPJ1A2d85HTzeV64dN9tTdJYYkbYhc/d/zYvRjUutP1tYmpzdBHYocGLFQtKnrM0zm3PaFwLTW2/7hJ/P1Q6A9oxMDurkdPrnModeMp4FOHt9frYAY8hTcmzdjufuAooZhO26H2Q5wnI6mT0q7CPB33lNCknaKahGl/Av1VAlIyXAh18WLfLZlEZ7VAIE1OL+R0rluvSSYYvnyTNLc4bak99FWqc2PY+ZDLMyalJZjxJPvPYoGpfYLWvPPA0247HLjfpCJiFN6eTph0GmN7AmijN7QI4DE3sW0IOnYDNcUuTdN8mDBQ78jstkMDx91HJro4MyFeVRuFxGdLOzoOst8737bsoZ+Mily5oszvRKyDFhLm0t2G0dzpYPjzJjD4Im+INs8V8g17PeM5esPysBnCGZ0YHJnrxJ7P7fw/MHiEmGdhnOzM0tPifLh3nec5JP07bKyizm9DexETY2LM0FzlfGGG3iNa+KULBWN7uOmticbwQcOXaG8FE0A4ghyKhSlg2zONM3zEm3Dl8I5REUTa5cV1zuywFa2i1wEUsar2BRpvjOrikRtRWQO556kVpPUE0pAR+ijXKB2b3YG8W5d8YYz+7NtYxyFhnSG+iVM2FJ2gYv4wBp4Wt2zDpVMfzLY1yHsJLG2exrvJC8OpNMFMvSEfcTgUaVf91t8MPAe4rpGQF8Kmfdb1IvwGZfSIzM9Clw7/DtGShCX+1aW42lVzM0yFU/lSwsw1tjSZAy181oxcZtcIKzz6rSCNpzz26V6Kn5dnE596/S5FCFBrChaN60NBxEPNmQf4Ivc6DjXfmKlP4kFx3jaFf3vAOlgvN30rKFgCPwFOprToGNDR2TisiqF0bghykCCTMcNnSH1QrYL2ontq0JH2Tr1h0ssrzhGxbrzmidC+Ru8oS9/gjfKYk5K0J72LQVst018+Lb5C3nA9vfvgATp4dfgCcpBJlPL1SUvqDAXy+MTQMJeGa12WQpl9NGIpKr5P40TeSNDwMgXu6VKvtKRG8naDdj4ipZH8yb2a4WIokwplDWdjGRfaUHQu5w0qKAbKC0tBwkKQzlELIxU08ImUPtXEiLSmoMGzE77Xdj1ve2gqN+SoPNd6OnNOmPwm1FxLgJUGESvF+EP0EjpQrwef7F06YAwlYCk5FC7rNYHe9fy/RNv120ppFmymbC/TDDPR8zw83TpWEGpBbbEUCEJn11P+96MKw8pZIXaDvKpxa7dqR4hYXRdTl5/RYn95nqFsfs9KA9MPU3zitc2YBzCL0LFHt1WsPQLupJkXRRlvT5nOfr8YMkxvxbZnReinbiHGk/2170zt4x79EOG0X+GttpHKDJZ8bCfzLk85K8ig6HxYaayO5PuLbXsGB0EBbjd0tYTmaDOchYi0BXNGAH758wONG8/GZSCWaFDNvxOur12/MQF0uOgV8g3ai1Xzm3CBbVTzcXRTS/6kkBl3N4JTJxOdqLiO9aFbB22joOECQ96NQcOVnXFFQKEHYqci4zW9i9Xz4DtGAweg9f6FaECcADW8b1+ScTVAbYZX79I5rUu1JcNozxNnlluFipncPJzu3VlDeeJX1aNIEAIIzSvylqmUmHP8TKJVw3eEMJizfQweCgNT2hlEVL6PSTk5As85z6TdjAzPOLGB6SBacDxgk6z2Yyx4HVlbyZZ727aI89vbe+Xdxi+2wegWnH1+FWspSjDoeFldVP117uObt91itql4q66R50LbB5Evid6GOo0aDuQcf59x9h0PyUAQtcIlrVQP7sq3TcEBt5MCwKNMuejwjgGPyX0/yI9GcoPwAJhkDGKSkDtGdIgs/KDVkofO7H8F/yQASepYHMsjww7dAPjEtxoeR1Fs5h0lQLbfFnxXVBsYXBGdsd7Ib0CmQU/wI8NKGwDW9iV40796p8FwfZCKmc2k2QT/Qvmao9RlP0ZHARPND0i+OUlyus5uU+ThcpB72hMG+Y0aP4KEVCNX+VQGCTbPalHQf916eqN+nKCENGygLl/WG16eitVTndr//qavZEqK8Le/utlIscLLhXhIvL2aUDeaNwN78DGVGpX5HvnGlgppuyvAcpO1bS0UrL84i2KhPS6c2vaKzyMp3Qot9PgisFMQWYzbuZeWIuZm9ZbCSX6KDEW3yn/DwPYHDVrvtstK5Z7HxDD/sbXVG2QKKbb/NUcEFcIAoY2cmuqJWfclY1JyM+vp7urdb6wccj0SgPh4VdrGecgNbzJTKMfLloQ0MLeny6UaDqvayKMCdLXG4X3LiOhLKWxAsIlnvvCX8bXPxNkgP9cu2LRDG3sXVJv5gHFPQRgBB7F7uWeTHwUjKvo4Nbep5D43Cd7tkqXJp0XG3DlxGsSCTYfzzBjG44IGPic/BRwmwiHm58wBU5iec2dX3c/F54Aqf0r+HJ36bMUJJCQ+xeIVIH0sWFSanX7bfc3fdOc6aDKi5qnMTp/OD2JfSqDjULSe46gFI5sFV/NnRHmYI+3FH8jWi7IP2VWH3gzICAe5inj/wP1YrRVJxPdtVl3ElUjn4J02dbcRIT7WW5O7mzE/v2jmyb1N2muYAg31CrBfgPvNtXABW2Ey3GosDIoCdIxkWFmoJdawWlzG0zJxryocjepidtTcJCaCR442/USDhya+4/5lDRa6iFcswsN0GhGXKSCzkrrgENlDL2G8UN/Mee4h1i/DmLHrBUp+1rBAPGo8PTcGSY0uUfR/jaNB6Ox0juEkz0rCxX7Gk2HT35fOvSJrh8lu1V8Czt66ppSizv1lQNNHoG4OnunDepRNwqF4mGhnNeWMHXzUSqhvggQOUvVx2Fh6inEfVVZFHWXs7odDFnNnA9Ixq/4wrWvEVWZK1u/DjMY/4AzkLPwvGoWIOFUX0lXC2+RJvTLAzmyjtoV317OY1QfijmcueXT+1u2dZvVzgCAYLVoDbFZsWz/rrODI4Vz3zl0+73kI3ujOfyPhrfkksstLM2KxkRozBM323vWC7tGKVKro3wPKzNG5qM3oiA2TlRnQArVBGBJO6gwWcCo6jBcfQXsRLneGq2Lq70DX8otQGcb5jtOwdP5geHqZHTiOe341f38IFKJar5To5by9CRBAv8JZqq1VnvvD6K5eeCfBItyURsijaxvGiJJE9YLE6aItsmsz6fzzFlSLs1ksD8eP/raNy50aJvFtRcxfDweqJNXM0dBo+8/tmqDvpfv8Boxfg0jjJh3Tqe+lULbS19VdzCwYUyxbmCyfi/mTvMNSD/rw82Yeq6CwXyFd51vaxmmbd/CQqVQf/w1qln1Jp9T/N4f3WU7TOVpS35oXIdxs89cszyYpojTY3/3HnFllMeu7B2qQxryxGwQgDun2LjGnJ8MqOx6A4jDpRZQlIcwc+32eH3u55mNR0bn6T9YEOXbIOxWwW/BKi+2g5Oltnkw9Mak7rdRtFumcY3H3vMi3vkl7B0Mlbd39AKy4FA2htcuBZhOo/aEjfdekZZHd12dPNmFk8PZXNq65MYU25hfsdOEhX1ftImjThinYX7KxacyNAx2cFNLbUzkPvvYSzb+JJw+NHMgZxLauNaZke+ZI6zU3AuUAOgYkIlN8WSsnQKLVLgsewvLBaFZIebuCl14NQW6TqNCYr4Gu3i5LLXEAnirdBgfZBMfqT1adJl3xgWa/9aqHy5QyDUgH6qHAB4I68ro8ahT96kY1eoas21V2y1yLcJE8CTRJBXgVMU6bMM7E29imXRdLw1vmVKn08eQaZ/2VvbKpAp9hwVXl+aD4y1KIlPlUhSfASCIgrQ+GIfoSrsI4O+SmwUxNjL86idloSwVUrFLBlEafAx2+H4UuHHEUtaT3kol8rp2uuyBs5PflaOELGnGcwxNuN5oJGbVZUr6/5UnL5B6Heb2VUe3YHYiZI8HempWNByweNCXwqVaEHNtNBsK2a1YyjWlgKueTr1p0K2Cy2wTykBBviUbBZQemrGvgrCkzANJjT4PbusE4mNIyM0yFU/OPkMI9J6MiW3Yl9t7fefqHqS6FcAliMljJPhZkAic7jmKvximt6e+Wzx37jcpY20Gg66IRynqSD3dKatH1+I+gzuvhITJ04b3irLp3771f/VVAktVVdH4q/zg/rsPdE2pwyenLZLzG3ynpttXHAOvTF33usFrfXfp1FHcdn4Bbuqy8gAwkEzGKDPf4LxdziOF5M4Ifr9mxOIAJqE+c+IfSNEWTrGUV9f+TP1+XSyAdE6JrApncHK2g/wC6VwBt2RiPkJ4tJjhU6szr0nQ0anI5ucqhl9ioN+elOOUb2mquJXPV5lIQBCeF5AiS7dhn8YdOPP5oUlBzqVcs8Idxr+OX409ZhiU+nIYN3VkAyXd/W0XNuusOjDURNZgfuJcmjCdkI/PcM00n0cIoYAjizLf1h1pKUhlu9cDvuEMop2eSJvcFHwdyJd5wCfF0KFjFpAervb5OufpeqGeQEUuujX3RmFsJ+t8rHBNN3hz6+UhDcvLCcVMEPEWIba8VGUkWo82KByUu0kXLp5YvJKbO3CK7+k+V5M+9TCl1MbTgr/2vaT1ZaOZdW3fC9Y3kHqevq98ZF4z5bCgvsvMvN10JcWOoS4U5pr4SlJEEZctGJtcCFhnMvrjS0/SwD7bu4EJRkezV0eXXq/Icihytm76drGsV+hLUovMKcXpLaDdnkC3oqQjBoSRTplj+Rx78k6gg8IkhzIfFNa+o3chj2CGoGsxnbiTtpBN26nUoYIZQNv5gLoav6zH7vNjx/OoKDyK35I4We2rC+vB/YA+PRRIcSQqHc4OnRbEd0EOmei89pspq5XUwda8NIokmpTRjdOLuXSFlTnsR6BaHiS3qJCzXJ9g6GH7svqTd3voRBKh+7Kmn0K5qeCbWcxwFPBdok2eReR47X+RNCh025Gg1Bg6h/1n07uHmj+hZnYzNDGA1S5Dk5AiU6J6Zextuwn2xCtknh8oNe42k1jrQVTujsOOP9BNKzXeiYBxeXwpTdQKdD5/itpMKO+buK1JFnRxPlIAbsmg99cIk+mMHMDxYUfRwf3txaRlUSzbmUio2v8shPZFh40m6opED+s4kg4Fkr4dm0O+SMkWOzWCBOvZAMqFMkt5DIdp2MC2pD6yeHINicLPUPLbXXLO7jIfnZxk0wirSoAWREJN1KH+gtBxWh6c36sOktCCFwsa9/VbbnrN0dPg5zrcH1dDv3hW4SwcBtPzP8Ef7EOvVUsUru2kb4jZ/Pczem6DHnXom/ilPLUuwKYjP4z0q9t84gYW29Gvl+zjjSgvA1Fh03pURh3kYdrIXFc/vekrjEBASX4U8c/NMS0DywoNAa8Wz5Z8nt/DkNvP/znVSuxMdXXZ68Qv/SA6ZEZN2e3+GqpLg3tuUfliAueKgvU+doSfJBpfnQjL758PoN0X/gvx4h7S0QzcjeadjIQd9SRk4Oo+hTD206K0E13pcMh3sIPxAOyIplQF00BAAFYXy4NIDT5ESPkFfr8/ig6WxV8SEJw11sCj2uCaYWPlL5ucBtvtToVB6uJNnYe3B8rD0r50dHSJyz3MDalfizcmJcdAFZC7WJyQq7NJjuVL4s5zKm0E19o9stbTfsibZMYJP8Bmk59QjKaAdVzRk4HW8a4GMJ/m/ZiqhhLpjS16gftKOw1Gr8VaKIHXbH7/dNGsthNwDatQtt3YkUow3GQPANwF8+pi+Y01QBwcsh5UGoCCy4odOP6Ro1nYoKkbV/Q4U7305UmFI6NcVw54UOSHvk1a9ePUcdUPr4XiVLKiJH+CkZydXeGALpRoYPW2D4xpntwst7aoxcuW4eFuZ/cvl6Zc+mqJtWohkAsCUWVuZU7DakaZ9PLrfh3WG8sxxGjHRt4XtW+2Szr9zzMPeMnTbrKNFU628puNluAWr2gcZUk0shnQFrt0/l0uB8PZGrNmi2kUFNqGfcM667f+N/c085XGmd6Nywf1D9gpSDvSoVeE3nhYPLZ9NpMuPaEJX9vmROzskSzqrGboxe++xuShT0nv9IMxopelbw9sb57gKEt0PesojhVVPsbYxpcA3T9RCuK68alvfP7Dxe9hf6y8sp9rDteMmWyd6SP+fOYjO65db+gWAYuzLPWCdhWTxz0CQpTozD+TI//PvrIlKyq81QlKSOCONdRhXCOGeAno66ucFiIP05FmOIhJB/sylMt7HdF3/MgoussiMpwcQRM1dOgE1dHubWjuPlZB0x/Di/9/KcnbwUKCqiNZKU9YsoARNrhSAGqYY6dBPO04zhB4R6qkeJSns7a4lAAJMQyUk73bE/ORju3AB0qPCGzGPVIJKPw66PmwJaVWHjMrJ/Gk0RDnU+GvtHoqAo8U9u6IIxrOQS5PCSVVDytrb9WIT4k/4eSMMAD79FAKll/D/gUAGWRLqkzMpo/nGAttzifZYJfI2Zj0CdlYl2gur2UgXMz/14xNviJHyxLKKxUI8FLUiQPdbz/IC6n+nXSTxaegNe8zz0eINlk2/XCits0zTES1wNsB8rn3wkB9Pgid58b0GK4J3TLKnw2D+FZY/gPw8l1l0fLH2EIoBSjhDsb2mqgVr521co+VYvbxSonvL/OzV3ANe8CFUsP+JLT5amizSy+4upLqfCcvT7NiBLJaa59ro0avgfgyie/FJWRMGU9MOEyXT3vIA22Okd3TbLNGkAUqIlfx8w8nZCJO/xzeyrFcCajJ3bcCreJFnmpKMjyvQpeM/qJfAy/USaSSFOCDrixuJWTiTZSN0CDQKskwModi3xHJlUxfSi5UyDl6+A8cnNB9hYN+Joey/b3e5v3kn5bYhl3MpdD4uV/MF3R/MhAPWsqd2rNfiuUK/MZ4WSKFG87HEg1ZH6k5i9fcq+ZyGOk4v74KCd+RlyitLP0WyBC8Iqds7M7H05NDCLatqzu0Z56pfhugVxt/PT3IijhI2Lmfpwdlc5Iq8bgoganL+Ld3aMz49GPBvECRuyOdjcIpbMbYn2McRtks6Xu6bCKfd37HeWJYSuVufMHpZfVBjl2q0LTXCxsxk6CXReBNKc3sHLNO/UNW1w0xwQQlK4VaXPXEsA7FC5rmc0cRQpgdDpSVt5ku5qya4F5UlhoaMh1tkQHg1LwJhSRk9fn6ZNclcv6yqdj4M/JUppz/JhI6M7qOjQP3fB3r1gYhg5ny/unOiiKqiMBzm7yGBvT7ca64leLj9TKNuu8BPSDK/OW8TaL+9qvIJPKCuwrcIHvYCoz41bHTGmnCB39NjwJdfBMm4lR3JO2JRiq4zWN3ZU24GK4vQEnMQgWeR9SgnEzWrV29TBLxEv1WORL6cdDr3Pva58JH8SqBYBFp2LEobAyuySEJySmcOcGD2Y4pNGjBy4sVYyjw8QsLBUHoK+xQSWhcp1CIq7CH31zU86EetDkl3Lo0vqfFdCtYV6/tdvYpx8o7UC7VNXmaeQVbB5tACXZ2rT6JSnhTpVtobTMUMIGpUqoGt1vC+0vXjhllW1mLMNOFWF6K7q3Vkv2dvEqMNJK14vzKjLxzkuc24JoxDvNxm/Epem1ObUmZipq1/4ER5TWPda65qtSjGFqTGyueXjcBAfCaMoIyg7WV5UxHc2/Th6dNhmdkCYMfOBD9AUrTP8uyBHLjxHd62ogGJXe7HnwQeqeLZ+OLO9Tr2ZlNIPmPxdySQHxVD43l65vQCYgbg+hf5cwwvwhxxnrWejh2C2sX5nW+PfjgxHSCxUh5I6iSIhWjYIEoe2CRpIpKxegmn8KwDFFzzEF1AW93vAk9MW9PvCYRWwvJKmr97T4oJ0dGZ36HPdV44DI9dKCfbxGIVo+4UCBbyAQH4ZgyKbt0LmwqlC41TI3GOwA1YXp7tNkXMRlsuR+iclXM7GAGr6WELc4nJG951vXb0Mz3U9vMQHVajctEI4EDBZGdgj2dwDJiIGEYnBtb9PM3mMgUnSXFTtyJa6Ydzs2gCOqjhlnDd4ylh9rq7Euhm5ak8m4hWd2QICmyZ2FGalQPdtmhvK4JPjgC6hwpFMcqrL0OmKlgEZ8QAWpYfo4O7dIgA374e2vydjnB2nh8eeV2ruPBRwDibzIO38dSxOc/eao9n+fdtSTOwAJb7FQjbmvPPQ1OIsOvOvSyPrx148e4QmZWSoX4PjhCxx3UJhis9jD2pCvjbn6hsixCJEQKlEKkbbxts2MHWVq6iw2nbP3JiNlxKW/dRqlL6vBVjDyNN5eXgjd/VBt6D9nBP905BhPpRuEz3OqIe7HVvPkiUVddyg6XKJV4dO++sZEYDGnKO5+DEGZpPFsUcar8np9EKwoXV4CgQ1wc5U/jt92RsEnVpGk97qjgCItLi+jLqGp+fHBPFtMinbdoTkbjea5AhsUK5S6u+qvblZE88UZdD1WkN6od+IoYixIS07qtdFPb1LqDWn9BPM2n6NTPqRGEVhU8qyCGRPtOEX3+iWzjd04VtrHZwE8/LuR5zDGDsTFLXNNWdeECfkXHhSMSPYL95K3hvUlpS8UkoCxKtFFUNKBPSFWGTwNN8wMdlr26mVuWfbfwnljUiC9JBvbVuyRZCVLD3q0qTdo7i4odGwN58A90CYzIjhZBTNvBr6d+jU5so/f/3+JO07byEds1UDNm/QYTkhBA9bW0YLeUH1fGDyASO8cgtI7lEe3Dh+XBAzNDqlt4oqibNb+Yd2ghEEWGhN7ge8hJW4j6TyepW7x9P/9c8zFlU+Ar67hiVrqy4V48MlEG8jH1oqjBia4f1cS3yvVHEO6oZwte/AZ+YbfDMyCRj9JomR/4nx/KqamMMKK5e/eDiv/ZlXZRBFXLiWqRHNPOYhgtMfMWIgrKkvPb73bdn5ZOpfaw4qaYJtTo9tv0hqTcWONWJ08POXScaNeSVws0yZuFM756xqcl0PtOtdH4mp/wvhtvYN+Hs5MYLYmbOyQnQ6BREjgJCubOsL8NVF7PEkQldTYxjt4wT8SpgmRgQMnZ1phF+TJxvTFL7x44TsCi/n0N4t9QlZBs/TxqRIWUQ58E+gniEiho+nFmwb9v8hhonvrPwBfRcBQeIy6iGFBkIyUhFXBCp85sAkRNX/73PFjwZtSK7HlbpT+iiAHLUQcN0z/RUVaAArC7X59gnHRVOmcUbnZ4Vl9E70oi+hddv0x1QNNZiFZsyLdSWTJkXYQIkkLrthxWjNkgvhbZisLNpa7TdRzpd45CUvnrb+q2EFgAOvKrPZA0ij1NaNvAbGw4oGqkovZX5mHdYEKrNcg0t1fzsJHfpINjGej+I9JJOu8ndxwbAbjQh+H88XyDeLRnWd36AVqtTpKyJdA01RrHASgGfMGKqvOmxMA5MxPWtoVlqkmSuR1BrWHagBon7bYi4T2Gfsv0irEnyhluj9W/CclwmgMDb9jiVXYaPjqj3MZnc4OzWzBk5osyBLOJPIRB4InGg0Z22PuDJrweDY8JKYPVTiMz5x8i+zJi3AYp9iT7a8hZ+dJXdfNQzRHm2pYuM7g/2H3nJi4P4NWaALYuQPByV79Fl9mEbfehadfcnjkc8hXfl9nGU1i5qvFdxUUnNe2Wp4mh3LjCM3SK/LERlwK2mHXrirnHnp2e2ebewqfJme/LabTfbk5wQ5BeCkQYDv/u9ve4uUtrjGORVygsheEowS5ZCkjrBSKksdGM4N0BmrdqhVIW5qbn8XwuhLNrZ+QpMhU+V3E3GWhxv890JsIQJj3e/YGB7G+FDn7pBbd91f5NHUI6zQA3Ogz4T9FFbhyIvx4FTK+SGPSjaFodE3tm34ZycegsWxFAyloQg7asETcypfAgt1w4H1u33wBxhX1qeleqzUjHvyZrR8N3AFimYuTmO0DoH4UlzsrtKPbGiq3vlsL2p/uk8VbxNO/uk28s8I9XMk0lGXF2tDBiESp2jBuAIjWzfPUhvuXu/JZxUerFnRb3t7rMYVAcPugn592yTuas2ZUK4Jt6+xfVICESBLaOe0J3JEquFTuhC1+95m8f4rolcCaf4Hj62jMX+WDuBR2WUk6AsKWuuErwv4ciNgV957GpDz7Ugc5z63xBna2s3bMHhp+Qsvym6HftGcEdFwhMaFeUO/KsHPowzUNntlX7Ljey1FmicBzPk4kAlj1r2gJji9mgUjbKy7P4fhUIwB7QMnU3QJ+8EFyHavuamcEfMAc8TL6vZcZwszfMHZHxnw+1/eSAnknXZLfa8N9dmLHDj7RXhf0SuuvIuaXH6htME/7wTS1JCVxxTVK/CmTHhUGlJt7UWM24rsjODwPmPvBi2OtdCxAb0s1CL4U7cYaBQMiJBZUg+ZSEebUBE0HW8peF5H/ruL1R+6CLvCUeCIKGQS3KZnNw0ykO0ka4hp4y8AzTmINGFF42vZgnuisktmLL1bI="/>
  <p:tag name="MEKKOXMLTAGS" val="1"/>
  <p:tag name="MEKKOGANTT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NAME" val="KMATable2"/>
  <p:tag name="FIRSTCOLUMNISAROWHEADER" val="False"/>
  <p:tag name="HEADERROWTYPE" val="ValueChainHead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Op0ycGFAinQr8Tg0aHv2oVInweFtzvEEifMKhzZTpKEJ49HhqRF4fmxZlZgCWFL4rsru7pegGBR3eobekY0UxQax5/L0YxgZYakkxc3YpfMRcayvFgB86tgFHy9ZizTbrGpe7vqTr2CwtJCavGlIDRrzVjRzHuSaf2qnhN9eKhp6Od4iRqCm9394sJlgjjqtt8qS2rAjvs1pEtFJy0o+atTcuO1voAIw/fYk8UKN5BzygcwpSroJ76Aaw7wWB4nSTotmw7Xhd55Qjd90iS2c8l0zfSQlCjAjSbn9jwefS81aSfkxc0TRKn1CMVMrZgFW5QtHVqC6bcG5d8qHiEt8f+4CGlgEx4Lz4B1AGug8UfPS4LENzrrxxkdip+8jUGVw9L0arU/KTYNrF53NcI4sV/YbPJzEMifGq72758uzS249LUC+KNKiL4V55E2vahpRhieI5/lUOxfEbduzb88n9zE/0ZYIQF6QznDzdQSgj4ZsqT7MWa0qh00K9Eg4SojvF4Tn6ilTEkB2rxM1nqhPiZIqGNE1c4HojG0/dr0jDsidwyV8W2vuEDIuikmNkOrEonOKd2ukwxgc/8m884sZjdGvz+hdV2JNzzs/lXBNyBK8oiVrSQ+BYVxp5SvKhEQw8J53Ce42R3gHtEgUljGzZxse24diGkkyke87MxI4yewPCA253K8osdqGGRWVrFDIaXHW1/S9WfHmudJLGjGudAHY9nam+aZscNvorQTmS2S0SzCJQsKbAWtuCsGdDS3vveWkW8huDA8OF1QZJXk8FfNcf1i0H2uChWn/5L5DUE95deefFipyoLLrAIZfCnxWQ3hS9Xz+Aov1L5UqiODJyVl58wiPobT4NSlWwof0kuPAIW7gPBPNR6H6TdEm/WFzH8vee8SoSkS4nhbEDuXfkthe3Tbp5sQDZrsuRyy0SF0dZEfkOUhqZ6SvWLpudm6OryUiYCMcalyyJ/F1vW1waGAKMMaoTLhd530ljIH7Up5ItgtNOVVcfhPlGaPE2sRrpF/i8JeeQIWTUG4ZmPxjzaROw0W6A9VQ8to8F5FiwZE0DrFSaOvRMyzzAKsKHjnSiXvba891xEzPbb4O0IBVNwpG+RRYYOZ2ISK4kC+nP+SmZ4lyeQ3wwxOOIvdmikFqMQwVf3UHPsbOPbC2c0vag8YOBzdXIUPwTzbxcFS7OCLJvR5Yax7ddcVD5rygq7ndq3fkziErgyHgxUv78lb4KWAGSIzb7VYPO4iQm7u6ZIKufrOSlt6p2xdztBuh/SxgfSQ93UMrS02xCwrhNwmb8VK2bp2OQwJu+XqtRBhCjLpN6+midboUlyUN8+8v3k16vPqFKp3LQp66UfDrrq3IE+hdwuIQBdsEl+0YpaQ9fXfagcPCSf/arq0vVjRHhK74c/4D3QeCK0qEW5awKrpY5UxE/fSFSzbUAh2P3qzo3+IeLIEs3eubKlKuv7CN53Gkpoj32zC5qCJacl8npGVocsNv4xnH/Cxy4uD3bh/QMv4OYWWkQLugAaGzyrfm/CtDOt1Gm2jDxA0tfC+Jc3+09bnhPXUDawaNhfAgTt5AX6D1n9/hYtgt1OCzyymIG04xO9K4M3iEhfjZhEvY4CxbgRLugybegHr1EhBtSik5vvhYnfankc87rFj9SZzh2Kl4Vg8hXDUwRDAqrw+nQxAztdNknVUjmDJ/47/20Dp0uyp+yudVFYIaP7eRKSEIOBY2tYg+xVgLQi9cFIFW5Qf64TBI337+CFM/qNyUMG297D/HorA2CU/trVBXkPy04kiVma/DbOfCpo/bji0ouWS/5Xk7OFbNeRWFMsyo8XdPtjeVn8G0+tEBo3hzeIx5nUFsdBGH/S1NaeEbCiGOPG/bu3zhxUwd7CFSlcdiUOQQUyuM8DSvRyCq/1fquVCRZqClPWTkaUul/SyPNnjOzW5qyptqAAmGQje9lx+kOlF8fruDHvacclswKqGn7QbPzbTActLDgC1M2W9xiDk9gA3H8Z6dzGTK9+ae6hepiPiPfEjOO79l47IC/E/Ub9K75/QouYRISoOVaUdKHpPctyczCqX7U157d28U8YWdyjphty3JQYX2O5no52Xx4ZUC935rWnrH0QldmVBHYISGgp4873XnSkdasRsKmH/TRt/LIOaR7AP9QkSD2566cd7IcVYpTZVzuytsk5WdRH7pyX0RkwJMmZiuGefuOs/Em3giKvfQPXuV38ZL/aHWwAtH/YYrhimP8Za60WFv6ELOlmwI4td69XN7HosiDGmQl81hldCHZVgPalCvIBUy4PxYzop8LeRB3Q4SqIXuC429OC8WRnThbGs03rWaPH/IjSkd/X9wvriZuA61D0Z5eiRsUhXcxH6kNLUgtHaFuyoEyFBbnsTa0dU78gG1vNnRsIlkhUWeb04PiYIk8XkCv9tgSEEeBxeDACFxscrbjH4XHTZ6uDJK7AtzNVXZIzuGqmLgAxEfndz8ZkjmColsToi4h/Drg5NXM/zt2iWB5YQwxpe1bgwBArWwhO5+W4m+CWACZNt3S/lFiHB0QbLEcLGxZkkqMAWj2hfLui91/Ek/vIICVw1taFBjpFFJLkj8IWfS66rX77SiTdjJaUSCuijQlzIIjSUz4xRVSHls28BuKn2PnX2y4t+kWFs+LkAYae2xRs98P7yCzb9TomH0h/g+Bc/oKATXH8xuchOFaavOIl0VmP3bAk6zuO7npRRvSfpGioHqv+3XJ/C7b5bY+IO8tpTwFfyiNmDsYM911QJH2T5nmKvKtXJG0qLE81BU2SZLv7+IaZ34HLu7Uwd0A2/Edj8BlzHHCuSM5WpEwNLgOIWBg1ciYSaSZFWkpStzYGLndGxAxhqLP78HXWK52WK4a1qEt82o3OGyUR6UMyus8oyUSbemY0yM75QzkMjCYlmWsHvgslAwbUY1P4x3jNg3aFd6V2ScHO8R8xfnOOWbx3171OCCbi4eKhfUtSF2Lk64FCqH6VemOTqZGE9o/4F7qaYAdX7w7734O3zg9reGapBcwK6yMWZUYFYZMmqZ1Xaak6K2Sq1on6WcyXD3Ic+XA0y/eXKfk0h9G1qYceHRK7Vj/8zMmO5I0ULhVZyZRI05ruG8i8JygWbRE6ZoWe1QzlJLBDnxVLpeVjhDdHohId8PkdfL2OSMuBjyRBWbnnArGNQW5mJOKhRkdn4BzjmO5HaPniwo1BF/7l3M1iW2iNKkOIRvFaapoWCioWEZe+BZNh3pGO9XEKl9e6peFLcR1n/GTml8yiD+5kLVwhnlIscSnUpEQjXcxYv8WP1ZOqvSBveArrIPXqHTUr8wD2Jt4j4gN2/SLhXM5a+DAjkx0Og25VvWqc9RZMTKWwfbdhMXc95ZCOF8PilnGHd6a12faAn2ffjSCwzthPHWAHG2hBcqGOcYSoeApOmJk3oKuw5JlyKZsiL/Omz58XVNIE/nMatOYU2+zUkKVSLyH3uQKxErndfwLxZhechDKXhim5r8A0vhNN5KXe70/uNKxAy/GsvefuxEhLQRenB7hY0J+etX8zMMVXFaHqUhRLFRDSq2O0AkoBbsgTdcPPGyyclTsSKrYQ4deX6GtYw+PHERA13+vTtLAIuV4gPCzAUURDDxOt+qblT6T0bzVGgpjpimZwST1OyIpMT3ekDm6LasncsehrUX83dfKpFrXZwBBNoycpZDGDHkCJdKq7K6iA/oaTkDHB4hRm92wKoxqLU86YLK5evXJuo6oiohdzayjqCT9yhviui90A7i2pX3tDBrWgvMeW+5rA/xQQ9DFj9AtmdpZC/lLl33J8xtxFQBuVhAWM4/3xaXYw956IUGiziTQj2XtScmwStJNYA5wNko314wEb3lm/uVqkfNQeKfqEUTFueML3zXReKbFeboOY2L3/4l8S98+TfogilxtVzB+IblQu0VxCz1XK8UZvXCBUlajBP7OR8/d968Uab6zMuGPyp0jpDupqVpVPaIiBin2ClWOCcj4kP8lzcozRZ4nwQ3vgUG/Hr9LFXwX60Mh3IzPK3p2U32180Dsy1bpeHkU74+y13A/9bh8qKhZMm46Jg6pAqQMKEhN/hOs2ymE993b0XN4Px3VDXTBZHrl0IZCWvzoJJXhuK1hV6UDxnj8hAaXekrMGw4t1fhYYK8SMgNxhXUK+ztOskU1nuXUArunViAlbBhDSzKjSx95SFAgEE6T4kls04wYG7fBEN/NZP1KeDvQYR8AhRWX4sfWK2ySfO7iFsE/XHdGKkItFHeelT3J20UL8hDxPFAUFeS12R5+tqhXepMu09F1MqwLoEqTw6v7ydDr1/CJZzRajwG46I/Qs14WygCH0sRYJBl9O8t0EHwGb14mD7exbnTtVUc9G6OMGcFwu33IWOsP6amgehDhcGVY0phudWII/QzQEoSMC66Yq0TWgu+vX3ntb3mduFF3MaCNaM4Bhj7yBDa/rK2zrpLQ23i1AScwQk4nGvRZLIH2K9uSWSMJDzePG+AqCw3VBhDMAKEYjymdhFaVh7iSUGiwcdkDbs8tFUB1iatM9rbkn3qhada6zKFsq5SkGQHgm/fuLjD+3Zleco2Gokk3BijflhXRayxAjQm0RP+TOeat3HOvOMi1bDZpSY7rHgwsXct9q70krSbd64hOpey/6JtIMk5Zev26TsL3WZyO9f8lyIqvVbAZubur9a6Hz+QgjQdXsNJwmATYr3+J1h9mj/IfEa9HISbvxKcFDa8F+2IbFrj4m2gNwfD+9Hr1L2ZxduSO1O10dw6urRKM+35q5x8JdKEWMFqxHcmgR/BqsGObJSHWrVHwG1nndOYolC/aiMeBMpfXAgJYdbfhbotwIjozlS/V6zfMlAjadCdiLo/seQxVcDngVVkZ6Fhs3t0ADclkeqKosa7mnamAHhn8FvllfWhPQXaRy1yP2nXp6XuohjbW5eFU7cPb/cD5pa7qTvs0EfG/c0YfRtuHbaLgRT/HuVZ15b4i96ZFbxz5VQV7Z1SM52pwMWxt9sFZp2WNzFlHW6yu4eW6gdiIcz6spIB5SwBZoglNTZ5pGHwUFzuUDZaIcwv/2E2WsIL3IYWIydbVi6q8WyNfr9vyOwfDdrl+SEHEqVnysJJnyooOiRU3ARXHKnkFCqileTpTBqLa0L/29xJT1+x95Qt9BhYevVy2FXtZ9rGBqwcKB5C8l2vTj7JGx1G3Qx4j/FWu0VhToyPe/p+tnij9udUeGEkY7981cphxPkYSY8cfSarOOV/EEaQPahbuIeTsUi06xoB4tP6vCSH7vAVJ5d0raGGOHt305wzZyQgFghQR5TxtLJdYPXVY062K8/s4S68l7bRdTRwnzIoUqgkDyUSFWDbzzT+OTCNzQWBrrorDIIjCn4PnjFuuXhZ3PZ+HVE2HUsg5wWntSUnYEnQyHxVPqYB9VKDnZg2iJgEQFX+HC1UEbK4jIWMlkJ/0wLmJgQWVClrHnP1ZqBPSPfBmYE4Yo5WV0xu0k/knI74owkihHdAprINJ6hnz+/iJI3gIwKUvNl6bEJHXMLr/ss2w6OWG5AH23KJ8YrwFvILtrmDV2xb0JUmn7nSrD9Z/WtPel1fVvgzOtZkihgi3xTRjC4rINoR3bWyGIr7Y0oqfscpX+WaTQE6Maa7PX8tfb1UcZvupK0YK1X5mgh1duRiqKz5loiP2sQWt94qeOAgQoVOfscSU4PSPEt28pRP7UTLD6iQ5g/Q+onCznrdEKzL4SEoMJBU3JqoK45HtdhT7u3m8Ro5lGJptNSq0UfkTxSwG8B4UAG09ehJp7sedL46UXyitXRI2UlchykLTOUHHpKADyCCTALf5RWD6vsVLbXEIdoGHzK5Mh8Bxp+A9AYN8/0WtD9CxsgiovOHgpo+a8mxAYJbi7RXPxISONMhDHDiClA0IuMpOVhvnfoHuRBUmLJ+Z/YQrGzDZcSZ5bzousp9Lae4DDh532Az4rOztvmm6qWOsjdi8iPwcskrZbM473vn0lcYmErfd9NgwzHj5amDgV/XWbzMyjh+02qS+VHVQmLgUCOdGWdG+IXps0X4muqFlljZK/NkvsC2F46MVt+OqGZX235joRUrSkItc3YjaoXODmnLuDv9bdwbDmCFvku7mRhpHNjwPYLTVdO7/H4JX2XhhUSGlWvoxVsSLP1z18zsFlMReSeJ8TUT2eSfizCgpCEdjy8S8Tf7tgfrj308/QDi1IIQFa+Ok3VwOLa++5o5M6fXbyMxWLTFu5h/B6dYMke68HCFioHFKzGJ3UxDXnwnxZMrrZg0bqIMsN0oK8eohlaAo43yg1GY4mx8uQMVDXbQe2cW7utAduuatkrHWQ+LDVfEwgtq4A3l/nwf4Gwj5abWV5WtitgI6utgjoM93rt09Vf+pi0cqnlggU/u/7/Xul5XuNcLrfRx9qKSBbYBVcp6nCmglAFzFbiu3dZECAaJX7j7oiNUSF07JwE50coKPcjoFc/cjbWp67QQ+qm+LbZ99xu7ugqO/E0SvhQYwVqqvdUX4WcrleNYmnyxweB+F/+Cwli7ZYEUuV/gAhMyiGT/xtkHN5LAOqzjyH+nYpVzrKAz8JMKk4UGXfddiOMhFF8HlnsvRyvlwzNWr5dfuK53OWiU+XpkxYNMTf7xR1gTypcleOrsrSys6nZK/jO4SN4g/sRjOpOoym94ghbCcxzO0ZJiZ/XzZ+8f1BrqIzjlIDX8HH5Bl8FlznBHEalahoDU5XTQ72uA/cBF5wgEDztYs5bGL3eb9BwjeY4cY5hGyTvgQ0zs/83na6CGzuzc2rzG+X0hrHXa08kiTl3iXSpJb/up7wk9dh5tIDc96iDx8SqqrdbUpgGMEYrGLUmC4Rjkf5Viu+K3hC0Ztz2Eb1ma4wtKRFYltvypKVhgSCWd8QKWSenL+vUsq5LG26tND7oDs1C9/vh1zwRsFFo6YVBI26DgQu+q35wr04WNXV/KyY6AW2fJ2UE7iJpZif9tb/k9n3KGO6PKS8hS3p+DwPDE4BCKQn2TSd74O7tKea1l0HfP198l1VY7DhFoPcvRoOX6YPc13Fxo1a2e4hCmijp/zZEsfxNXYgu9NnP4INMwgffRIrKvI+jreIkFdYOshW6covMjOcn0EP7kmTpEPuHd9fM6Gvw0p7NI2y+82rOkWtmgv8WFlUmrR/kjCizfLwe/uZadpYt0G5in4yBa4LMCxaYlV0257Xk9ffEt3y8mJ493e7YNJ/M6W0HACVNBoKL/nChudzMyqSRTM9H+YpJbB81C/VcG1c6u6Jb8gjC55gliieseUMOxVSXBOMdXIenUNI97Fa0kqatCR9HyUqxLGl+lAGWFuqPBmgpBQalBUdFfQmf2jM8K87bZu3NLF1Yu9phwTn002QL5bU5bWLw9eddUUzLwx4E1Cz1I2fQyQUsv0qYT2GSH1keXK4Xi0vHivfIij0iUYaSVJWROzb/iRKkoMrH5NMmjccajXOxH2M1eCOoy2EZaMaYu0QxbcHjpmCElQ1TOCwRGXb3r04MiYHLkQrwMxSGKZoTlFdDym9QgG3jt7OEQcr+qr2sjcdUlEssLmIul84cgBCs/4zWnbv7gqDp5XCzBoSZnEVHA2cYzq9rr4ZsDbX+CwO52pSRQ9rikxzdDAkqxAARy3+qc8ItspjHLeZ7esfHil4OFhE3Ok/yjIrWnHrwcU/oMQQU81YfuEohIxKGxWk1AclrpMPj56dtYODPvSM/1Nzi62u3ntFKX/2d4NdTIE4tNaJrVgQ2gBkDS4aNoYQvn8EbLMikz3ay1tTgS+kUn8bkr/z2MubpwZSrHzKvaW6/T3TYS/4b7DDBA5UpDFcspve+vJDBXFjQbRlLSmypfeC/cJ2PcHbYs6EmSbiMngqjlebqZ1ZAdHTfuKIXdf3SUCcfomaFRJd8PWHZQdPqN9Ar21xT9E6fjxK7ViyKAkM8j+soKdlEvuzUno0tzX82prwYWfjzJoYJh/8KgvBm8dvPgZamDQOrorW4wv1YELEhYLpwaYgI3UID9ddUlKToyhj024HKIp9ijsQt/zXWfSSx/KUnCeAqOe0Y/G12789yAzLPsu9JUJcFdIROIpA/lZ/iAUkvK9yWyoTycnyIk6hDARm8VYGG7nXPtUjxbB76psN0f74QowojJus8nlwgHB5/bPpr6SfRS+Q2k4DuViMcDx0i7PBPLokMaObP9gy+pMdESJ5tQSLope7OiC4Jp9PVTopg511HMiI+BJhLDPDcXboe37/++L9nONRFPqn89hQALgAKJcwe9oW0Xopc5Iesy+X1qZsCNgGGAU5wZyUTDoyg++EpzD+/iNzI3tFKQf1yQwmjUWZFtD//7dGZcZ6ByS/prV+XKOEIaQdCWWzIXOGjSwp/ctbc9dFgEV8m9Eb/LorjTuEGbxNvNj6AI1M2lP5I4vG6qoUTOHdzI5Yyo6LTyCbJvXd+PYZFny7YaoGe8UwvhJqdbdJvNC4O/cH1WDsX5McjwWDdi2gfWtxjR4Ajk5NFs73cerbmjU2Zpk6YqVIwhfVJ7NgaspDPU0kRMi3zFFxZlfQ0TBzOFS/LeRwzwbVsPtW7FmxfzXo+W21WddLXTbGt0XuLSqRCh508TA5exkM8DO/4TD3MIEJ6m2hdHVpuIxMSiq6jY4vrI18CExanhqueiOeNGCCQfThx1LpYqdJr6ERQA/kcK1AOO4UEHTMTXPjiDRLebuKtcGMhfNbAuJWboa8w+hZD3xB6yUrz2VRMVg1EHU2HkrWlwpagHw3MRUlKcAUQyz807nuLaNHSA4MlBawnbBL2+PTtyIbmOxOxOHXKHqipV/Ylu8Dt7OJcwhPwxU/sXOVevtR9H8Gnubcocpr7KLi+GfjctsbXB/Dv+xgASqjy9obc2lTWJmwzrJeK8tb1q3F1xvjICA2w/Ffarjscaw70dymCilr2+c1azmUQTjCtI9ikgraFRwC0tFsFMkTfYOLW+bsMSaUdrDY9G6yaj3Xumrnlxr+wlpz88mckzeV3U+a0QWaKHF5MUbyTZzyMXXUJMLvUCkVdFCdlgJ7tjTm+RFgy2csNgn+DGFJx0oOuiMM/hmVfASM13RG0mt7LutXyipIwCWQZqjeDHPIsnVZwdalu5RU1aTUg6KbeRSZnObQjOYLK6K4y/ylIIxA5/gg1/UZZfs+UvmRS10+w106AhSGKRZtXCY5KxKEzmukocSXqbeapO/j8AjpnBkuap5uSlHSsn+f3WwFv6rZ1Htfkx+3WMCYdH9S6DL3aVZe1Yv9EEvEq6juq+8B1dJzWygz29oheIsSyLkk6M4EkfrsEJiP1anG/eItG6HA5GwP4/sfXCJIJYn9H1wNGND6uIyJ1k/t0dwIct1QrEnDvqsGms7NeZ4RkUx1DrQCCV07gtXtOKDa+o/X0ypvl1zQb7dIIb24P9MY9Jl9WhTwfXSvL+3/b+cRGRA9WFMzzKM5FiWJ9ueNEnyp3nTGIrwpmz0ZqorfxhCIb40+fNsxihnMjhFZZ0PVSnyv1XVvbNQU2mhLDqDe5u36c8PHOJU423HDHj1lDrQM1E+DM2vrImEpHqJj9bj6dpsDJ1PJjpbJMhMu0a9D3MmKq04UUxvS8it6J7DH+0Y+PdAFdTS1qI/F3PBMx8gWbn1POCzMHR9EPn1c36uBo2O+tP2M9V7yepi/iSCw90m9DeCzelmDaCOoDh7qg7OvgRduSKs4FEU12IC6MuiHtmnbNScptzfeEXy0LiiuI0I9KL2t2rW3icSdFXDjMAoC+xV35eH4OpX7x/HIRmv88OTptV18f3pqB/C5s54RbKky64BQ3oAUV0vhmC7Yj1rewjzsXc/qCjNOTq0SAJLFoXQp2Apf2ysNkXc6yDCg9TlXYoFHt96TNAxVgUlq/ZeBq1f1K2j0xnWsphT1ehT0oWxm3ZyGGPxtGFx/j387ViGFEKSjcMLYrr34o8+DWeM2giVlajqMjV7UQfj02zH5P5GOMzXfozQ2iu/EXlQjLPhsHIiPZ5MVBnx9UEsX8JNQjbEhLkv/6x/a3+M5s3Ll5+TKmdKyaM8KClwa1rzfDNFIG0I9PUlscHBNZ35UusJ8k0fBX3V4oL+VaFwCgb7wiW5L+Afnor51j/BOVr0v8eJWLb5cDgDw//r3asLlDZHcnzhUU1JKn61R0MOyS3ObdqsOo1T1ZQNK26MdaMtJlox/2aEf7jeh6RlvwlQn21NQEv5evOcTeUxPTTYK9i82u91B9llOJ4wyJJddb8/i97WGGX7TD+gB0U0GtUpWav3yAHdm92wst9BEKWERzJcKAC0mNh3tvVuxBvCeI/9NikB6Ms6yjTf4qdg0GZ65nz1DrMN1yKi0osi0f8rmQrY3YEsToHStjs5nDrRM0o86K07G4oY7FRjHzpTVqJ+IOsdEnJqQLzGKLbz/TPAtBE7m/hlSReoPMmy1kV7HMSs5LoPFXueycFdw9HME8E3jwGGIpmsgqDKdDjyh258cyPnyjZSBob5f9kyM1X6+wQO9EsSv15zXgRSXll6eNlRPYtTlOwTiHdo1ZSeZqnZm2FmeZ6QzpFEzjPfwZ4UcS0jWr1d7XrQ9IlQGlknY++lMMZt26GmXC6dmEpr7Qh4RuFvyWe5h2PT7VOFeCCm/K9NLWvlQtRwu46CIE0YFbb0QxMMZGT73hWiiTs+LzDIFsf+k4QN7ErlMI77g995U0d+gEmgCKsranwkVNrjbtpSPhoFb+ec+oF9psk4LBhIRCP7aqVmvUIDrbEegnvMs8E2RQzCxTP3sQO2G9CFpw8VSFMI2MdVyrEoLDc7PgPFEu+6Kd1ytqlQmK46s0BAIwlo/3xQMsbD2Xis7YY0C0eR1t7Urfacn1XFTh6oCQnh6WmBQgh8F+MvAkwUKXcj5jQKRyOvy7FQdysH/gSk9hbWYW2miyHlPsuVn4J71g4Es3aSYdGu1H5cdhgatTO5fbvCkuV3HjYMd401Y3mzYVeqPf5Gi0iul0U1Jf424YrqLxV2+/rBXzD39kDTiYVLKCplTYcBB1MS1XbklQd0qepB0meYYGbUTmDs8vw4xE+LCG0YHBhYxkyPD1ytUxzaWmXlZP6okrT9JtOGGnl8EtCdjOLMGMLlP0sDVcnPtq/aAoyHoKHeIv98ykezyuu3fbBL320+biiTlTSp2l916wjkStESXeGg6ZKQUK1s2F9OymbN6bQvwaceN1uJ+KfjHWh4UfXRhYnJtWsCYvylcH+kopNwLxojEgOeQeNdv0IEpzQzpRe4a3piR0aLKWj0YQ2g/Usn9QAkzk79kB2daAds3oIUWRVPOXQheCCDu75yY13JkwAsQ2ewdIjJG2hgmruTJxE1Mfb3EENy9eX0DEk8gl/0R66ZoiqKe6MvPJp9gEPF8SwvAQbGkA9PmuJQg5AdnAmaSV9UUWuOpWdY6MY6WT6t+D2UuISIz3rVRbPwJZQ/MTMfeuEKCo6/ImsS6cSay70NAOBXbqHW986EYvQniy/TCDq01UJRWBJJdilTiJc73qu/FoDdqPma1CWjFRd+WihiT1JJ10MZM08BNV6PfFpKvl2Ipp0K9CsxejZsAPqQ6Eg1vvcfeVD2mMsUFN9Gpx7YQZMxzelTEqswFqJewJFQmAUZ/i5qVGm6xmks+Y/HuftQWWUkQnr0KxiRzHNrkLNnEwArF9H5v6jKz+90LsnHJCr71G2Qq4RLPPCebNi8k2f/2eWPiC4uzW8fJuraIKUVuJK0ItwQvQmSlXznBGvIUxeUJ/qujqLesW2gD1r4XVLrl9Q7+Npl/DMVTXQapSoB9uvg6odUrzwzm201bzbGNtAaFTw1RZL7OZoduRkMa8yBvq0/ottCNLMCp1c6XKR4PyyxsPE4d8sxMxg0SxUVKwibtg3QI2Obiri9y+YwGZ88lXSX4LMvUx6Hs8dLTrwQGHznG15gN9UqkaGQ63PCOm4AJjf94GCmFTyxL2MgoULD66r0cd6a3N4C1ZF1UqPXHthn5MpbMnWOoVUyg6CpwyYU8q+Ix2Bz9fQlSfpT+1G0eO/JCKudmcUpMODhg/s2B2E4c3js4H8d4muxGciJvwjhrwSjp4ps/IAMkeoMlkah+2NYcw+x8bQ8/kGSLoF2fR/b9aIPrKvB5etXLTI1Rednt33VwsRyOwrrTgJkmVcRjAkjI2dW+Ao6iE0+r1bsDbAiVRPiT6ZzWTmpedhVYRZkW67c6Y0DAIoponCNQnWk0ocYc86N/tUuNxLoKPu+qc8uUB7JqI2Cl2OnR9qNmoRtn9KqmcZSL8ub+eJIqNP/8/YjZ+bFM7wG8/sVU5lkXfpRDFIss9oHZm1W6AlMo+7fxRifOgOlWG7p+X7jGOIBzBgn8ooYmG+Xg2g6sYdUSistG+kQIGfa4//yoFRl3tDaxjcLGe5lbf+JOSitaU7ACnNkO57C6iP1iuRknH2aemcFBAtYzVflpNcJGpvbTvl+Sc+9Ucx3g3sAIP7bgDmRlZwSQ57DB8H9nWXAyl6MzZ1LIXS6S0wqovNZ4SAXxziyf0SqeQxtMCLzlbdXRWfRCRXr3VP0zfwia4FVrsG7tXZ9IxYqP5ogQgWfRaM3l8iNCszpTzGtFsO4AMmiKFj/UfhkFWd88D/fz2xRalhQW5EvGe762fF2AHAzyAAYykf2w2vgu/eQDh6K3rlGFNpDq3Or0WBMV9CHZ5kIT2+FJ4XEayAhE436qGO647FZ1jfgv357e44k0VqSX6jtepn+gJrZQD8ilWLSRXaWssXGXjuebZjox2ynryrFW4wbR+q0A6+WP7w6jCw4VAFmab8zhwpWPG/NEouoQfBG5uLXBWqukOUORxp6cenB2iflWwsoxOfcnkYEeW9ABXt7+mnNR+5YSdh0MjOPYcjGDcpJO0KyfWFccGisjzVezQZtIAT7E6HqXWBKGqXL8BcAgAiOL7eIHFf02vzNQEgRPwOKAs6tXddTZ0OLWihEtFZliTXSuRDxhUaT4mbSfDbrad2r/ZfkX0NPo1iKJpvqA86IoVps6gXaVRJAAZrx83kwkbL3rWg83RyDJQ6OhkSd2alK2ev3ZXlZkLk1PsoLXUOXcBcfmG9/meHm9Pd9bMLz4fU59/0ZgaXIMkG93jr4bBBFV7ZzLahH1e5KyaAu+O9XCrZuJYTF0SOTzMFliwr8ZbdtJF+2aNBDLa+aA7YAUjtnrvpNThl6OVTV1PnIzUK1/QxoEyAWjxrM937ZM8iBphaDg9GAEym1KSgp+c6Y7cpB5RX16VTwJsBYQIryS0YVfWw0woEIVHjYFPQTQy7gSje4+bo+tkSKlJu8MI60QDY/ONw0Ut+lTv5bvaJ1jr2TEhCKCpZfjrXupS6Lv/UA03CSNWq0UwKzhHeXURIYC5QrOfQuSpvnLJ4/tqRdvsDMh15/UPVYEQgkQ8zO1I7euhWGSeRylF4BgAe/HkMuekn3Ps9ECyQdKLNZIboRsoOExXyztlJxoQzqdw2Y78aO2ueDALNEYpu1Mg11/A42jJD9MAFzt22Isv50YUBMGKleAf7f7uo8d9UEB5TlxI9smsTAFetqLpgEYwoSteYas/UJLj6AvKADKLCNYxfrETx/Of1tVRqMw5y52Apou113jx8lyhr1O93dM65wBvBpdmZyrt7nXGdx/av+DsBpdBMW3nZj/nZLqXXaZhLpWQVEg+Nq85nQZcaNDTiQV8SBQ1Pyt2IQ66RtrCHZ7w/pI6Uvkz/GhzvAcdlkTrjGMIYvgEqsAZaNfv9P7Ez8uXwiWwXFtrsVExnewLHfRWA5xrIH4UfBiglS7gFFcSLHkORLauz1tXNmGAW2R16W1sA1Bul70gSPk8taT9Y1vd7UoZzWoP8vspFmGts/4BUntqiC5U+dc/KvA/mcw0jPMQVXYtan1kZEK6jfALJZh8G6AzsSFfiKA6Ww0slccSK9FyO12V4O+QLciXEDx5buGSbzG8k6YSFjoXjG7khOwZdUlJnuK2R32C+Xac07qivKu2F+78V85T8P5HBJv9WyMVaUM4Dy5X4BpKDaOVVDvDwEZLlcgTtIzLH0L5TR0uNPc46JKAeJI4ndZrYQwyzATj9+Cdjdx8jToLTRXS+t9sUQqzDTM+/N8DBHOMEOsNEpNtXt4mDVCKryd+ir3uXUPTdVSDX0ptQx8bU2NB4oe95GI82lXLAcy8bAPe4s71+YeTJlSNjFjEiw5Ksl+SPS47bDJjSM5suTpaID6PyIBNs/J6k4lp7au9Ke1IaZjvv274vjd9xeOcNb9swNi/Fue7FUH0CramAbU/HPBy0KK+yeyoi96mi2Qp4EV/OKs/MsSjvnt8Ej3Cg1rxh1ZQgQ/k37wbEmhF+RcFJMYxiP62O1t9iC99SwLgZLzhKlX68xP2zxjp9VYzf8y8rdO/tvFr7R+OIbaBNIqUv8fhje4ATYMJxkoautmKdZnDkDQR61t07300uM5/XCRhtgd1I8TSyZTTUnhIHAVrETjCVoYQvwORyugX3p4bKk0hgRPy4ZMK5evTKdx0lw/PqBOU4IvsTyccfK55ade1pKZkJDanljQMyws4qoxL+7NZYh60KQVk7u70wilctxKWI50rtMY5R0rChqJf2jLMw6bBo1uUyBJN4Ntzxh9oYc3qqDrnAsolK/SLgiIzH0PcX95MU9bOBbDsoox2J0vw3tKgzfv8WHHkBX7xaXTnKW6lTNP6TphAU4FNweaCVWA0oJw2ZHr8xEANa/er7XKfQtz0WN+c/ZExCZTl8Jr4RLH0YXINU4kQvusWm0JCU6p2Jnj4NJLWciJfyp8odLG7WVm2Juse3smP7Bk66onIl0smhLUnRo6gzzoAMGzh7QJDpdT7FqNY0xKKiguqtq/RiuyVLOOgHOMonP2S70x5tmPhdyPNgNka5NHAJFubz+gnxygZsRgEHexwzmgWoNU+M45FgxdtECylstVHJfbhZ9QOrhEPnPzz8E8Lkx4mt1Abf0b/esjcc9JyDkWKRF3UzDeFWidD/1wZ7M3zod5m4eqpLjO7vxNl1yWh/RVGJeQx8UIPKbj17gl5xIrmtj7bLes2xI5Tj3AnnB6O9AzP2KfDMaekIMHfVl6ePgwb2fYdDh6RcHSaPH4hAkLcdckZUWqffNU4RVxJF54B8hm+yVkLh+XaGW8fE7XnAsri6pFZ0/hHWcCD/ZVXrqe1FdbIBiDLBH8Mw7VJscOMkRQJRLDZuGTlq4m0jfqHr96hybH4SIg9LdNCAIfOFXQRfd+LHD/tyoSIMQSkTCpBlRd5Q/LY3+iSfRCk99lt0YDIq3j+mvoS+U6Lcei57TA59Mds/y45imJ8vHHm+zhwd77EgOLIQTasyBw95m0W60u5TD8T+2/7fRb4ldwi+f6MWuK8My8bvQPpQnD/lA4P0gL3dmJmyVPutk6vcZYXrOsWftB5BNmAqIob3E71WhxkuVs1MWvx0Udet2/KQYEQlP4ZmTBSrQfw0ApVrwupUpy1rL0+22TUDPt8biRad/NOQhodpiDgh3dNlImanyrSf7VR7T2cfR1ux0scfAlKRNXye6XC1GuqJ2yxAFF26m/FWxkG7bPFwBZYkjPkyYhuVZhaSW5k13JD3lLbQMtWH4B6L5FBNsx07M8DDkMIHjlBWIS8C44NPeUUZfUSXfZPLkv7gGaSx843tbkrqbY3A0/JPqKTdCuyimU4V4j6dUJ4MtRckaN/s3cbQtFd27fSJBT6f/ib3O11KKaAe3OATx+EETgAla/yY97u3TgLO23klw1k75LqylZraT8ctFZTYW7TBzmDWldG4Tr1wHEHJdgYV9CsxilamZvUNFonPwN0CK+8WTBpj+pn2nAQB8ptrs0qRbVCzPgfTTVb+VybhOXRVrEDj5t6s/gYnmcXaUYFWCyKPCR+qKYzuRcNlcmMNhFQfHUYGt+JywjtCpHRU8Mvmuwsb/c9D1GbzGvN1AIx+H2zj1Drbwr4NKR/HTkHMgZ0Bw2czejyIL5QA75aiJlhENLD7uGgaKM80wGBmtKSNUya6KgtCZq5YkhvVYNbTxv9isgAR6b/kC8yNXyWvAqSiO4vsvTcawpr5bng+5fwmlN0l/AGNCI7xLEx17XGJsL3/GoEsUywVrhq1c27HJ11hNFYYgl4WNoh+vkky8WJkyPACAnURJJEFL8vOQ+u5J71Yiv80tNJE1+Hu3lifYe0cxHjQIfI8+B0nRv1HIr8tvrgruMSf4eybbG6wpUvnxpViTTi1jC8UX2TUKT4FuStJvw1B+7+zhchCO6ehUjJVFY3x1jHxTWwrhhJE/I/8AJ4Ehgedh3EyQNc5/pe7XUtBWTvhVsTsZL7aaag9s6uhZhkHVlWTSdOhmBFHItTXkekIsXQqDISOisD6xIEurZo/sC37F0DrXcr9QACEPUJ4IY/R29HilDycWQuVgmfJzlLsnzp/pbzk4vCltxEMYpbf4IvvIfMGbiXqwZBZu+nYjR1T7nITR+bU8Q+SbQGG/SoIWc3cTuX9LUuZAWv6bqLyPirAugIWpMY+AaEENS6nyiQkEbJVfOhxRqbYrwDpE/18ZKmWli6+KXupvg3XPXX8TSGBrPUtmD8NFa88f/hsw4Xdnetzbl6ocgKJMmh8CcOp3pWaZ5NUCsEglZkBf7vT9nZnOcM8Iu6X5+f+uIPVLO7Jc0Xp2vZY9EZlmZD0Rzu9+9bIFuxvu+uItD0rBq7sqnBsmckiQIsbiCt6tRet+Qz9fmNVVyyGJzdbmRjGnv2CJvgSk69h6Pk/oacGV9LaLSgF4YsbitFpkf8BN9vpoMeqqfds7VNWAeKJAlc8bvJ4WTRARAsrjt08z2qaLW71ECkrRSyqCE5XHDNJkRbXjCpKEiQI/s5c8KKl7zTCnuNpOmpo0vWixNDuIg3TVdFc8aLhg25ZRMNXVYzKA2Q/nlMFoZBL8IIYUsiIPGfuHsOdmbyz7qptVWXwkYUVUAzXZvBVXmyz17R3iDVvVtdepe6j6b3yFP5O7n6O5Az6APK5rGytRp36sDnzSvwGD2XqgqAUCQICKYbTMlkcANO06zif0EOoBeEDkjctBwz2s3Khcn7jrM2xAEtXhR0t/jdF1OMvH3PacBVLtfoAy0YYrl7mSQvnVaE84nh8kW1ax31hEdcYp7KU+o5qp983W1G22IFcBAfWAXT0FqR4GhAbWUpubTlS08U+hRsPmWoLavTx82NdiSDEIRMbyURMROeFEw81O+O0T4ExmsCahZUpOJhxGwXQuuBdklY26HUKWWYSXf+7TILSqByPtm13GI3Rq0JSYHHt3kr1xMJ5GwbatSXhOjf4Mfu9ziptlUVW0ZPLJ7gnXNG6nOWu/1sPukccYX4Kb09EoxVW9DeGDM7YBnMx//r0zkAfAkE1+HzC7aumNKwVT0aE51UHZ2tnVDT4f+dAvqtPt7c71nejmormKVWd+5Jcz97AN4Qt/UPBa7vGwgkB3NMGNs5PSofGNjNh4SJV9X+cfhewmzs/C7FkS4LvpPRQaPIR8sGdHTOQjTZKXvIGKq0MZqU0vAsQ9Fig2IqKZZ2u2Of1fjbDa+CvjHpGuNZrPKxQSfeJJU7pop/b/rXuYAnTow19StAKzTS1ZBWvJmH+ZDro0FolUjr1zwNCTSEqLqs0tI7OwiNc4bp+wrOijKxajSjYyRSxGNWkx94I10fFUKTUxSE/oh8C3LMbK899vI5p8Cu/LDKoVaErkUrDmqSLweQ9ivIYhKo+gEEz6fHhsPBjim+qp8aMtfrcbTKqzvR2G/mHtWCdpRwaZYYQf2e5RUsIqTiCoM4AM20FPx9xOQ0NWNYZgb9jRpiGH/waWC8SBythuu+M8H80US4nbcYet5IddoueWG/UlMELlmhDFvvXNNtU27yCVYrHCaaDMVLk5dlyPhXPKH7yd/ydoewmk/8/z4d1spqnsAE8NKwUBNR9o/+T7rhVfVPSv8DFy8sX6SkaaSRwN5VLG9/FWhAV7rHNI3jf09spiAWIc2X67FJkUQQi//CrRLDsXveHE4t95arx4TERl1H9l4HlcTsvohJ1Q6YUrMldUvtL4Gm7G/fQK5MIpqHn0kUz8vfp45HOmCbBIX7HMsxZSbvj+5FYpCtu413eYtzGsbBj8T11XPA0ihVHQcFgYNriW/4S1ybaAuPwkO05qEZXY68+8GND2lLl7r49jCRl4ipQ/qPByAV18lsdGAgUGdMQbJRuNwpbgCbpsyhECd3PLDcToK/o2XpaAiYOiVjF5S0dZwkcqw59fb+BJZYOaRSFUTTnxS6n4fdRexY+umy57vqED/r+HiP08iht0ho+6NN4hHWeZZdoEk9O4/HiMVg2BgQtTGvi91ccH1l2trLgRdHwfx+81a+0hZ/0DtYonc7BLrRXsuYjh58agLE35arO5cgH6EEsEd8W3ruCvp/MamjBT8qA3PxILEgaYTW4/DIg0/b5T/+mO/KL2KyjPa4KXxmbBAN9Ndo/N2wYDc1ePCPL54Qj6dOO4rMEX4BjovUqOMj74Io/ZYJqQi7f8v8p2QjnzNpLPurT4AHEbdufcHX8QwSRoM+GKmpFoSlYMH/bq9IR8Uh/LwIzw+MWz43ppTnw8Oh67sv9Ycm5+jwajzZ2zUGycEX7uHCGfYxoi9C+9+OBO8Om/WDiHEXOpvdDY1JFbwLr2tsGN1jC3MQkP8VGKJodgCmvcXLE/xzrrZQgnWOEiKUrFH/1PeGd774AvciLnJYIJ0LL5nu1WbYMswLcAHQR7eV0ZitDgeMPch8sjYmy+8bM7JtnTZtFU1nX7XTOAQRLufsL6StqBNLVSuVqmJWjNKfEV95WSLqUdbKp9BbbkDuckSKX29df3eqXDOWAYGtwnPCwCyX0X4YTHI8p4P7bLEFITtpaMAhZanZJfbSl7nhlQYnggrQYyNPBaTVVSQpzt+dQ9tNW50orxQCGGaRHV1sNLM1beo/wvDYVAclPz3JkUFYYo8JOfUwo1ixse5up1OPt8lSG5hQYudypccKSZ8WgMnsNeoB2nrV6U9jjOq/Jd5HCgQfFmPBn8yOmgG/o6PE92y5q5hBfWayFoGFCXev7LPyX5pBnu673qghYEycQ6igROYZnzn6i6B+PzQgPqGG1rRMFnSH6rohERLFIMXnQzDeE0YW1INRQ9v5Or0VQ/rSnmEKPIv8Ko6Q4GI4VXvCfGu0dpwPw7+7mkYqHbOnWgiSEApiXNNzwndZuRUoFNWysxElnvcNC63lxr6lAjtPk/1mOBHGth/XH9Miq1x4QbxlvpGcdVZud379xQe5xmuENsIRr88nJv7iXO6e1zHS6+gm2rvT5xdpS6AEZTFHYhrtZOWyJ6pgaTwx/Tv4Pk/bIBjkB2tJPriU0zqw3XY+xtwUIvRmPHnZBAcnyoV/yQBFmvjIRlXKRLanJMDSljSXhqL/1ki3BSSGRV2NlmEnXyF47Csv7s5kjzaIts+h9kz7+RbGZCOX6jIWYO8T4vBvdVeJl4tpvWA8HommbOMnkXzu1AgDYChHflPmpSU1SlpMmhTQramKjiaBaer3wSs3IdCzwS1ZK1S88bRgwIMsMoQk52AiNkiWA5jvYoazf0GzugORHfOfxiBSIlM+6NoVqz7SF4FMACYWpMppf7Gd1Ta7pilAz+C/68tfxHBC/4KghLgWHVbDi2EUhZ+l3gsP5yjUrWoxA/UTD0xu05DgCdan8crAWjhRn+UDM0S5r+0QhOHophUuL/PWYhXjWW/0RuCJYg/iY4jCIfk1kLVYbNw7g5SKL8ow7DRT+LleKhFlirUNylqmZJiIsGIhH4b5aOJd7U/gYTQ1rGC0CAYn0AVRIWF6PWqK3HM4mUloEtqTzS5lAqrS7n29GQNiZtP8sfEtgcYAoZArBs6QfzgTluzJVn+FW84zjmVCDtAE8PFeec0PvZfSCcHTmJOjWvfmQPigmjqLp+iPvzwMO76csj/RJBd1Y/1hSoOeD7YaFB6HjkzvSx077HoM4Vb1pENw8cwsC1YkH+8lkSCD2AN7FDJOk4b+2nR4qVVuGSi8xW3w0eQiu1TnHJFW6xMztCUfqnYrY8jR9EJ77bAINXiVmAJNUYDGrYLmMHlz/xH+uT9Q0bif3ux1VQxjxkFSEdk/GYDj29KXAdwSofdo2JtI4cC3BalS9eiDPWiyslGULmvyOm4RPojjw4dWEtxpiwlAUeXqqonNdNshy/sJYbujXb8c3WJ07z+okG/KbdOM76F28AMUmNgBWUJkQJA2YWrEFo73x9c0dOGQMHrShcAaf1XVYLs8tbB53F/2cnYbKLwEC39lrJ+c//WM7U0yNpAuFcpRyipgEI276LFhGTOIZdG7qIARGzBTXEV7/1EiN8y5PVV22Z+IV7HGCb4Ze+r+yGp4jk7aU7l8v+g6rP2KuHe7lmXT4Vhfs73pmlTPCXFbVhbo17IdD8prLADaGwTBUMeFvb3jGglosDmXQ2NFzhR8jpxr5RG1PafQMpfEEodeRNCUBvDj/7+vLtAIgzbdLurhLsk/FkPSM4KW5pArNHCFERPIQwisF2gw2BXqffSeasAGA2perS2MDAH/ESrQnw91VJIwzGwN5bnjoVlb0aNxt+uDl24sE0noUa7we7bKDQTz/kg9AGLRLvg9sv0IswTrRpA6Ka1f4eHFQ6XA6HvJ0mxbJq/Sdl9NMh4Zfbo98g6/ibZx/UByqyBIP4tKvgiCaTXRv7FP+v7vQ6zdLWg56RFzJMUMpLNuDmWlOURT9LcDLh1MVQRZt+q6A5HIOG1G7c1Yt1GP1QtbbjtJuZXmhH/hTqUIIpl4v3Okeh5C3knhAnTDLRavm5MXb6m0JcRflhy2UBf//tnNWwFZ6u6oMIz9JkM+2/tk38OLZ32ezScZ0vicKCmyHhTkTBGsQQ4QXDiZBdi4VqM4u3OjAs3btBAmP+sN53nGgukMjcSVcKa5ryvwXOcVv8qBqexEUNV9qGx7FQOmrG5rBPdHBSigjQoPQTlGMLn64LEGoh2js6+CXTuIivuwj6EouSdVrfwSIj7ohJX22g/Z4GACtUA4x9DdiOumdGtGYlOCnSVjG1glD4Rx31ZO71+z6D2DO5KQ3qSphYL+w9GeR9vUe9kaHGEQ4CowjIa4mtmQDKHbUW09Q1fSXKdkrEXK68BtlXgitLgGZZCRH4Oy5LRtVth/VrYSqby8Im26GrW9AwQ/+mumtZxbtHqDk9zodDNGGlndWl42GqNTBTzyrExhhnnG9mb+Fu67LsK7lY/J7bpdoM3gXx/4181eM+Q7sfdi4ySWNPCdmaiwR53Z+ejVMqxu8siviJZ7Im+o3hPwubA5fyyXK8/0fC3uKEJPIWw6dPUuWVrrxwK2kk5Zj1SzljHCiq10iz/lUIJ4g2AfQrUPjx4uF7v4K5PgdekdGa7Qofn+hYt8FXzsEBFY4MQ2mdU1MGMOIQpWfy5vNCGLf1P4GczEMxuC6ne7sZlNhcKuYY6fLAf4Yuw36UWiWub3kTXF+h5LIpvhV0ktz2JAUq2BEeukYEriwdFWSZvxyO8zEmxNC0ELg/4kxzRdw3g/xgDV9yyacwJHr7IxppzGiokRaQBfZMfBuB1X/9owe6dfrvSUv/ceZg63esOTndbW6QNVY7y6WBDc6h9k2pWIp8Nf7kGzWaespFoAfq5kaojU5chhmySjzo9zefEIx91bdAuXwUMojfKqWNgR5wosU2+Nt08Ss9CAXkaA+sUQfLzXcb1u5k5WcYoZFi6gHhLB0YM6J0EOVuNXes0hBjAKsRCgFQYpXQ/0/xBE8o7z8l6Vazra91sToHWXTOueclkR9Y+2KBd2TfJ6FsXH69j/Hqd3XPcHSCJk9lhkigTnYdwoxirXCltY2oqPfUtNQ3XU5wZgN+NP2PvBasqCLbcBQDRZhN5gGUvrbemJQ7nJgfOVDlX3TTzic/zY6Wl7wAHFKySWG6TByRvjNRMPRFkR2nZMvFzEM6Zn/VLejJn0HY1M8i6w4QXkv0BR9cRePCSYqDNfDgWh/jgN52oLZoOe7YwZNm6lvndLKKj0Mj1rTst0BiKBqVzcwj2MnLEojpoMM2KhqyBSH3hi/jXRHrpWpOMtdeiM/SRdb1CEk9A2filV/sjKqYY8A57Z2kE3saACEDp6Y3If9pY50k2iY+AN8bLCwKKHi5l3U2tRjZQvvPuaw4CDhCQql+ZX6POSUFXYz0+KKhxUO/p7RQnVTABokPApfjrveOTqZ8givMCmLdQeLPUfXD+h9yTuYom9S+gedl71TJy4CI5gBEu85kTlzHLY+7t7i3VHg2TG0QrV+VbI6tl+zbQkAfto8RlcZmwgqqY+o1GNxPAgR0c+WDqQcPV7rZqkqGmyMUFEdoKAueEyQQJQn8D067PLvzYC8AtSpuVVeMgf2UIlUuuLFZ0iw0/Cq3O1NdRI4dG3nGAP2p0KBOMq2gx2HjFuINm/m2GQLTVvZCQZii+XfQ68eMTx3g1OI0nSmIUg2U+8XDYixLJ/j2S7tU94k7gNtdzPxdvzIPqVU9gfk3xL8jK3Tp1QAC0rLdn7xez+I9gr7QFdnO3qw1KZHGsjPGTagdpkq80KkQkaC8XlaIV9AfLsQi5S0Pk7J7UyE0P1snfxnQDRJ+3RqhYm1E6FnHvShfTn3e2cyJepArDXxoWoQVuBLO24ldjkf7LEqXEKCA2SE7+G81aBjWDhWhMxsuy/50vzK06QcmhSqetuiY6grZeFG7A1idmCJscEnzL1Uxpk/mEF5cJjhmlP463Wo8rufUBzExROIojq8QbzS84xcKwM++R+ufApYtBL8vMfx1qdCODs0zqzFVLgJiSkt7Y2CW4CXCy51QE7jQ4GoUqVtkKlYle01W4PlQPj2xiLAsAcLm31Bg/qQXSjdZnnzCjwJO1SUhLyEROtuCTRXDTbNVoe+qYTIvL9bvaJH8BzXqurU2oPGGG0MTM7tIyXCtTmk+9yrKvsFh+bGI5ZnDmj2DawMAJLQ26qP3hi2XvyUBUnooPZtMnYP+Nlpo7JSaKpXKZn8HfXvUlcJI5pWtZ669xzYG7B0Jea9BWdQNw8LtQaFHzOV7NwhDUuKUEnLHOELOG63pR2KJpTCOtWrUDIvxwsZf5W6nOR776ROhfuDgFkNQobtyawz4jKCpseErcFEn6Z5dbmoLB4Aiz+zcyi1Ys4bSXXxKSGnZv/mN76D18Vd014+fAGfbeDc4EH8TxVA/QZ7asIzywwioFh+/YXpA8inHbbAky18iyrgujRBJY4CQ+uIEGHairjveyychT7bw3pEH1vNl2w1W2Pf2SwFAcugC7RG4sBfx3rQJNdaZkMb/Yorxr4Sk7KOiHSwKXmvqCXsPHX4kGjLMArBUJWbnRWqw0pMXNr59PHiJcy0q8ewunCvyJ2ZDN+quAOyiNUcK2NuYunEANkq+xJRppBWsdy2vN7sTRMShTp4q6qciDhV7KsJEoiVN+YMTkg1+9VDgDa1raVHpMRymaHifWyFLl2hmV5XyB9SaEGtdPj0sw545Q7RS2hWMowq2rxQmbmKriGfDffxuZoPJJybGlPBpGEhecRBhx+3Y9d9IEC0q0ELCzkFlwtFBp10ASEfyeGfcX8XkBEhUj+dvVIJn4GS2Y+VoVhqNSUk9jFa+eWtoywo9Or3ILeEvvAJt/vohc7qDLutn1Cy3gILOXjU5ECWKxdDLH4z6DEfVsrGHYCHG71GWi4/Lx17W3E2Erp2k7FosX4/qn4mvzDlW7fykx+umOycS0ks09sfUm2m7jOYml4eXEY7AvI0iHqzpXBgzRUGcR5Dq/8O2vaePVZO/3nXsDrXMWweu/4qc9DVtq5TLYnACxaLbLVHQ3wy3uYKP7j/ZklsPoca/n9o+Wt37Fpaky4hoGYToSGpzntmJKdmJnl41WLlc2yQ+S7boszwe21pY58z+7j0dkvJ+G4R4PTO6VwO2/mvZHJMGD5X9vGc/NRCJcpAQ+FnP+1zu0F+bw+UJZirv+iH9XrcMaHuqyUVpSYG2gkyfv1hJ9rswdXW4s0hsUCkRkz1SAHmNpJto2OlH0PPAH47E8oRjTkpdNuskPH336ibFbHwnpszoTKxri5rXw6M76eyxuxQntwvo6/zt1SG88U7U/rSE0nApC39Zead1TK1rBPVLpo8/lcjyCQENFywp7PRsHPHQ5agVQbPoxVSUmmIlCH2KYDbYHOLmtXzwDt1Whqp2qsbQRD4CdLFS11jNLoemXQhi9X/VcaXyBbuWhCQpEJ2vT5HFwlXCEmJrXtp3vI71OzBItDHgEsAV9K66ZsVO/Eoa6OBUB/Ln4Nb50maIz+EWBbRtkX5Y3jbRaQ8niw2Z9ejRHdKhTENNqgDJNYb/zl2vG1t4ixX86icqVVIH6ydH1E/KkWFNeQItIzi6+FWuC6ZcX6krCNGauFh2WRlFPhP4RDRBgUkbq0hfqF9+PD31WynWqqHFZOqtExn+DjjsIA0FNThEcLrERKNAVRC7TxNcsiwH6VL16B3FnAYznPxJVN9YsTUU41hrcjKYlv9jZZf8uQZmZdBZU7gpXM/I5W42Mi65TmRaF7yH+M5iwAaMycyaWq6NccVutAx5uoG6c+u9hKt7N837d1GHiYVlb8F6c43C97/hH1uQL5rRmkjUQ/hNGTJgjXmNTK0cbjjdNfN5w6qOifrmsaINT7SBImbQEW2Q5WUrdDt6l9UmCkfVh8tcCsp1868YIJsUCAa68wyXzOuAeo6yOwNuKxY7cMTL7MUiZOiocIFZDxEnVGIwh01nQiPqfh/l/jdtgHbHV8+54HoUhQx04mDeXq3Gy3lOapCaOWIixSunKOUE6dchb3jVpgs9aILA0XNydjha6spZcnlEcPRaYKEriELlYCLrWiUpeDske09cBFzTODervwzqc2xDOFwE2lkwINjyZMwotGOpjSrvOjQcIog92LnLJOvPIKCP/pZrufcn0aiSLqXNWF/C6cV/UPYnnyiEd1gndw2jQx9WF8Sbf2MpmgW384NpF+kgPRcEyunYBR3EdcSVnUa1th1JDnK5RnVDgy12XIFBSqZWYZPAjllkGkUi71xB7v87ZKu7VA1tanVSBwRHQc0ZRcMAa3arTusRBWNmvf7MxXXbS7ZEOwujBPKGE8kyfkbV5Bm2JxgDV097b4cWWWHqRPWkm/QGCTRRkZySqWXcbIK+VUvslIKuaZhd1NwKTDG6xugnQufbECoKmeLZerA+HkOJ+feqiWMwxdngrG7JZVc1wNyYICEkVyhgm1HKtXPvI5uWa6KutoNaxxuyiNhEHKcFN15GmXYflVGloPiFoctlWwVA+2W38cXfRtdJnPl5s3VAjdrl6Rd2DtYiQpZFtzUHzDk5PwaP8aYdvYLwIWDLTbclf8mCS5uKilM608v/9vbFC624H/hgsZzk+DbqnZ5GJF9m2mkKisdsjHcRzTfuXRDxvFfk7u0QYBbXBZK5vlv5MTlduMmZn4KnJDWmc/DTxQcg5GOfE8clwB0T/LAKqL93tLynspBOZcgavR7VZaEiX2iGukQqxVklccIRQmNnVU7X1cM2mPVw+GAZDKkaBJpvFUmfjZMd+aYcnys0mMQd9yC2A/EP4OpU6G949Dn/XaEVWkiuUUyvAowBnfVuPNbbKI2/Q8WDWzmQruYeo4kicl5TS44bmlqXdYSe5n8voavRkDQyy9j7ndknnBjCfB6Gh5NHjZSg5fPzqRtB32yNLVTyufNdVW7p5Pu1E9aYPqEdbPeffh7+LNVNUqQFoDkI7dbGcC2Qpr/sApxbUH8pPs+0aYUnrjuoRGCiQQiYi9bRTvwPqjOjRAJ7O2nKNdYfY32DcEzFkvEESJVUSubgLd4sVn9wa426lk8blYFEIltrjifffOR1x8KPYYHyQpoPfJevT4/8xRopYk/wEDXvymnK9EOijvci5oXtiXIL0qarh0Ft/A3V2TFKvUdGppoKVuje1LnqX1TNlHlUfSQ+2e/XaQ+ChLeIHZZ3glTxV2K2HOnz1u3djfcyBS1by9U2LHhMwL1IOMkP+AE8In5YqqAX2ieZl+YPsrVxpjLhgP0/ipAyQWoib1oeFLJBXqqEzxBWZgC16ULuzt3IhrErQH51/Hb+DHOxUB+oa3WyrRmHf1TXqpkbYKhpmV4qXwxHV9NQkOKag+WlxMHNfWeDO+XZ37GHOuOZWzQ2D6nak753UTdaoJAd3IsB2BRa43YOWXZnKFIQEEkgi6P1Iqlasn879hvyc0t3NQBcvWlYJCV7HEz+AYxVT7igJM8Mz+vDJajF8rl9ZLHYF0Nx3UTvw117vSSvHZhRfLAONJDfp4aHkExDifQQj47+mklNgcxBKL8aYfwujc0qgOZgszxEcR5Wl2oX3blmt7j0qi1lXiza3CfrdGhWiXbgz1zY0nGzesvTHAXn+ufpnWR+y4RBZmZLsTNqQnapUWhUIT4KjwbBVKDyZ1yQxD3ucjbbLilccg5mSWJGoFAY3YyNXZ0GSDxW/lfGwbcN9kJYSfGjtmR0019pYaebRe1XA7qnyg3EQc5+29/NUXLupJ0mSaV2cy3MMSKEPIobAz+M1Guc2Nn1ApfOnp3HdvUFjGBfep5pv++PoMYWX6T+MDVcPPXuxB6GNHAPEtDJOpkhtCtteCLSWQ24hRN12U3UqsnV6pdz03LkEyVEDMwHvkS4tjjaKrXhe8mFU5I3xdUwXe6HF4KeDwMIogRUhJOmPtWrcxTtCJMOvZalLq17FEq65gIlNuUELOriPjGsRi7/XbKf4HyM2F8toWs2IYBtrmhe4AoKAphBTFkB3SHgSfMFK2rEugUV/nAAbUTzdgt2mkRe7rVVsDO8omTkI7jnlQGL/XxiZHovsJFZ3BiUpzMWlf0o/RlzptPMkdAYowm1rVq3RPbe+T44FLADnqoxQh2hy90I5FA7KftOP1UUs7mdS0ZlUjKg37cR3iJqKMQy1fUe0XOw3UXdGxdJPTpZFmujRqjzgByLV/wuI0h+fWvQDzS28MyHmpuW/maOrx6i42OgZe5qaUcWrJW2nm6mQB3C94iauLGgQBQpvwoLkTx9/kVBJlSFS+P0l4w69lm85scNQXMnZ2k1Z7iFNPBPZhx+1A8SMzw9qFA5QAS/KNGOfwSVn4eHrgi/c0HAEYFlMQ/qcLwMIm4MVxCkjB94ewpfave2VQUI+f+SkC6QpPXzGcAh6OpfOgHJfHj3BO6f1zsmVBvrqgZMOP3HITN1QJhnke6bnlHitxvMgFVXomO+eiF5ZiZF8GBZgfWIY9btf38g5ryCazL2sG4sLZmbkHyVVkcZc5l/rb4CnqtoRNqDsnoKLc9y1aBImsyrsZ8lT3Dz5g4OUoD0JKP0UlBp+vJRGGAOJLqWoLZUW6EpyuhiWqJs4kaZP+TbOmw1wkhL7wFFJMrkiEit9n4UcwhmP0pwYshOaFuljZCCZujP1rL/DrOzJ3YbYqsggasSZA3VQuq1FNnbrcKcvKHXW5oHbPg+QoAzF9wmbeLaMdAmB+EveFr4QX5sZ3s6EUvmGngFIZqlKW0JmQCkjnUDLvBIBikyKeMK98TyXX2rXqBEqBxNhItl4ZsiGNkbmYVPjugbbn4bh6gJUV9TVZwkk7gXEf85yPwMxVz4Pl6jcQMOnj0lGpNXuA4PR6sO2fhDr1XZG6py29F53AZmifMS0mhkASDZVxE1ITzx/5ttBCpb5/06FvDQEj4M/kUzf02jZf+sw0qKPaj/36s0SVGLDzrKl3yOJj/XZ06tJ7ekKELMu92mlxeiNP6DDfD8oVyw1CsymAjypfQD23G7N0H8DACIqt4BcOOVvoSwmhKndMWc9bdfIApTH/u+qj6miRkZDSJIzLCKiWGdY4AEAou0ey3NnsN37K9rVEAE3iBQnAN9ATBeTIiPF5w3A3/WY+yRfltohTzcoKMkLXZXpbZP499DQxg+T4ekbsJu13Fm3v0kStuLpjU1f1Yxn+YQxr5Tyosr0keJM8PBbQpo7cRF8ospoMo2nW9UQs+OtrBOyYuk+8jexT7egOzWETz8qvdbyEHPXT6+3xQ+k8H25FSpIF+GdUEnpDvad5VWfCa3qTDpwixc20uVTd27NgZjSCrVbxIbObQ0vaOwV1vSs3vAGYcqf3MuqArCZqauxBAh7ZKWkVZIlWX+H4lJNUpClZVf/67Ri8rd9pEHt0EblCAKtmvbeEmOFMrfVSeNSfb0MoGGDNDGn6uLJmzkUU7OBowLrqj5xhT3gyj5LjYwZcnSHIPG4/02WJUnxqqAbRmASVtQIYqRXbFhd9mN65cp259scts5C7Eu6eBw3+0QWVyHK0VolaFYhQG2UsxQmOimPgzV7N8Gd4LiDr9IZ4+eGp3GbiyHS1NpdbfurA2pWuBPHbsEx0ejmbxPhPKN9fbjsWkvqVvX61RpD/gV5/lkMG8IkVpG/NzY7AslTFWgNdk2ED7V6hvBLyQU1mPhtB3pA1UrROEYTYmqFcAnWmR8SnDKoCJl2ihLhkFpdGYpkOe1psWlajF9HFQlLm8rcqQqD9xPi5pycjxLATGaAjE75fqDgvVbYROcBq5DHcV9ui+brWXdCSjRF4c7k0BrvzQVyW/7b2UNB4rn+wvUK25LOGbZCjpVW2EnK1O1ib9rpTqOdqyxP/gNoUnX4GIWo4sqkcs2ueWL4VtXUS73NxZM9i1Mn9opLWjQkIkXZ/OvC3MRt+eVhQG6z61cXVDCpvw4BA0KWkhf7xa8jJ/LHdfJqFTIE39WqLlJH8AM8ZKy+p/i3g5I12voPtWcOkcLYL5uvT8dwKlvUw6xCu/zvM5n9peg+84woD17CuBHcoH3zQmnU+hTWFva5tYAbbfFxqbR227Gt8pVXJlNPfLkrK00o10r//+P1Pya2Bh2BtqrQnPgC/gWHf1j09ORHmcIYviMhZrhv5pUS4Xsfyf7LNSjf71mv9Z6trycNAYgk4qaQZJh8309gH0526F/kjzmcYOYruRlmD7BtvOzOJKnTSZ/XkqOFcbXBi0jUN2bWNMJucIuhIhVRwuVpnfS7vxByw5XYv42OkrCzvIJNro664tPUY4Jrq1zfb+Q4KKJg3LlR6nfLQA/tlMYeZQ4UXyF66mhGtou0zkIxQL8wajli53PI0PFq6uW1avZLe4gxbEOMVMnZO7Zqza+2GCuJQdlx6MBxz55uNx8h5UEkxe1l6Wf+U9eNKiA3GAPGq3tjhmzUU2piXs6iw3ISkSlBb3CUC6hnOokFwOv0BZmgccWcfA0NDn+VXai1y5Ka1qgXFpZDDsc+0oc/yaki5oXh1qmYXHJhyR+FCwszEKYi9a1wFr7ve6mWaDZBrvv0fgb7rX8XIoGGJCKXYrKUFZxBizMwXi5CCz5DEToZnyjWfy8KuEdHxQG176zkiYOQKgGL8pz5u8twvDQwYGEA6I8JvfzPtVfkXzIg/Eb71/y/bl49+xAlzrGldEN7wol4JUc1NI2Cy8avSW/Ssfn+CcIj2mxFG6edyw1aWXu8zYdsw+LQr/fsIznzrm3itw6Cy8p1wYe64/T1MpQp4/brsuxWvd0O0JyQ0MOzmIhvHo5m03iLo3gIeLT0PsIWkjRc9Eg5NR8qwSirAXO1W0mLPwKDtw0RqssOzA2f4L1IGgs6ZYnaSjMWnayIRqyQmAYgaSQXldEZ13RLwdW8XXSQb4cgz8LWW+/jxhoiRiLPEm5MuLhCRKz1FoIT/qTNDUyELkUuERxdlfZ+he6jPsP7b80p88ZGagpYVUk0obvwp+4E9BX2Pqt6EGyTjZtFH4PBlSQ2JjUvu6DJWXRqM17ZdKlcOnI1XhMgRIevuzcIU9uq2xGAB/wIzBsCGla+05Bq4zyyEDtA/clecxqZKhEY+wwpRVyCpJvb/K4u3hUMu78r1Wjfk2K7O26+tOK30E6gc0kE+e8MuMJrapyDN5SF3FPUr3P/VMqgodrcB/KDVRsyhIOuEQVUFgMEzgKJAeW27I1wSBfrF0FbBzY7bX1KsRO27G3pFlWQOQWqPHuV66v7050/8sMUhdCmFxFDvktZUyibE/v9infpiiEryfQCejGx0o/4FXzg4QC1pHMgryKJ8G1NuFANzaZSHoMugIku2dFnqR+p2UvipVutAtFQBzzrenl9Lpxr6bryseQayOx3Hc+hASR91uG1bteCf3vx13jlGJsfhAftK+Do3qtki7jUgPZ8v5RrOICMxMeK3l70WVPO3KYT3nnQxvCZ8qKgx2OBTQKKnAegXU8Qpt3Jr/9aCFCbu+oYKhxiviTud139FU+Iz1jM+8nhV6UB9XvJAjHWxlREJW5F8hOyAqXEYuwOq/CkNYvsgasiR10F+T2uItJaeVsuqLWhLKh1KQzfLFKISHQyLGegxQ5vYwsO+AYKZ07N4NJInb4TNXEGtY5mmUfUv/+90DepKV2J+BLXJdD6iXQJHKhbjRYQIgrUH+rkj2sGwpmEuAEU6qtIYA5V4sEEsDMMrWFzed6ajt5ZrduohNKnDPYGgKal3S2s7bwEPvGvtpG+2rEu9Z8gNDKEK6iYFwWFn5K6sJQHhzw5w37UGjgSmjDgQ7OfMTVsT007lRL3DGF5nb4ONG2gADMG7uAZ9gbe875R0FCyWJwGKb+kbr1KlfrKKZP4d56OyNOYiMTzDzEREcSNHIDiYaFU1uvg2gCdGicy8KsVvyOFi/XPPDUrTP2ERkLzc/RNJySwRUYPIYO/J0SuZsD4ScORH1S1PrsIpb0LpXeBX0mRowT93brz7EUCnWOwqd4H3L++oiHouh8rvCev63Dkm8Hfr+OQmcyt/pViK3kUjzfVHLupO0MOKD7EeSA9mXw9VqmaPLevBRZtWN/RJdzwQ8WOBFZ9eB+5ojoBP1hHRqWDXv1owaPw8ch1UFNIKYGTQ7uwq+Cq9Qt+AXBh7PMMDQPNQuuW9aSonXeN8epcs1E9fbX3I4bTXkgQZ/8ZhIT/KTXBoKCDD2YaU2kpCijkxGS0G/ESn8lWJeECNSqnGTwmEjvcadAISqF9G+nJbNjD/QoCgHGmTheliF3NJAVmAddJQkBXeuEYipNMPpRnJalMcrqvHwI7mDBug4d1pZ7HnYzPKYtZch+IFd6etcMHet/uBJPS76KHUPyHEoCiYLQPpL6GiqU7aplda4dZvjaSmLbhnfHqS5qnyL0XRimlFClJ6wurbP2TpOksEcXQwOPHFWdFYjzhokavI+68bfrpij+bSOQPOVEXxNRWzBtxM22PIHuh1vg7fe55kkXtRhpV9DZ9PmoB9pOoAyD4maKk3SWej9sKoO8xjqTb8mSe3BggC2epk/bMGYe4eYGmWF1D1gaU54+wMUksFlA1AgYsLNJHZ4M5t0N/aVhndSc/ha0HraK0ONtN72gB2RT0GUn/6fPy7aLJTxooqPfJuaaI4swIgvSaPi6govwHbxhZIn8N1harHm/P13SCewXxanqg/EUxwGhHDZbIiD1WQqNScr46+3SEZ4R+9ae0BZeGmMXgAj9jbFoMZZKsiGkj3hxCPencZb3Mt4hoifU2Fv+l3PF1lagwMTd856i0SsTrbARmlqaBx83x7IaM05MfJPrQM7uUmARhEzNbFNebXtq5tUOpURKPgTF+ydzUeKCyPqW9knq26CeqO3rvQvdE60Ax4qJA9gzMOkjZMOYfja/t6EPC25PPREGuvCbWEjEwtYrslmPnu/0z3XNQOaYIdajoQzudi6IYGDPfzxVOHNVBCSXyiGGQQIOBT4vSKQa+Ke0mBkjD7rTr5BIOabLiYX2old0b0YpzhcPOjymI9nl4wzKdb6xPtvvRS3IxW5uo8NIJsOsDBKtLoL9dL82RRCkbCb9ciWz2Wop1dZqlYRKSuyMGdaSroX1w5hP+RphlsHH0OXC83jVwRn3iAoNbw0TvqS2BYANU1TiPLMad7W6dNHuzYxaClb5R95StU2eQ/ACAzSNGDn7mw32RD0mGk6P66AkonoDdhedVJ7teDB7yKN+Elj+Hd9zzQi4CDxJdQGkL6k5j3H0FeWd3kg1cYmc3+VKAwxb0RAY1T4ZMdCMArKJztH92Nn3cZ9cHRaF3d7l5VGQyPjVRhNbLW12riMZknGCK6Dqqc9JVqTuce9R1uHDLtyxdd7tLeC24OJFdMvVSrj0mlJUYJQl4TGkhd57HwqTEfGNxqVvjrFrJeyOzcNmSPrf8Ffg3nrDJNXrYlovWn8tPj5K7GTe1DaNAyHmNr+VVXxRGdgDd64OwLdN6iwVWlenfDVsTEYXbhtonwlkemEy84MM8sse0Zc9VyTa/kNi6QjOfSDhPoOYJaf/yjJ7OKPNh+lZ7X+NXhVbYLXvCERztEV0cyAZPrmVKvOlrCrPj+eK3jpKDhRuFpkISpJ9rlGKg3GvrGMEQs/5r6WzO7BSsSki03ctz8KmAeFZM8oza6Kl4sBlQSD4QfziRkRaRHdFmgUTF/sOhdafPurQeeit+lyJHNiQwOlC3bBUfBcsfbOGVsLHHbIbxv6kZ3ENRJU6fPi/g4MXq0Th/uIJAsio+nhY3RdBh5RYtyiokkbVpgYD9RyLajzztnf6BX3WEwD9YWalh2Fqwy5exHeTiuW+0bHzys0nAnSjJyZPUhV6/6eWMqbhSKG38eJ+sDwQ8VweTIjrPb0BC73MaXND12cudoGNolwowEsKnVW42cK/dvuEoae35QGD269/6ff4Bud9lksk1iCj7gjn3yteiEXW8xQwFUJsyO65C4Nu8DiaRoaLnjiBxuQufsBWLVhLDIEYMtETDyTpxjiduMnsdDkhSinD61Zj8NDfdQGOGPcIJVorJRB4DWdCaHKQVmzUV9Eypb/Hyz+GAGKgygw6l7YBdQyJE28XwzmQ2UZm9gc6Qh0EDwBX8L7AEvvhsRX+O2od+h8ZjNCnsQsehCH+bQoJiA6njZ7eMjMsRMB1akrWhdRIHhx6xAR4vuyvIa3iO4sYUs8KFVZ+v4X9hOK6WQUPhV2W9MUW6NCZe5bzkMXIcwtMqky0li57Pbvo4wrXfsBR2jOrAdGWrEqMj0t4QEiWITwQ9njBGOnMo9/JG5HWX8KoHQDVRp4+qpWBBLVJ8Yo+RcTXfFlDF/AsthXH3PGnQHJNh2rMizmM05hhq4jEWo+aVYIuhOH0iH/qn6wEJvC3z2OLgvFqE+7fv4n4g3IYbCH1JXIJgm8qK3gLByBZ5FgSZpHx6gXS+uhtumQWRKBb9Y6OjqzlCMVX8z24pG02DRUBgMYf6XgrEz/00pBfMOBj9jB06OTJJL8P4JZvbljr3pKNQPWR2/zsGEDZvK/ta9SfiR7vxP0dzXaMzq5eEwvMU4RxxV+BtsAia3QzJNfwMvly3Ziq6TgydbhdDgcn/xqQz2hWvWt+tV/FdfHRX+h5T7il8U/sVkbBpVRW+868i9cisYVAR64AIQ6k6z0i6miAgn6sngFej/0hVdEM/Fru58DuSn6HhxTeT9IthpvMEKy+s6gMhtMgCoRcgjYeY2/Z70XtdJe9tmHjCYapmfO0n171XgZ5UdLrRF1/broF1yuuW9NdwYkToThkKyHbTOsnWNaanN+BBMbKWlkBC2WakCmB88otf/HIBuEb2DdI9hEeuqo/A7sokGX9Lbeu1T0aidODk9diOi3nAvfB/TcvH7yCTHUJgERWGyn2U+XpN49kwbB62/ZjE0Cr3bgNp3O46f6glOhvelV1hcCjYx8df2S0VnmclJ3HVf9PSp+K3RrDbNFv1nQ3QMXOPOJ/RPFMEVYYAMJ9WW2XrlZG4QHN5d4yBcz7p4XZhgVEOfnWod3a1JKLRpquSoQrgD1RVohmGp8kQQtiBYH6xB3wDCKE1xFnhlqM6ICM2Y0A2bB6jcQ+KI9x/bDkV+y7oc07GUWC/hfUw80uotuQGu8oTHJ7ds7kwKeP0Ou1D9RR7dUGxCK0c1QeyXbKrXnlZ7LpMDYrUSdovVtVfkLvZXKHkgkVL9vcTJL3n1VfVmR7TBW55WF3HR+LM+xy/Pk/EwJ8OOcSLyfNHbDOMIp0TMC0J3SH6P90OpgHGfzrQsXiIBFlPgYHpONNd5QqYvZbHS+H0fk9TSVguYecT7MTvvKUJBirTUMwq+D615GUD52nFF6PNZoqaD54j8syMKtgLMlBHcOY4+pld5oZMcLexOgruzc6B0hOqvVF65jXkEJ6FMTCMllF+NFKrVbzeHQVcUfCYjCCXbSwrLsJmCAi1VyBCZcv+A+TfPLmekRzdEezSbSlG/jRdLoRLtUj4NU6xfHx+D0LRa6rOrGttLeW3dEcsdlCb45yIrvJT+ylX7VIh8BMggTgnzrt1dBmbOpACD6mHFF174cQwCPbvajf8UsB+xru0lB6gVeRH/Gw7TypdfkLDENuF11uKBAg7b1pvEU0f+JXmIJRIlMnJRWfZS4BTUYci6GlDzBfq8tYeEoF70KiGHNKyPq68sm1SKvSA3VC2uocAdVm6J/Xh8yXH5HIVkk37KtG9YzrrUbO9JpeMhRvyhG3UKNKbqTomoiO4gltY/OBV+fUIY9oI/neL1e/Psm3Iv3YUXGdQbbXH5QD3aG/EmzLjQ+H+GSJR6pZNWqYCur2e8L1BPw8hJSE9NeobOMCIQfJJqXJOl2drHdRUW52W2fY/wNjEFEpPfEjpiEr6TvicURE50rCmH63mrDCm45IKIY9EPlez8gchvEcugACTMn0vVPIR80+mrizm265EY8vXu+UuYrRyL0SSRD55x9xS/87vMVXC+L7hNSoyQAvp9Y6aLo+I4eqKGRg5tiZt2uV9h9Fhec7ZqCHymdhy8j9P4/UhazjH6QlJbevm0p9VXIyVyrLpi7M+aMe5XJxf9v+Eae/0StQzQKKbUyEaDs0c3TYJIwAVsHQrnM0uIPoeNJsDxLMwD6lbtgL+AZg17YpScrUtItM+qpt5916v13TRLE4TDCTYkkEouF4YsuunSA22/xmRzJw0YjKW3wrouCB2/y3gg4LlR4b04L9t9gKAbE9VIy8hu59buSEJrbdlucPnp3Q8T5Ltob2YxwnXghityQzhJlAxY6Yds6sk4bDnHzYjcV9wid7nbT1LbT1UNBwu42la1SVeGyM2Fjt35es6d77fxB7wi4LKJXIp1cNwGhgOHXIpn7tusQUw1eJ7wcq3vyAM//cAupqeCjoEimk864OcJEbHuprQ0X0vbChOUZt3rl83E8whjOiwEgriBvsCBTcKtCV/hAwkRoy5pWg2tBiC0lkhFhGj/hEYjvwwviC3c+lyQR8vmaQPoQVPQWZ0Zyh3ca9eWk6VIFh9DfE+99FfTaWeoac3HCzy3xx66/Yj4d3G420zX5ZMT5Ts75wjZA+XLiglQES0yS/teWwZp2TffbE9zxhXnaasOnkR+BcXN+dPkDyXJAthF6Q4bm4zjCc2MFVnabSigHrxsUCcazqECnFnLAy5HI8AbaBH8rWAUSbKAsKhz2nNY1EPuiJrCUN9PS6SU4GRVIiaxysfi7Qz/SlVVDLW8qAHdtbk0dsS9MxW4s+9lESMZeHNXM8pIR/ktR+14T3ceTzz3WkQZw0DjeVe/Hv3wAr7a5yWZNzdk1J7vfF9RndorDJt7hM9NaHhv9yB+nz412DBrI7OfXb4qi98G2+2mdEWIEmWZUwLkC6PDUxbFk6It7s+sMPRDYYCsMYLpZEit3r0Jhy783+ruK/AfgPHLnU+iyuPfyx9HepsvOMowKm4ZbNSM8t65irpTWZ4MDKAFiqFCgZZcTH95ZGWAKPTbj+NFNjTDTbphtjVlNXFFPaYaaIO0vg1ZhncBR5HnrQFrJaGLzbGXkQ1PEmGZJGg/vyuDZAZXHMsv6qWuMzvxcunbSG+Mvy1ZzblUAijvgNjeBvfY2I+819MzE8iOOAEBoy0Vu2VJbluMTNCX5YAuGLeTQEdIb0UHMOrBYNbJR1F7Td8DD8Iy5ANQzSfmVbxg6iOR7GXmLFMYMGufYet/KTOghFBY47lr3m3+gP8JbcaoP4ZGsvWFMbUWixuirzNJsJVhfcksVEDC1g6xqdVNabS3T/r3cetyS9K20ece8YgxatkgsxuBXwYPhpmyq3dnvnIb4Gf3yKmCEKWhiNAsmIlJKk4JK7JQ8ckl0+Y/+fX6do8o894MGbG2VzwUEIEfeVVLIYct9K8NwxnJ07ZvTgZNxvsqXSLP3NhdB75tyerCLKrgX7QinyP7B/SGOsdKqzZ2niDiD6SqF8nFwIKaQANrt6j3daBjBdihFtBBQRuCI7hWvdrah42xJgLYBrGhwVUFQnOFiYc+O/6HcIKPj9uweVIqWFFGrUHRvAXu7nZmTYIntshXN+RgBHB7cIRnKdamY185yeEQfqThR/QeNIVExIGG4zwzN+k1yqhxvPWjS+6AUw5z1U2RlfRM3GhmdsIaWOEpjKQYsp2jZmh+7jqpalcps1QY87dWME1TjEFW4f13hLOsWj/QiKAHSFR3MU52sAfa51Q/rUcPmAtX/nGc9xLN1CtGzhF4a+UHORnPbAKCwKBkDX3oU5uFgUt0JvUdL+7zJC8v7H0zErE2tpAoRNZNQ7ZfsJKsPT9ZxZetA/UbYYWgans/klik11/OUKaYXlb7//zSum7bXN59dBCoknfy/j5aSAwpfBYmglXpVOnL3wX/MZe8K9Gvep1h3X+DxQhYPM20VRTzmRg3Q05aj8GLRlPVCipWkz0jqbkxvyoyD1tNz8OurNlDzmLg1aiEmmEyrrtF+DSoh6diww9EkPLeXlB+GCvCSkxuYegz9sW6ambUnZOY2TwPDGp03zFJABBHcWSJAgNdmjgZdq1T6FySOfQ476ALUJyxLMQBXExoa5J7tZldLW862xHzXF6U6RevBLL0vswBfOJ0HShxdUvNH7081NPkI6SzIJBY2fhQCF7j+eipfQa80yDrlBVBCAf5/YlRrV4HlQkrHHeF5MSvOUK+ICKf+rQ25iqtxC8w82QiNcOsiJ2EWHheViJ0R2nY6NQxJoApZgt2l34iwGM92sRbS3OfhIbqiejqe0fYweBfcZVyptsgq3P6XTaH0eMjLYn1UGZXagIkrAwzNIE9yGviyA/I9KgAk6LGqbqbgL0Dix+78H7cdifvslNw5DqybVf/FmDYZBoxQWQ0743SH1sKphhkOhuCoKDbow6h0n2KE05tpuTUL0R7yjOBb0lMmsoMbD0orVGji4qKjLUlGTdFek/UxNo5wgkZ+3pZ0EyfoA+bfzEj72boo6EYshEQCd2fiwtDzdlXObVFZobjN2j4G2NCoYLyETmhilLMv6VPeJ0qUZsDzMjQ3OcRNUnBKEg6lwE3YZCcni8l/dRSuHr13wV0qiagY6xYgOMnkgEekypQoAu1zZs88OhfaYMMjCf9uy2p4/NFBFiwy9CFyzFMRYinps/Ac8h6eqJ09p2KCzLXx81IlXXjRKoFwvVyn+kM6NBgBZ8fnxiGv8rJm6m0ZM0xjlZAciCFBV4Dibi+DsfbYv3NupeE/3MQhevJsVkF/8Aq4XtByNwyW/Qgeqy4Z9xotUkyjPmBFWhMPjHPz0Ip8IxWQasV0IHAEq4VzXqE4CvJ/RMA9dR7TQ8aHHy1zc6XZiJOn7D1QC/YEJKnHjFw9pc7QVUdZleXsRUVRE8ZSRSYYUURztZp7gk556xB5aM9PU/GgfsZksdI/OsFG0tDqwJcLuHgaPu6GqDVQ3efIJYfMgqrf/wI0ikczESE4xltca/3etRgFTfUnfAG4SF+q1MLFJWafYAeeFejRQBBorEwvjC9fnNJuq9KsQHeusyEOJu8x5MOEcwVtrlGNNxT/0loKrRrmNxU/aMIKXJNMiaMD3UjiHVtDVJwlgmeSXCFA5WSvRsJm3dw7ffkNmvtqY3uFJkTF9wixJrtsmPrXjor6w6wYjcxSTXGXlIQUmorQBMVxXvG/rHw0VeC4C8nzmXJTxtMeON3vNOHmZH48dBcQK2a1zPTHbRVYwA3iy+r1VcIm+C4r3PKy/RRpetoOHKrXy0DKCGgzx+iIBGVXGjv9Soypp1tk5m8TimSw70sNkk260GkNP7DcP5wnQlsnTJ6I+gP+gKCqKUPK5WsCh+SdSvowombsSQrpoFGJHg4COv8ZdvO65EJ20uEyxfTukwIBK/S37ZjVgRWx+5dthhcp+RGlAkh8R3MI79KkEZl0GHne9t+LB6yajYUOx8C6VfDrAWRvItI8bGLUahnUwxT3ZfbJL8mklRQvXr9tozrvA+gLvpKkhd4v4fj2JVnKlgJfXRvbNqNltgVYzXOLaBqMr/oNaDX5/L9mYCMLBvUbnWhfLoKplcxqZtv0fhnzdHSpBuKEe1lnjRmrgeMTuPQ/qPIF2ljbaokRMcGXEnTIOJFDLQsVU6UCgD1r4TUYy/PUr0TfHcevguyACc56NX4iB0u3tmpTVLiL7/nF8S2O9xHq86enqhL02KBExGtnbRa2mnMaPMRLoX/oDEN+hQWLu70olV9eVUCyQcIcVE5+UnuEZoy0Cpa12rgpvdCit+I1uVG642Fak8dAlKjVElfVQIbLaTebHseqaXGa9zAXRYFkV8po1xb8yvrJeRqWSII6l7dP4GfFjOc154YSHL5iLKkV7uX7X1Ev93z3qSbIE1OGsw4HFWyPiSLxyCWLPobdZDFgYkm6cUTWttvKkqY4ul+HapDf5RYQSCJoFBfXXagU2miVWR35E8Pm8gmioQGA4g1NnnR+T3mslv2YclHNSjfNxn3y4ti+L81d1+9lPDwctZVA+9zueDT8PugHomEnRB7LNxaaYKbijpb5EQtk9Ln4oDPk3DjXFySess2afttOADvWZjUTzMfUlaAit7u9i31gZPlQl9HYyKKHgOqCNvZ96YuUgv/b1YaVRYE1s7qkHnx2dkYt2RDFoSOQ2vVSU9u5cjIIFMtqCry6AL6ZGAWA6D9KWwvdW0pl6aopyyY7yJdpkkOML3eIXr4GweXMQm7P6DmdZZLn4aLVJ1bO4ZDZpg1Zdw4RTFkP3oJfN79cg/0RSd2fRADVqtzkFWRVsd5BO4mRbmqoIA5OQzDB32zyG7IoHZhIt2UqLnFJd4jKyRQ6/YHY2yeIXhhsoEzH6zIshnJ9lFBZCFrv0GGajSBehlpJ+S1Q0u4Ib6flt/kektxH+SPfp5Q6Nyc7YZajMOuy31H5n+qZMQsMuZVkFwMevfuU8ZIXEA0+hyEyVO8RSmgEY+m9ZDe8staplcg7hh1iX9EygkE4EWLHfDevWeG6sv3uItZGe6oZOuBGbARYMSXb0irWnFl+SkjJVLqa4uDGqmLdUmSgJQu2BHDQQ1+5sLYV8KIZNEtBOjFC7lVIYa1rb/I68d2RvZEB9ZkS/+zUZQaZdvSSvCr2by/tIq/HlqZqGbvKiy+Y5nhltorsp2r2sDhGQrBijjdFxcMrf2iF+9Z3LprqpX4+O/pXavtJsE5GEzoKyN48EYQrFWa8IDsEQtKkD6U6C4XmABN11MYCOe8zTk4Bix20E0155yS2Bbpj1cgi2loTE8HnqliKNQaGpiqey3MvqcFxShL1J0RcUYbJiDSpAc2c8wwuyXqZ6Z+wjfNSYwqM887hHOlNtWuP0gPswsR+9ZATYEMAFUegMNdN+TLH2VDQP9DSbnHyxUUybhU8U3VNbFaVAihAk1JLAWdRjhLUZuSv3u4W8jkbBtt2dGaHA9B8x+wlVXJOJMTFCeEtvYMfJXqPALWL/IpHRGeSphOLe5K1cTrviSTw0QVrDnUDgI8xIsW+gEAL4139+Yg3Hn44WNk+158V7jSRSEZKqlptSoGTbjG0o94306xmIJEfdQJZN7uQYcOXDy5p0xjwmayHiZCkriKwnBFKdG46Bl2E3r07r/P8OeN6y1LgKYDiJiZGA4GqWRCYKBNDYkmwNx0LVPrw6Y6DK01POwVKZ4pd8NyOaMfuqq6LYfa6aOEzYnG5mNuhdPT/RHYPpMp/YlgwWNnwAmeYUfap5HjPJhFPQKHeialwCGd8/14XWmz140YWZ4T+XCidarSvnvNcw4kFFL5oog8rVnw55BVpxIv3t+84QzlhBJbeG54/HDKplqPVTypYOJsqzlapInH4+vEVuCUoeOD6zqmt685uDsIfAzj8xBtoDCRb1rfAxRIUXquroucAu6eseYWxvPeRNJ9XYtFAgho9baYA9AY9N+cNXKUB45wAUBBaigyL+bAiV08JNZfgS0wTDBEbsHp3wJl8EelrxORdESd6yAi754cM8xSDPwl7WlOxVmOEHPpQzDHxhc9v3oGIOKafUahsYNvSXX4to1zWIFdVL99izwrRlkb4YW+PAiXB3Aj/Rv1uFLMHcDbNfccOr49dNq9phYY2phmoW7Gzq5oOeCPsXm0ojev+DKt5wruhIr1pilpv+FTnvYjLWDSvhjDlZT0S0ioU0TVc5EM1MpW/MnksoI0Cht7fFEjhmrwW5HALq2rZCpHQMKA1U/3OMCeHNpU29H4lIqeN5FVokdOT98lJE6lNwSOqxS5wqg8XXuZB8R7foii1j1HxG+DvdSYZT04FByKBco+e9nbcMre4ArurYMEKay5UXQE1kiSVxVBUqISvOihx7gMdDbtiEN1x53eVil7lnHLaisHKmcxk6tkkvgBO0yLHdWyvLF0RfFnV2OANIz0IKnKEM22mCH/gi7+DnEeHoeUzMUoWkDpOWUDqYOLLMiiGLz9H32gt1NIL7c+RXutQtStmyFn1aJL74NwxB7i8ovk8+y+8/IM7s7xCFmc6Y/tBxjiLourjoyP/AXtus8MJwty9/0vjtzhw3ClRopL8tHjhcNKVlaEpopTO3J6yz+0B8zLL0TY6kclDEOX6iAqfEys+6E2v4eKs2LwI+HKuT0mhANrHk/SIHcuBdnWi8PVF1jP/kSjQ0jbbN0uOkk3utjna4KrZfTW+xEhi/KaR3C8V9ZPsrOaCLgVPC52yyqUDNd/k66IRflTZxHNYJ51o50Yj+QHMXMUZLBVfgpAexhrFq0ziYYXx1ELEKmGO20gg+iuGSugUhY+VITFXPPCePRjO++UPYN6j5mISxbSBIUEFneD/CPTWR1vbVFDYESLJwdIz1dcHX2jR9pU34O1L99PZpSBw4YQAS8BK+z9pm6DPA43c7I3OBPXmJ5vW/EMqt+7CXLQMLayiQ6tsrhjaJ2G/mUvkKzQKlYodSX/6WJKpI49Vp1bSUm3QWx3bOW3FSUaK+Q9c+wD9L/GuUP1RIearevbKcooXhSFu4WqbX0ONL4fcJEw8ZY+K/FySdCZ/0B/MZgnAsZTGBBmUuLAUm/t3xLhGDedtAPYnYwXNSpE9hrFNT2fAGOK4VZ2Gv9RTxl9jYc2UsdBg5mcbqfnZA1fzX5p/6LKX7bqi9mGzmJU7h3FTCMQiMa6dq0Pfkhrt+gMPzDVhy9Q0M73hSLcGDi6xSg5R28OCdb+nvCvjOGgKH/6UWbtJM01fq9OqOIvKegPlt57hwcbVovpAI+87Cv5z2tpBnxX0fsvoIuBPjskCdVMtMzw9HCYahOHpuk5fpAn0b0nEv8IH+cOwzSrVQVWfESa7d3hQBYBg2iIDvP3y/T/4zSjc+3m7HzT8xkUxYuVamc/xN6yujKENuRtMg97HCWYRKYB2RJ1pK0OzJ4Tk5wpLhyS1ekssurvsSIl3iICRJ9ruFGAAk4yl+oBAiQPkXu/btn7gnJ9rJaf7xfzoA44qcQS8Plsu+JgWLMhEEzyuHYw2stIdkM6+4Lsv/yrUxUmO/UkLC3bkjQpb1UkdhnpcB0PsDnFPCLcSX+IJFK6tGSBOzQefyOCDf1ikEfVAkS4AQLpkbwnw+eCUs5Yz6UKJ6i+y3tkzUePulivtK81tBxAR7UpLIM6fyClf38xYUcC6+m4x1St7GvbJ0pz+npJsV/ae74ku0OMlVIdczB78tptEgVVhdovFePlw6SxgJfLdZ/ow8vSG0LXNWvxJwmYnilCwlumIQT3PH94seRbm2XLyeWNu4TRiq1e2f1dxuYhVO39UuFgwr9KOI1v4Pdc2aHWtUgTS+J4DfrXnUrmGtz2zIgikTOAdrlcrVQNHjonbPIyiJgNvq22bhHqcTkeiQptqkh699LaBQYOXrtfu2Wn1uSyCxDcYqg6AUt5GaELle7wjf+LqKwliRolkUBlNX+89N50TnN+delhuDAZx7h/x23Pk7+m3cV9cvVx+ZoJ9+cpMvczxMoItD+PIxgBeBCcpROY7OJvt43SKWPrzrRUNqw49SzIECKpzftyjS+XGf1IahtuCJTroytmzp08XgOA5SQaMUMrWgVMIdS/1C62csva1hCnZihDzMDUbWTzchRQrI7UKSn1tQssMQv+wkTzYyZjW3lj+B3Fz1Br6bkvXfXK14za3KbA3pUz0wpdm77mDrZxRXum12CTzNlRVK6z63dPerNmbspxpMe6rdnpLMnRvNTkN0oJRt5fPJKmUK5LjcW65WyAduC17jgsD2wkQWI6w5+0NmhWDdtika9Rsfa/xK2CBsPfh5L77R1XssVc0YdGD9BJODlfgUOFj0sEAkKlRDb3YYgvjQzarLiPY58TdT1hr+Oo0dLRzqJo8rWbQYP+BRrdwmEs6ZfqzKzsXOXCJX8O2yLE193WbqQzvlPwCMlXSDuVp8H3w0GVtrRIuEENfEOrcaP0Byz/Fs2OLaFRD9XUdK/3pCGs24HtmzeNyE3EWDF3qi9oQuoJWbnNCJrItGkKT5K1ID9F580KQrZQDijblnNxF0qjXCQlsxXm8qRREsLgAZlSaS7RGdVEHqwGmh9CzCd18sqoCxfJYCRlt3dE1P/pseyfURSCAKOOEWBEQSihe7LlgZqDdFV4IP2cqGGuqKWpSpdJ/+oK1rb4a94SWdzoVXupanBCd3Zl5VSy2Q7uwEKyjVNqGrmckio24tdmzlbsgPxohtQGe/FTZhiojeUYuIQtcBqFg5ncUR1zQ6JvBsHVFf847FgIdt8UpU3Udg+5yCB2icT30Lxiyx4ZmatVM3F7CHuFC0VGQnQIssin99FFkBxsQskQHwgxnVO7qwVyEckMR/lkwFH+vXUG8gbx3apra+wMOWW7kWx38eXQZqZEO/tpwzPXlS5LcrzVBN3KzSFGO3l874yuEepoCVRGxEnvX4QwuDWqWQODrJlJyoZzGl6+Lhf8xTyvEOSdu0N1SbG8KrOTTYZluk89QwiQiZyHfGd6HhLvcMYcuGJCGRa7ikdaolrrzTdFXDDpSyvgTBtWolbi9FXgqR2eiLavGJjLlkmBYupUqHLfnFVVCMu6A7kEg4NPUjKC5OcCXheHo8VXhfIE5vNluM9plzsz73JTUWCA2HCGi6Jt/KKE2nNZiTW25GcS9cowHcXeHDqqLnZ0fGRWaFpyMem9qWA+7NOQileAsvK7J411+wijqA3z9GRsoWM6Do3eQUlxj756IxVlQkYZO5bGbM+923jmBvTYQ+6PSNgN4TSMABEJLw/MJ9MofKjiiyzuDd7BvMk6+NJDN4LJLBN8Bj+Uv31i/AS1o2c2DhVyxWVzG2d5EZzSjkCDc679MS0yyUrd57VuDr0ARkiA0whlCuvme1Ben/yfwk5yV4/6B/oH9O4pk2oAazLN1DOOQMhi2tEz4Ql0PhFyyknVYbxHpHjgvOJA110UfyUBIu1MuZ4efBVe88lK272MrmZFCBniJaDKj9rrzqa9oO3sxqXQoiPXMjTSZwWGWo5F76YfzSt1M3RLGBn6StGdX5tOkEzDZH5ucGN3J/wtYWx+ja1PvVVQaMn4qyFEeuXt3LthjX8GQ/AuMUS3ENXiNoThrpxc2sdrw8iufcz3XTYedCsmtsmjjqwU5y3vxgl5xDxsQoxIxsiYFWT7ztxF0Ri7AWiNFtoBGM2d24vGnCz4gf6mie0kZuYCeDtRAarRSckPgvVWZYneusAXWrT932eS2e5v6qqVGpUgUSEZjvr8zBq4tbbVcu9eaivFgCW62Ceh3whBFaqJJJeOWTqupZPZjXCzBEbMGn6B8UyF6bgwQp0f9OqyHTCNfUhOS8vtkguprVUHzjsCeXnAu0ys/nSPMSVYuLBZca8F7S8wED+Q2UeD9fwzd34MozWAyGXvsL7CWVDbVLtPFwxmO5+FVvy9GOwjfjMYCEKFx53bMQ/zQcrQvyipqi3hQDxozdrrOImgJnUwthYyRzXVidMcxl+xEHBQFclITBV8KpPOkCh3hNB/XLYguGyY4A1B/rz6R/9HSON9fRA5zp1X9KS3/JU0AGuWVykHzKdeI/a6qTUyj5sZmWmAis7MMRhVB9qsruvSuXRYLX6fSDhPGnnPeJZB1N3Pzp761E5w8OY8ju2IbbJqnGSHrjEJ/JRue99IIEdh/F/a4ls2QjrREdgvzV8N5v9+HgUpOIdm5z0YVDk7RJ9+hgesdX5ShfPgmYifFbdR+XiglKzpnhv5idW7GTwaA+juEvIdFYROrNMfnwyFs8iRY41Xm5P1PWup8aqj+bo8SmLytHx7mw6CQYJ5lcQLL05IN7EUrVJsFxCq1UU0/jRc2QJ+7VDY5B3jckV3pnF71ZU0OwiSKT+GEWbsRHlBXK9YS1BEfQWQxx5df49OqLq8c07zA+5AlDhgQraxyu8tMXS+htfUrBw+y8P6xGhpkH6yHKQBYpe4qsvmkj+VjuUaaiPa14PvJImv/HHSFTSqte7DYZ6s1itYM9fzfJ0gfJfN93QmvJ+J23iqv0KdefGsvgtplFqpV15Vtifn5e53y6UBVz7SGGFNah+wJDAcZqbvqS1rHTb9Z+x+dPnJoA07Ab/dF5vHdk3A9362LOSwy5sZVaX/+qSNuqB1f6xHI82EOvmZcUycnFTAYIFn9ecAtjZfKNS9zg8DuImzF7+yHiFehZys+KHoKyun8RUA="/>
  <p:tag name="MEKKOXMLTAGS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XML1" val="4HooU0THZk28POP9trq+pbTvvzd/gcV8t56cq85kb3NDTsUhojRA0EsgEHHMH7oYP1SYpn09ysXVivguJdhTvfyVMsBLTGvcX7WPTor/CmUhGW7Nmta88fOE38MmEYnXWTcn5Suf11KpkKbNpr58SvepMLWU6sovQRlbVCoMwih3HuVYhKYEZGUtY6PCfUy4t7oXnwmSzEPlZCuE5QckfrF/t+PpCimAeyqX+PKi8K4IvzQ4UQiHQsMQ9/3B0klcJHlHwru/DKk9vHqqTEPsxMwXBYNcaOBkQYWDmdg9G+XSNefRdZK3gxf3DpKmz/bHYyvnQ32HKA7sTQ759i7AAsjAs2ffibIeFAP1flJ1d/j3xXl24QxJfwq48AKQo/YixP3RYZM40GXLTLhR25LLyjuOr40wppdg6JCj45l4xAHRtF6FqNbV5SJQpdHT3fovKVGX9/mkpQC/pXUV/tBu+48Mzw5KbmsG99Zo2W9MVeKVgHqZk+YvReRm0dtk0vKGZbd8HGeRkufZpzMn4ZaKIk4PGB0BjNvdDgxzhqSHIhjgWsW7QgCShahjFpNoh8+CDzGsZWwnNmihXkm+WngCCECbHVg5+xdOclY0MohfHsqLJqgyv+Zze7WQYVBd/97i7LcJpC6ktPMUBPPsJx1RZ9EfOYL3Vio6fLCsA9ONPCXx3TDBbLmfRT+genTvnGECzXmS3OPK8KpX1KvhhNomNN0moNtYVYiVlUHBPosciX4qQszJ6kE+KFt8qyLvpYoodeHwmU31wXJeAwFGKcfrC5HFBjXJNlQ9Ej2EXpkj+dZtBE4Xc/m54FCVfOPp9onTjUR//inafe027GH5FLl/FpYiFK5TBk6YQM55VNVEpwR1dqe5ZLHpqrLnTps6+ZAAn4d7yU+kX/7jEvIZd8vuYpQvvJtDQrceznHRbKo1ge1bQkDHvyZ+p1bUynk1wV5uFy1dseegykkk94LaBnBFWJK64Q2kBTLj8Hj1fHgueEfGX0Q4DLq1vyTi6KL6XNBJoi3aVxxb83qBmAMgNCWlqX/I6F0iW3EEMzjVGdL7SFQUGwzaLbgHoPuLYqz7JOUaot7yh/x2T6Ev3hjfCfcgM4BjEtJ3bW9yIcn+TVRxa0WU642RbJw4+Zz2QN0ocefHLNWpcBkhneZIHo2YaD9bCDOsuBl0vnkTN2Z1AB8g4pe3PLzNRDR3W6zqx6cP4hgH4hdzEO0PCfzNpi2VE/pvaFA9ewHrKCIRkJAfC3UXQ1BaD63QNmo6zpsYxZmGO8+ljrrGi2MpFGSj0/BrYPUFtHBxUu7PhzXVP2veOqEfrseGHQNKuHBaMV/JW51Nl/PvnLqyxH3QLtjihVnDAQUwi0Nk9vjIy3czHxgxDTruta+OZ5+wjx1F6nfFg4VBh759MN6WU8TIX/+qJ7/Egll5KDb33aGUCtuk/MKswoFuYTDt+OzEhW+QiaeuMV48K+kc1BhUDKfbOZBtH43Q0f8llVlaUgc/Z6qcuDQXKWbwwfwAUnldcx1dhdXrAat7B2AloeurRJwzGcHCjPX5yzugbING4U5H2wlBY8Q55lq3lxXXbQVE4iLZ8SOcNPR8qduD5JnmlHEOPLJ0W4KQXLTXJV2HUVVy3B1toOk0zA6jxshiX055ITYEZXm+no1lMNqJtEZ3SWZSBt8m+KX6+k/cnGrOIJT6+TsWiFGaNMPboyDypUvdMInt4qo0j6BBnX2TD/SGtl01PFvs08CfuvWEB89ezoAYbsgsbT7aNDgTS82Io3jb9/WyPXT1PkwGp9srtiix8rVW71i4Cw4+3tYSIuHkkXYMPPMwElZ2kkB7KAlh772umyOWiKnXUQ0Omy24Xr55ndEnwiJfbJ4w0eH6ndjXEg6rP6/26m7UlqlLufZPxQ3xXfjmC/JGSPOth9UIYb7e3NHE9kFtULwkHkMFrtIFgm8dygDuHqsGcYhRYe2I9bY8kwHR8Ynx5NFrBUpSf+HZR+JP3txzL2c4ADRXcVZJhUusTf/YmGrVM1aJQ6dIPouUbvRbF+Kd0K4KJ2zkc7vObAPNi3AvYGba7BoQG0nn8XQoc42/HyHbroD6WXPoN1c/5sBUyCukZpxeAC2hCRXhg3bUwqhFofs6lY3NXUzXcL9C5RRGbhuQXzmYaUM3CqMx0NnNJrwem0AMVkjTtlc0RRZILcvZ99/xfMXNhzn8kWbc4DDLce0LvJlaUVKzLw16groIPexvOzrUhTrmtcoPAqyCTnwpesd3Yy+ZzXjPZuXC5Cnbna+rVeeJaXeGzUwGuruiWDRYaytZfnK6OToB3CuOj6QxiqCoIoGAeoojyYyP6IZee1wF2jWE3WIMeJ1enjysDGAH85by+dAMjHeifrrkZ6iZmB5zEZMvMB48Q175OpE1UPakW9+PZ+G8Z+eOPut7rxPFG1VujI8AZTGOtF+E1dK/j2OZFO5cIdlBx40/dQOBUqclIQp6Mv5sGLFnEMIXbGUELYZtMENHM7iNMQ2RZk+7UQBaV52ul2J0OtRLAmFiaybQwRLtrmv16DGvuJotN1NIt3oCHYu5RYVX6Vs8GphNMvP1KetwLXAGA5Y79MDTx8Whx99pe1Kb+pRNM87M5UnJPKYk+GQ8paoQUcG2EU0aZ+ZhuvTJIXq18J9ykHSNtbPhogxDeqhWWlWR2LPYm/lQJJr5wlM6s+5MRc3LQcc9eSqQUH1DIfC7FEzjMf1VNSeKCgtn94ikzy0FtJUD6slgnA7WXzXcrHKvRLY6IfQslYKsCxo3GZt7kcxDHQTUBTmMEX2/SUh5pN1MRd10qIZEBqaRIZR72VPZjzskGhfVOmIw5GWgsInIE8gi/YMET7kwlWDmDpbWdkEYiGb9cJv63wAv4Q8C3NYWjrLqISjl4RmVRAM5ts6AYS8WoKkV06ffwMSv6nHwMQE7HY7HDp1CuEKNJV2prhp5bWYGBTsgavggJreBuSsSBs2+G3bzfhK+cXQJdG6MkkLk8qQSa8s3TkIPtWANPfjNkcmmmk6Y+q40WG+i2OXedtZB1O0k24dCHesIiDQRb/m7wKGuBC2IHe/CO8WFS2tJBcjOL5M6ivrvOpqgeKXPR7ldimDy0eNoLgX7xwz3xnzsAnsvgq6lsdsL/Yn4V7fYQWsoEoFZx4AD0+e34R9vMbvYh3iO4AuFReOzI836dJDjunQjwWQv9ui5rxkUH/XJZWaOXm4/JKdep5p/p2giY3TsTl5t9DNc27ECkr5tua2rEdheEzqJmakRhkTV6RvkDeD740KzAKGB28ge35Nil80XsU7s6DJ87hKvSReTVjIvRqbWWpvJaCr5L4JoUapA9yRCuA0ThDqoRHXtbSjc9L39x3D0TqQXaRA0eDvWUbaSNCNAAlJyoBk9kcnUCUTEWIUpHmJ4CqxkrK65NP1Tj5GpC7abbjvGpXcjpKBKmpSNa3JCWAdX+C/bMnE13MGlzh0BqTajwKfxuyCURQZ1eKcUC3G0cMUIOKkKfy+tLLaijhZ3e1aVX20r1lS7tcXp2WGlW5PYCfoaxMAukfqQCuupzrkVSO/mRcPUnuYqOnp5pNCwEy7EU6WEmoRsd6XPVJviUM3zzUrXzISTzPuZNBox81ie4YqMuQ52ZpgxaKV3uNblEDrK21buR0NmaWZJ33TEdgNoKwUTtR8F7q3nj0BEyPPYRGTGNlLkQghjQWCnCWK6+072YAK5pyjIwLIHp7k9AhpbG0HTJCRbnPJXUX4gLjcWw2tdc0+0gqDMF1j79yu2+h8O7+ItQ3yKdUgE/gWcQeKTRJEeF6Z3DblqVrgV09t5wZE70XGPtMBKx9U5/ApyEov18lILDhK6InKQbUpGi7LNXUDDhq7ruJpDRwnam3lAQdrtAiuqc9pGkxeDdXZpY+m1gFaKxAybAMmpDsMjJmuvnLsgYo5AgMzh8BdzOIGpVgvvqEBmETRukA3nUdt9F6TGrbgvVo2WA3wn+Bdhyq3lSILYGu48Ck82Naq8oQOaNta5OakoN/4GNwq1bP0uosaRMB4pKySp9+xwhCZOug7zPNq0FochJ/ILd3xgGsI3YRO961+3Ap/HYzS+m5Up0IgtwZGSo71JSSB/3XK9JyhWdadMw3rJkB9K7cxoB/lfAhl2wjBAmVjEkqkYXfdSRQhh03VMsNGlPRyotObrUMfhNuD0WFMWcK43brTEAfMXDwusIrOB8tJb9gAZEgprBpibq8Jspr/dru/d7t6uV+ppkayTInvCK7/reSYg/GcNW1Z9/klg7i1I48+6XGGEJ1vinANd/W8+e5zecIDIj09GNnJrY0IqKOcRUGKytdVdQqphkg5bRvZOIVbP12ZCRsVMu6E7fJhWNbOvUvOaimCE8LniJcV+owV58Xft1NRlopLcQ/iVkM2I1Z7tTsR/tm6a5r4ZSY30Vl/IZE7crlbrSpbfsxwlMHprrfd3IX3fsCp8Efl4f3vvAG/LwOvBFafr0SSJeEQv32pN6+LMjTinStch66eC1oXDgL5CBRTHt1+fqDWu3adHjsHe9vOSl14stGXuq62v4MtQgScZH74ZaaI+QXRTP1fRHHS009gIDht3htnhMPpct0Mjk4IKEuGEEuECTtKhglPr0MQMyXw7PdeQQutLveFNxzvQ8JHkW9PfbYFxh/UmG/AEyL3Iw46HLit60/HOr/7CN4nO9e6uwRRSNsYZ5Pko+7UqBPEpb4lr1Omrq+Dg/sAIWHGEZhz8GJpQiC/R5m8G5ZFl7dX1oYWThNf5ItFmpUsXP9x6tcFPAuADZj5fuMQyEMzZNw9PR5iyXMSBEC7LNzRW4SBct/9Fta9PULZuIYqFWzh/4am4dxBPaKjwlUUEGrLZ5mZ9q54eiiAwvj7m0Lksp84NmA66bfUNpNrfnFtVprtz2s14UzF6yzp8BeXCIoygJv4EjSGXa2WGzRyVbdrQaP4oI7hW6a40EDvg3qAKZXjLv/hT64FGjnPuQsV5MWPuMlc87MdhKTAAdZELbL4H7ZKROqPFF1DYW4ad56sU362sfZNNi0enoTU/LKcGHY/f5/E4JPKwReLbTS2ELsZEYi3igyUWUzGgugbs4ce/Qf4ab3EY7VwGpVek7ZTmHSQM+GXMXk30nNz18j2tFDc204KDnDm0xWZIsNhbBsvaZnHIb7GZk3grgi9HJkzMv77enHBhkcCseGHrLsjvMYkIo/2mcuf1wedNH0dTXS+aPgZn5vysxdUNzlDnxK3C1ZGFAz2tXlCwRe0kha7kZRl8TT/GF+9g+oGeREbxqF6lEPkM/J45XxSXwqx0BJg47HPN8KlOBtAKHyGMPOuUrwZGJ5p97CXg9wSl86xprCDy1mrOG8Z7zhVTfz9ECc+niQ9T1HuNtORy9GTpW93QcyJCiylnNBYEW/y/TD51zDraaQrVJusrK39REXkBoZQ1IphHrvG/8IvmOYKZggGx3AmTaQII4t9T4DpsPXJASB+L++IyNXyOgIsA1ljK0eTaBUeu8HNCvGi1lS7Jehm8AxDxA58kfzChY2yQ0rxzcDY4KWZob16w29CL3zRgOd8YgKZHP8FP4mwhDDsV2ZBX8XhHGBjslWWcnZhW3lm1qQl4fR4YyyH6+6h7hs1nayG0SGrYTNkHWvAYkQtxRsBn0m2hmddhMGlRNYpWN0MikN/4xUePfm5ZdZ/kG3rEaSSd2MtCurjukC9y+FNhvKQGz+XGN+27tbIxUDeLB1Jc3O9UjHAiCH3XL7FVBbXl+k81JixjnregFe0LzkpJnN/DnwFBXyxY44iqLRYaAEDqe9uOrt6msk2st6TSBPPJvGyvi950okquxnfvuprXDDo0dCe3TtqYSMSoa4C0umQLPsiS672SY8hG1wQxstKC9YzQ6J47bh4MkiI6SSkG24PQr9JxvYO8jco4eQV8euYpCIWv8L5oAy8Toq1XNz5nHTJkdQmz/zwrS7Dn+SdTiEsYqAPJK8pjAhbYUyAIJ+WysEqxeTyPALEmBdzPpUb81+oS2ixoRhEnxzofdT2swAA4LsUGVnWPc3BtzVq0+u/cmA1qfBOETV0XillqaFmjKZ81C/XuW4FD9265ukr1spUuNdEUQETSgTRmtC42lORQhh3QoaG4R4ui530iveCVLXz4dbkrYJfTyflpAnoDp5Pvyy5xyEsFjok5m0I8v1z00Nm0WmgWw+2I3mBnwxbFuMSE9ERtYAKZjCyAq17uPLF7iFX0PMJtjc+ME6lHGN7HRvg8vt/p4mkEpwOmDA0W2n1X6i6cZ/PNz8cshl2HzBIs9mbBnFUOewhr4M7ytBjZos6F7bpk++s242xzCEudyt6ez5QxxJ0bDttA51u+03l+30yEVk+wz8/AOF4UgQ2qynlKotz3zo9DUp2Ct0SwdH5fuip2gPX3boJFVhd6q2vFVVcrdoinulzzZmpw/20HYIKdo0xv6U1WEQDX4zuO70IwxxZrcgc/okevkQfXgoWQnDq2EI8XZ+oFCFZ4lTI8Zs16s3Dv8TQvoCx5vPPnzjdCcNZtRsiag/OA8Q0dgBz/nxgDcstUgFLUBSP7YMcvi18D9stTl7Yj3/t044EZhbQPCGaUMX8ffNLnth60N75aBw3rVaM8SBWU3COPvwZh76vDfGzLUHy8Lk7SWq1w7uC9W4aFeSPnxsgXHcV/1XxvldWrHi/eo1FS9VTk/zQk/mGd+3f9NyCwLfpCgcXov10TJISFlkHnr49R9tTcsDDIdCc5RPcPR7YS5FMdtejU3Fm5fayqAvcw3Su6DjkvrLz4nzk0iB40pCs8k+TBQy5Uxy/m77x/fCEEBtcA3heOI+l6oFiddB/p0QR9rmGevGIpgOTUdrAT6/ChRc494bjDLkVpMkzMaDNbTd2QjX0yDCtJrYtazM4pnqSl4HoPRomPLURG7tbmJ2R/F4+INP7TpRtv1HzWDPU9n1h8YaM4V7dA94bySD/hrjaKFM2eeoQeuFbo2ETKwsJrEFBStnj3fgalZl/WPaiOplwFS065RBRUB2vC0JsPvwtgwHb+ICuAyoNcbAgJ3EzQmsbVXP2XSCCpwPWXvDsepZY50y1Eky6UBmnfTSAsLiz0YxTr1i5JAlZ5Ve6Y4Nql02xL6DBQKfBCsfMinDFsV/xkB88KdXat7SIx1zB+jHMrlCoHNQOZI3IsRL36ZBfKkmBHB375fDc7UYFg3ZYcRLjA7m7W5qz90zUzLsIJlRlMhGqa5Mobzn9HYVeSoUC9SaaYZTM5AR/++k7g7eEZA8ofwsWgRXDAsRo5syRFDapwHcsvSfDIclGfhJ+iqWzM7pqLktUhm/icQesOpTlIibI3RsL4SKOVn6/sYCPa9aiFyYPzpDlDf6ZPbF4WCr15bfsk6m6tAQAptQf39oAMjBA9Ni4m8RPWBu2PtSA3VuXknp2/Lf1f+/KCOPtvDl0w/fv8ofK5ELZjpE5/MEc/vQgsSA4Z6q1DoHQaCrUchziapLSmN2UPf33rxpaBEIRoBpmzFcY5NVbDyfEvxQQvUom2oB4xacX13TYU6DOF9S8/qqx5Az8alX4TwaaorRk35JoZHg22uMBR+C80WIHHiGyeFmcWG9YDzyam5sfn3lxVpUJj6k3RQMj+bVMNYHT+J0uMw1cklfss+1CLynuAVlWqOnWoRr+QO5a5ITjRWjjHWZe3p0wrSxTSDHXbmnpj19bXAxH7Dop96tQmhcjrXY38g+xxAudlvq/PjszyHmoH38D2obwYjKCbx3xFdpek9eQp/QVJVpUXbKPA3EIghagjMa1Rv3Wt64hPpurusqMbFlQ95bQlYgg8+UOlxj0Xzdv1PtzYxWFdb7kREZL9BEarFUT2zPE9VmkZSD0+sruzRz/Ff3oluu6S1caEkbX+qLrkTqMh6bGxN9OJxLR6/fTAvORdvGrf+6I1umty/JGgKXlmi9GOtjxJ9X/zwClzrbae7nGdAU6G4DqZkI7T9ckg2n4Yd0yFeDv52HuOJ6KmxOw4dTn6NkQQ4ajmguWhJHAZDj/WuGkFBvstYc1qEllz4KYVnj74not/d+wqXti46dGlP/2CZXZC1e9sCbYrU2drfm0Hmz6zQIvp7zowYU9JTzhA57EoLGEx+QkHdJf/zF5c/LQVAf225kPIC7i7g1hWa/HifjOntiO7DqZi+ceksLg2GN2GYr/o3/TPqVpAkOS6S6UdfshBTfth/MsrCYDiwcJWv9CGNX4b+r/EYki1mgZBUZeuylP21xwQvyw9TjcYpTjuxqmMGF8UOktfe10gLpvEyzeW69wSaGxGUEskToXpxk4UWwzNyyyFe1jX5xewB18y15QW1Z/rnM52bbwpZKN95y8wHMuwaK++J2S7ybe7wkHBmb23QfSiadPPr2u9wmwwRJ6arJgNtKUMWZhKSdTjsJpxOy76SQEUp5qWyQBaDom9QIw4osaRCbe+IT20ULpYYeAXLasoESEih3IunMI2skw1vaibsDXTR+kcO+rE8AN1cVE3fNOruqQ4M3HUrzuoGh3EM0/9ZhqN3IehfT0uabgh1L7ZidYMngkYOvpmYdH+9llUQEAEEisk0PpHgVbZ0O65ZXNDMX1Do+UQEdJ2ad5MyCo6ZjZEVUTTNsYDmgwvlWJLsQ9hCflGaynqg6fs6esVziwC5XYEvlIX3GjZwyWrtl1dVWNr3yTulYdotHjm2qU6/zTtMrxa32YenTgR9fN7QWzSCOtKZvB3zTRmb++6JEV1OfeXRZrnAL0tYfTd6/xIxwKriPkCP3C0fWGYS69jOkyQq5Sbq/iZRR7ArJ8LcSmuY6mcvVOYKZ8uN0jwrBvcel/NpZivEQH9lQT34XdSSxHGgaISeproaF26u2Ge+q0bLuiaped0n8VTb7jaIfAm6kYYm/9mJJvghWIQ/w1mBWtVPOfzOq5sxnt5JgeAg6N6+35qx5XXAiKltqYIVyy1RKoemYd82v1iJV85ThM3DJc5kwZ+YCCMANANjJe2+92V3K/nlLqtViel8qPV2aufDSrHnoT/YBS8TGFuMPqPoWitFU4qJe81MD8RUIyUdR6R35WrJEwGSfClFTJAb65oE7ZfhJx10R2sRJ01Fw2ARCRa/XOmMNu+YdnotJs7VMCnsMoip+k6IdaGAokJ+JIjdL4ywIysij6HV7BkWtPxeEh/QFlAZ96a/MvwM7f4judcpx+Uw8YjsiFH5zv6M8h4nM1632Iktk0ICeCZ2GzysKhBi8wzOmNNg2muxLKohQj/i7u8MsbuX2zYZv4vlOLtYJwMVVxs1jqU+hpEMrynaHJW0DnRB61x2mIHNgNd/4yQpvuB+my3QABK7e+YMF0Q/hX1fp8qVcp3/Cohbz+3oeA3JCBG3GFGMz0oQxXefHEfjfc2tIA3dV7L0oMUmlJDSTGS8bkIclV9tMeElzbCETiANW5QlhzBGbvo575ignXqmtJ223Q/NYxgB51XmskcGQdfCaa7rgJ73wjYLb/Q6oCjhxk/EV8CTNUMsLODUdEVb7L5ks1jqFY5LogXpP6mkZHMtkDB/vC7gyU2M4yq5Elcjy864dfYs8oO5EcL0noVH6LEqN7A8VOu2++Mk8cwIu/jB05ITBeBBbjfeTNtw4Jw7XcTY9h2Ac8jdNr6Oz6kKqpyJiIRK2vrMZloHZmSt1qKzkuvSNr+/cuo5SNSJHIBd35yXHiL4+VP0/E6Q/Ajxqid2rjBcz7eyLHPM1WbiRsFTxDXzqHapDR8rkwQucyyP3YRrMyuUaIWs0swjF3l/68k+fYkv/LwomGTWtfW0N/l04ZEkwiNfhI9opWQatpQR3o+fPfum32vdNzs6PfeGmeEnXp1DXqZTUyoAzlW1PVKWx6CA+MmoCjycaADvzZ3GtZIFYpU8neoN423Hk49FqkBeZhH4bmuvJA7TvW/lsDJRZpUmkycRb/6IELat+yqhOIAohD1g7Q6XapBuEGjI5h45y8sI/RbSDBTXBAGtHh1ee3befNLJ1WdzTDRN8PHFsPDXVV85YDmMtfQ+eKOurzhokSKKhl7pZdTTFXDnG6nWRGaw3Au2ECJkiLxHICXgt9kN5EUQmdDnfjlUDz+JXogfyMLD9x7Nt3allT4bl+0ZHw+B6gH31eAZRahyVqKbfH+A+T4V0FLkx8kjVmjk3uZIfMPr1fVbz49YWEn7ehaLMTMvRtep6eUBiP9Q5USnQXx9wKHSRQ2mTJySJDjJ8bOm5cLSgNrU5l0A/OYwogesnTYIqik/E2FuUSB4Tc4N9uD0lKxPg5PQ0XAt+Ua00zq9N8Ak9V3gOF5EobNR1w2rRklM2TmMVeP2aTZiydAZmKdtHpMD4nVkRq8DoKVdxQwOsP73YBXS+1Cs0z79DilnG7VPnbYxKnB1XYgV9H7EAypfpMGR9T1whBXUQutvbYcnfKGQpC1idqJRgS4UeQD+xm0SvreHM0+gkPYeBGi/DJmAt7QIyWC1fafOkG7WDlaqMr/2tncoX9QGa7VlsHmGM1Yjh99dfnNXg0dC7FDKeaNs5x/zJihcP6AYLO0l3K8+HnQlEarqfp5/lq/48fckNIZGjzHh6TyGT+QMajZbKpETEW8EC8c/y4zMEMySwnxUaegcJD1m/ehbCfYirR7QiCUOmb8rMw1Rc5/0TtIpifxuG49I02+00lIZnSbacw2rkgo72+HHX/aU1X/XgostsI+RLGhPm/TigAnr1xM1YV5hxWNIBItofz0uKlA6hoz2bgpRFQr2ftQbDP7lRXxFDcpct3t9DIHKVcCvN9zBioJfj29wMA74u/4ieQgqjR2HLFsAg7PzcHJW87HL98T0nrDPg+JrpEHlyasEj1p7vtf023LWORpeeq+TqCEBe17zzecsMdni7MWSOnooDGwo+E57HH0ht76BbIm+uEKgeKL1wyq1KeJQmCmJGJcOkmHJWZOHeYb4Mz6py9Fxworj9scdLyj5DNcGVVC7HJ280I2kNf+FgrehrB9BivU94u/4DW9dRtmrTPRBXaENAG0Rl0R5+jDpGNMFqZ4iFRinMP5SWj7kFtXbMfK3J622Ty9NdJRfY+ru62uOV+JlbfMuOFvsqDyMXN2GG54bL5INlhYYv5pqGb7bTLPtOKnDl+PYecT0g6LGLU2hazNBvurgMqDi6EW5c3C4MtJp36Ynq1tH1m0Bfubvm3hRZXKOwrbljUza7CmQDm7zbxKTIVOhY0xIX8fg4ffn9uzqsCT4Ev4/PEK2KVN/L+akk39fp+A2h6JSnpZiWXv0c4QQmRnquFxWI3FMHzw1s5nhGv5zdsxtKZ8JOVm7KpEF5ipG3Jje0kzxNVQ0ki0bW8rJcFDgC2xwQRj6C2xQFisS1ArUcurD43cka+pKjePfDOeq0oz+U2swbns3sNAM5qehQJrsVIlEbjcUNB4M4ecfq7n5UIc8whHKI9FTvKRlNSSQly1vdoneoJaSzjLhDA35nZQjI3ecSn88TXkzs3TJtrzFMFtDStuv9DE+Qy5C2Qw2KihoJ3eDD16gVOejtqsBz0+FZHw4w7fY3lH4z9hWI628nA9xEaO1bn29p0o/CaHwwU/pqY9iEdU8J1+qjsjQWVLPHORlX3kAunIvtUq24OeBr3vzu51Jwh94EUkVBGtdx3hhcRSNCPPijXYw7jv+qO6U7Zqvmlbwe5uLaXIksVMpwfLQjUElhIgAgWSw9R80fE4qgYzX/k5/zJf5iA9I1lHgdFDxKXbH3NVylL3s+che3VLvw7Kd1IrdHNPYSXGmRM3YByoQgqcIbOe4cRgZxDuQedaekVAG01B0c36KVrMoooaQuP6QAG+MJso4spY3JHksjIZSvscjJQ7e5tkNeaRx3Zdo8Cvg9D2RaSX+Fpa/XjNz03AgLIGC7Wc+ozghCjegoWL3K8vVymjkJRXjBOLKRrHupAFFsbHqdlT6ePkFa8p95CCEa+euoXU3igY33xFdzwdEQ7RD7mheyal6wiUYWf9Itx9wWYZDLR2gHUcDkjPnbBFDUSXEDY/6vgOJd+HS6POEIphY0BbWGj1Zntd7nv5J/t/40AdQfUZeGCzLLz+qrU7xHWaSmo5JGYZDYwyisvGtPuteOm1PyUdLYBehUqpCQSyuucHedqCffMOssTJ6o0szwIhXi3A5iCwgG2IfysSxlRCVTy+b8k0A3jxhw41Llgtp59y1r+nl7Oh613Kigr64F4xIbFwhMJEJf34/QM//a0vtswX3aFC62By+LIV7gwZmmUjfp6Ewjh2xPzEmpPXDY0nE/XIFnY3ITu1Y7PgQqw5zxavIAH7Mu0YvHKKQdRQx+SzCL30P0puiUhw2Hxfo8sHTwa8KAL3F8ZtFQ9vc9SGICIu332xz5baMpJEcObZI0sQ2ftNksArTZ1BLgmC2uOPDwGJK8xPTwhf2cU8KMOzpSepaQwnwZGaDZohM3V5kI4JEcgTwefFd7EvW3i65PoMnc8Q3KQMHWnqJB6R1autmuO0uIZXT3sQkBoKBhC9FmqaU/FbUSh/VigGvW4W46HOWYoKqnUVQIDPtgKO+fvTBmSEqUtX4O0oVH+KuLB4d7xBynmQ2lwTYb7EJQOCtdrr0XhmQ0SpoT1urbIAitxFvFiwSAjLAZtKHsauBuJYxFnruMDyGCpdcVFFI3wP0mI8ZjIrFFzBMbjsHjy3UXeHnBMPCXIE2PdLL/tYw7cUZ+LKYUu54n5kILT1gfoOQhtr1+xCtdFGkxR7a00xfXZNbZru+OUpHHL+1+0B8KCVBky5AB8ImztbqTz0e+tcdCAGdBat+tCI6TLYFI62TGr+kmJaG+t8kC/Pr/W+FaGT0FJRlhwjvORxyjrs0o+ZV8MKPOShQDH5knI68zRgL1gxNaKPJzWXH/jZ7GiQMyy03J9fA3pG/AzKnrsIg//Zxm+OduMrqF77io3+OuXYxshaoN6TCRFKrH/1cpxuX3PLQVGsCT92uGOxYwWBSkIHYDfElG5fj+PzQ+RWMGRVzDJZXyvk5D0NKaFh0MDV4HS26CzZ7bvR5eD8eG49mKwm87d4bW+BCA2/pgGWivuJUoPYtmZxGveb7OVbG1ip+/b9/Rt7GcCyHhqZ46vwovx+H11hliR3805c3IIVMCk5jnRiqjKyXlp9xrElLhCNSlFF4PWwovZMbP6AQdCpFOJk/cw5u8e/pqGbaALIh/jvZsKSdzfDR63B1jE1R3bMsLuppA67f0EmfwOtE2MHl0AE9tJIY0VXuPpHdj0bXMB4qEIEsD7K1LWr/OQwN7iUAiC9FkcRtJ4r36IeyRnXm+qS5KXJ+b93ZQhdZB9sMzSRC0iaJBQTcqEXtqmZC2RLsRjoV08rSb1CUvPlM2oM+/RDnyGOyp4lRDyISFfg2bsugO1rjZFEXUd2InQV+LGGT89nPERs5nf6xguxUzFrXHQ1cVPa0Bwh4xJWIBiao/zJVuz0FUAWevgNaXvGq6zisQyfrvLdPm4EO64E4vWYyqxLPGQ5bBUa1MyvMR27JTm5W7beoZa2eLF8GGNySBW+8DQ8qFI2WyseUcSTjkw6E8blYSqVfYeEdyX0nI/8C5ysMINJzpcISVbBd8ZJXyK48COWOhZCUaakUmZsshMYB+EVfYPvTCwdyL+UBsEhQ3emcLzRxkFMe6/HLjx+shhdBD5hZcbBz7bnEswDT7jhmmKAmr59AV7D6vvSn+T3qK/5/e14/RVK2MRw2y9VAgDg9Lcjz/OtUENcpcItpxm06SsK7FN6DY+t/4GoJ/uF5p0kJILOQ6OhU6x0mHqI11MWOVmNI82Lrqr/MLXzlvKkbTtPcmmSTg/ikx+YPvx5Z+dJth0EOODZmT7XVfXMxzpPWlGjU1/OGp84cgjNm2zh4imBctjbzH9sam369MZpl1ekHEZmAht6T7Aww14f3KkprFqt5ZdtRhX6p6A9cYH5+9EOMm5Qw5qy8a6EHHJ8x8dSEBYYQ6s5olCGs/SuGf04RXoww7yZu5yYkB86ePsG5AbA2oE/HUQBBOyD3M/zCPWmm4glKAo0JpOrbX3diDOHNEqr6hpXYg/qJ+ZA33CNoBeqvoQkBRkevxYLisifKWXb9UcSoeBuRTauCjS8rw0N9fYSiJbm+7EVgiKj/hU7IG+s7PNpy/Za7OMOJaOzAYYRal6vOQtHY2lc2I5f0GzX/reOpvm1orHfVC+pU6GNECE3Nh4D83/8/uE3gsbgzrmKNAYE3qPQT7o42st2SeN9oVgogJk4pOgLdxBDK4vvPUvDoKDrI0+TPawJcHsGzGXCU39+8p6gI2MERzcKN6Vozr5bGp0QID5VzNhFUiN4En1SyilS2dUI76Nymbcsi2KMnWDYafadRgYLIk4q8mSaICLy666eVUbwKdO90h4S+nSwN0lz5+v56W4U3MbwSXkFTHI+HB/guTFwEqeObNEDic7HvZaPQ/WIMZMDZliTk7BK1OP8MrqlTRZ5LqIwbjbQG5+4bHMvdWxB5S5GF2YB4R5B1coO81Xt2RISsYUend5gTzTraluPJ7P9kRJSH3LgR6VNo83Y1ggalLfgzzTKvVvfxqw3U/dGo7uxvO/iULjJ3if5a+6n5kCIODaAcN1+VYwv68lpNiyvjd1grizvAWQ747N5LuaeP/jXiowom882AixfMSSCQGMLHS3ubWJBNpisOGr8QcbAJNHuIE/tAwoh7JLLglai8NLSPY7xJ329mbf5AifA5shjG20YN8LwH8cs7LZJP76HzCbHmOwvqPT1Y1nYzatSaL9mKwMqaijWhLBWk/lxdB9+fckQnqBfyskW2Y5v0unw0sUl2sUffFVF3Gk1ih4LL0hOuAuDf1Lqn45Z7FW5sGOou/jkZfZrWCBY1IvvsxSPw7N7V5wsfZvXeCM/69qDugkbhtIKGFIaanx/2UoL3kv6Gl/aGvqzWUVThxw1tA8fzdQRHwovigqL+5EkeFSCcFvSAgIx0CCKShBKjkmbxkuLB6dpz9jlr67tyH6i2JGXWKCIr+3rpkxvW0dzUCkPtCnn8grgQ0SUgX1nbVJqk5MFsrLOxG4TuirgPp5b+YOXhXHzs+yutizc5lY6PwP7t1eqLoyDRrhKZoi2RgkkRF5YAAXj0s9Semw51+6OE3L772Jl5KufvlYKr6cgbU+lIJOcrr07IveJlA1RISl8JZUhv1vKnWwShF7azSwFEsZBLW+48ZkMElxoqTvrg+LGkDHEzQXmf/q9j5YIK7tdTN5I0BWL7E5l0yf3uKPn3rQF8vzZX+Bv5uryOeaanDyMPX//vt5ZXWSMYxlI9JlxO8TOQEhVEIaXAppFPLA2fn6ypOrxAiU9uAAYinRMg43L17bBWq2eGcJYjyEamZuq9JshvBgJxuzohKjWDBIL1eIVi96hE0TlT+a//GDXo0QJR7Quq+g2TBprr68vHTPZ6ZwnhYC1xe7AlXUE6xm7u88/t142NIkM2IaiihsZlTEtg5F8TjEuwf74gSo9sYFC4qi63bHc3F0RZAKTaMPGI/PE6uHAh2C/AJ6Xe8Y/r/aJFYLeidNrtVPsCM8KhulsQTcGBVBzd0WNvhpuJOFJwlLCrkE33rMWbfJOUHWCaNx76FgfX4/1ulp0O8UL2cqjBqdYThsHTLxPWMPMptpGWc6lIOsdeWLXaYBozHqSTjqOPmLeYYEvGvhGx5MDNRPwpv64vmtSO1Ry3ZJs9RiB1HW7onCCg0SjXRbvYt3ZS93lXkGjGtlUB47pxAo50CjFZ1LZjrTVCRWiznXeIxeOkR3J586sgBCtBlTOAs3sSHRUj6gb/PuAxLBmnw8TNSxnmZjy4IwNiFwuTaiU38pz3dkP1e4JfnWtWqs03uJyCm5aHM96rszUUah2zJhK9n/Yj/z+TwE4IZZazytgs71iefHcuW75EyUWCztl6Xm5WeFh7d3rDTMqCj4FDyqfBaj5PyD1DhXUqSkZ+FsuSDO6SGrjlnNdEBsCJ8CVpE5tYv9suUR3Qaldv0ti/7lhabBXPcydmiZ6h6F56HsJUu1aEf0IC/vXBNLk06zNlhD80mDRr1WD5NQWsHUyh1ttlxnneUZY8cjNddE5V9Q2MMwriq32GNacIEPrwrTcivQNMKZQRmvZHfMOjWSuKo069Sj19FcnkZxpgkK6t0NS/PNUZp8OZf8xvIa1ylFHvEUPWi5Afq/vmFfYQVWEgct/14IBBrNyXxuEMpRpxINLex0iN4sbBQ5Da6W/rOV2cC45ki0V1uo1rrAu00onAGCD1WouFIAbkDcNlr7Kuui2y7iVadYfNlPM76QDUgbD3CXkl9/Ec1M/xCZFfYQy5ZnOpQ/18yZxMMoJ8dEmilenTZ3PHdjhtZWseIWsjrX4S7+TMhZ6ZGGGaAFmnNjjATJYTHhasHUD9ZpLTQmYdND/Xvzp72hq0uZjRZWfSxUib/N7cFMiDM6orTN2NyHcNI5opr0bsU07QO+fMzeJ0r9jSqRTvxK01R1Hnl/G49JCvS2nM5C2GLFJFHRpd+a/4L5hKNJK8B0j9grFj0POQIeaDpREFHG49lb+XniUGdpP2IoEhR1mGV2OvCvT0wBy5HH+MYcWrkcGghhcfEQf+nxpByYJ68Y0NF3QIeIfrR+lVxVJPZX8LsjUSGi+X7r+CbvrQ4Dpk3zRxw+yMT8kxaKYudD7BmIKOetQpudirUf6qyFWsH1Z+eL/Mh9FSaFdw5FpvBhzaTHq/iimUZrjaSGvpZA4V5EWUIS+5mnayce8DWC+kK5k6ehYAI+Gasz+v2r6/u/652XAd8+xCjL2g5TIfsOiqclWjj0DXmLAW4xM0oR0YmxZD4XrPj4u0ADEUMe8AtY6KBw6VCL7dnMNTB/6+nMKLL2ZLeBXjAeJxxq45LlS2mKvZ3VUy3t6RvGE47G++fzXrUOrdTFz6kHAQUtzkXuF6Y+6JoAvS9LivZO6A0zCIStUQ935uLZiZzXkz1V8AWvu/UXSbt9oqq92rbJX8PHivcPhkPi530cAUZPgh3MSPKPv1jcnFtkOouLwS4SCTmwLPKMYU6/jfkxqgBbEEMooDGgV3EtdD8T1rEAiPsxs1vp/5afV1O3Vj37kHbLQqiao1EFtSBr48b0LI2KtJy7ZS+ns8PXR/sbWSPG2NiACrNIQh6IUZ4VlZYrrRazcgvirIckMqh4DmbVZf1saNCJjf1Q8tPldT9bawIFMgM22TjvPfQ5s50nN0uVnazHKtYrsr24J+9iGpisOxJ+eQgwB5Rri4t6t/nCowKt6k4Hn4jjKxcg6KRRJACSzdlwmGXMmtW/zrbLsMonxuhN4DCNyoO4SdUUxZZN74rt0J8wJztpXW1IQ8I+JX1DQzAHMX81FhL9qnW9owZF/4Sh9d22LW0e48j1LN2/0Q40KjX0Nu8CzTg6h4aCgKuNDElXG4Ifggk+xv10SJsK/rQdfLNaXhYEWBu5BJXctzVjYMAPLMCr/3zMGhC+bEb2EvgAz90RIlIlcun9cpc/LRuOJ1VTjC0vpuhThyRAlfdGnddsDbGta0vxxiCNO8z0L2h+c59VkeThHnaVKD1Zdfpb+RokF21OCAIQNUrFwEvQ8649u/z0TCMWZrVHwSlBahj8ZyuUFU+unIneXlAIrOShiS0AVADxTa8fvHOq1r4PRftt9auAyj88LvB7qNS/qlfkBmqbUgWghSgbtZsmnSq94kb0n0bdAcDvyKfDtvaAv9mermQV0QGlD9KB6cdVj/Zocoa94oLCKpCapzdNK1fLpFT1Kb4SVwRCDOqSH67Kc5n+mIBXE14myLwksTsyH30bO+dDXD5ruAq04bb1TAKK2s7T/QEjrr8V1DzWkpFeDDOmRR523LVh/95hYIHnZ/D1R4B7izP29+M/KqQGGNu8Bq0oLmVvcanYIKu4Q5rEVPZtya/qFaoyN6zhxNcw4IX5IcvClvauRN/u6kg7ZvnaebPTOMGUifOpAvYPa+1+/BmVFVCeFaXlWvg4e3RPn91O6Fh7d6B3Jmx8mzmkh5TCw6spLr/2LyYJlVacPE0MYpleNTdKdgSz7TjOYVE4ujJrociKlFyoeEuxwMimdadFc/PFGrY2knOjQtkF1lgJ/XnjNKGW3OqktRdikVrRwuPDxKrsXyKiG/h7Lho5GkcxPPWfv40gNpAvs5cNhHmJ8jk5EBE+/2YaaMxDKdi3GnjhXC9iLhMceKsCXybbYJNRZMmU7QzqqBxSOSvk1czJuZdCUYmZ/gCaZrfu/Y3FSvHnR2OkfXTbYB+vFmWdWfKEEjxPo+OgesYMQqy/KoQOgp6UKL1ygNs5Rch0XT1bAszNUukA70atfLHZRU9UcQbd58lQCIDUIhvNmicp0uRfMRWXFALUbvsUqDR7yhVM09T7frpeG4RemBApI4r2Crt8AopEITt2FSFjzJlguGdTHmgM3LiO4RIGW/29bgCNCQY7etGt7KaRk7iGmsEauHayKwBf8Qtcn/Yo5f28i3lhawOcM7Fec8jhz3VhoyImeuDAVBKeFfXWPD1hOywVBFaSXujg1UgifuFX6dejzPUGzb6Kn2ngullTX8Inqch5qFhezCH057/+xlr+K94Pk4Tg2Ge3yKcWrpiBQW4XSiy0nLpyJSMuS5WD+lkpUzzhq0fZh4wRXLiHha+qazAbPIcF7jC2jKuQ5qb88QvVoQ14IB+0Q8+bJD8DQ/o+Wk1pRBNq7QV5kJvxI1WSoq4OMO+aCVQwNi/cTlxxqivmYW/7zRPURJQBNH1KjVSOyEKothdCke79eOXIR3NPfndwQHbUIUb8mBVl8Nu9yJGABYKCCazT8KYyn6h3BDnxuD89Uqz37F8/q+7pqiiLQQ6QO2E4qEQ9jVZbZCWpvPxm26WAHR81QShNEqOd9EfpjRdnXqtl1FbGMrXJJ3V5xR/4kxbO29n4bCZiMIBq9ZFMIY9KcMSz1uY13q9hQEQpqk6NRMChYh0QeE4KZ0ZzmDLuO+Zq+yc7SN5NiD0KeaRtJMKfwL1Ovk4stgjPOLwtudGmWn5k6b+qkPN5qQJomnKTYx9I5S6Y/70Ndln1eyYSYnTDPlEpJTgoev1Hxoh39fn2K/bgL+xH+gzi+UQJ9pQb7Bny9wFmGV441pXUSvAuqsZANud7TxJjVCL7sPSwrjsT9yrQAsDyZt27frf5Bcj5MEorrBE4c/a6zM2ETr0aUNUkL+gXfeJ6cCjRnyi346jHuKZsNE/UaP/0uo1ZhMtJlmwBwv8Q2JJnqA9JudqIMyyvSNJp4cWgHp8WEEQjWDTNq8SuaMFld5wgEdA4nhZnGHBLkm+pY6IXzqNlQnpWkULR0OL1wBiiySWvMbOmW6k/Ym85YluGoKGs0p8JJFNOhzatoZ9sCTUyjmphwBaqsDAoX+ggGtxZ5fNXNS4k7LWw7so6YN2AOQ7ADQJDBDWBN9gyth/0eOCv4O3GiW6NSAx3OIM1cSNWhGWyj9+hxH5MntRaJSS7vNcSzVrA4naJ9c3Ekj/4UYzt25CAgW/GE8akcjlNzyHd90rAzw8pnXxVlU6i0/reA+Q2sdp1O2tSDnKCvm7CP9pE2PYC/5NZwqKlGSBnAea7Jjw7v6aIH6CUmi4z1qDmRguUbLKrw5VIC9E3ofwNO31XpS7pCH+6ewIPxnSa+nj23/1Krl9nyUbgAnbLZfcyfyrGhJZIDGv9qx09gHgi9mAq5twE0msc5bAqap4sSSYcPcJJuSy7ASZUMUM00WsLtMYNJwm3oYb+oKlb0viBm0cQux14SJjY1/K9Nj1FOB66m8X5yUFhOAzFvWNe8lLXy1n2NWSKcQa3W4BWzbrDz++OEruhy0P7f9PFWvaYDt3oxI3cNW9yYG5PlLLNpUakHYJ7rL2wUeZXFEge2gNebIN/iwg03Ro0+6XAQly895ClpGdC+/DZ/R/hgTqvLq9+F2BaxVw8/6ZckKKkwLVEpOzcKlPwwqgVnBw0joXJkc2916xAf2WvzMGnwZnfFBM1gSmxWx/yrrzJgSSStTSq9dJC3Vw5+u7G0LDZtwHFnKbbRecOrzS51d2TQawmcIMpof7jh8PQgTdP4h6OvsXgv0KZu8tab3f8EDt+KRlp+SNRSPxixne7Ge3G0RUYRcdE4Y2jJa//Altx9xIJ2WVtL52gJAGjSjwSb6uvBsMzctenfwVNTdRSqpFwaU86jEyBrlvqzPGhss1DOvnV+tT2HJ5v6rWUjkGq9WxBWWa77C4EXSLs2+rgvf0tL+oYLtwagau7kbyXUQ0AUMeA+w/fXcKt6W6gbcFyYKTY2TKUf3lPTyzUt2X0erKFvOi/y+nMx+xv5GiXv+hHC2DW/UXFld2kUzTpG/RaynyU+RI2c91D3SLVRN38KLssH/SRIFt/fSHBsxJItgF1aLOiXNlw1SZ+n8PoPmcNmdLqeMcLotS9eepfWF+GV7ZmYub9ZrGl8pZ0zOepV1G5DNo2bi0VI0KiGjOtsDK6SMa7Van4ywsKIJK1xmEfXX/RpZuPXXtf6oe6SL1ABnhPHS9/YG8kjlU/a+8OTz3UknDjKqhRlo1Ny+clr7FODBRPgLUrP660mSnZV57zeMPQqZ1XoqMK6ei9IVKzl9OuptukUL99IavQeJCk2RbmUWNITRII+HholVrN+Ukd2UVvuw3P0Tw1a8IEayaaLILZbnYVXKbx+PX/IwZ6gBjMYO5kMia77K+3o4VS5M/nlVVXVgDNzawWuX7h5Y5pBtVajPo5CqCcz74SgEEjjH8A2Lg691ChOrQP70qH6J8BivxCtJtIeD2qQFFmS5Dx9iRJ4uF7NvsheF9UPCyAv3KijeKHMY2IHfXzzh4lLwCBdYlYZjUdu8KCoHyPOpZ3AVZ6OyIse1WkrbUien562GzL0KOWSImHwLZ4MfU5sKG/BCTuK5iWl5L2PDgdC+sTP7IIqvzyp0RI90Zw3WmJ70/T45O0O2APBcGtL/+aQO2G29JL7Vvw5aGYMM7djWQy4aCdMc+YB3ROb56QyG/wlHk6eLEYBiBUt67HCGO5t6TkpVDV/rU6ZG7zuYbWMByiSCAZekzKlbUQ3iRxuIMWyZ5ub3szInT4cVVjE6swMKBWLzzilG9acJCtS/TDDOAgAPSfMa79X6wI8qsl3AnDPgfjBJpb+AW+7OU05EYl3Ozclapm2HTyXH2ZhDmpDWQv5ihfgqW8NjnikAuB1Ji+aVX6h+Xx8vvuyuP21qIIUH1vU9XE5v7+k5EmsrTYtW1gHAnbPV/sL0UWUZo11b7Uqay2bt9b91UGQ96viRzhvcYKuv7t9hQayykGoxnl3cN4V1AqWB+bnf1pwK+FfkQke90EpnYrDjz/KJ/Imin80z014r3ht9Xk0UOpYH5Vj2dMJJYnXTnPEApy25drItm7Ws/iEHSHUf7IeCdB6mLoW3i4L9djgb45dCVvMrWSDOetz/WhB6w4NSZva3TmjdZesSCZo/GZ2YICA5ZvRCzo+J6KKmZBkvgtRVxtrDHa016nQWmZ5GFj1cAOrMmES92HEKYum/2aQhC/xYmDU7bV8xaDH+llApoZvaXG8SewJKDYubxRmKV6qDcVJePxLQ8hMcGCMTn2cpAYAct5ZfwGDx+Tw8uHkFesXDE7JxFejkXqviMMcizHvj+fxlKr51E3CeeUGDpGghMKzewqX3BZpA1sinGa+XT3ht88mLHZ092LsVArHEs3DR9vR2ta/J+TjfrSRVRj/i5caZ3Knf/Y707qKNDQoILkVz/W1Y52y4evTy3p+aQ1Q4vdoPoWOhLLPwPVecBs4PoQ2eJicJaVLY9WTR7v9BAkEQmGTViJItsu//+Q58c2om1/8JgDproU40lNn5lAfZjT3BfxlOkkc+dxJgCSOQkLNBr3xRd5TDIAT5Z93POAifK7LKIIJqKL/g0zimAi4Yg1lZAq9MY0/AHzMPZKugUSArWVt6GVR15rK/rPbN5fion1+DsAe3InSQvXQXKQ8IQILTePQKP5sMPVriLvWhG5PSUnsXX23LQxgQ+DaxpTNIjkWwsPGC7r7tue9UA1ugpUYPd5ySIiw1nC5O+i5uIRHNx9HuRUrMfpTOv1yBqKULs/zK1OKozUwVn+CroqpEPPMwFbqrdd+twfuMSpr6jq4iPYEqs/FyuficuSBhJrwR9ncqDNegPIqysp6JrNlEaHnfxbwAB9tzMzZtRba/89PT/iGnG1hhOP1JfseaJ6gNRP9TV1B80/GOyfnTeHy2e8m8e5A3NWaaC77ffO8oTCNF4pRvayT5m/NlP9aduEyjktVjbvtWHl7GzshJ3jttK6fLBaN8cZa9Es3ztqHUI2JZ7JoYpNpeY/4nx5I2Ca/mTaaIrljhWQOUcdL2QVVepnXMSVEgMP9bWQgY1wbj8eQ7xji/L81taBEJjKcMR2c6834GDNIywu4xeCjpZXs7VzBd7yNJt7gmnUc+kaV4U2fdycYkx8spATeYGmvTvqn4hrkP/v6m8mECfaR+AFHDGN3LGzWDMfAWfdTL5jXFyRqDLTkU2MTdAtiyGjURGG/wMt1limX8axo5aHNLu2mmQBfCLcmb2qdDKJlh5dwh5jmuWsP2HuzsMXbuTW5sXv3mFUxySF0g/7ScBxkalAugMlkJYeiII4DnXUxlSZ59vNux/+zfHMhVTZyvrDm5mziZQNqmQ0uBw0bFxpeu0LvBJjmrYEXQsDeGitjwoVFlt9o706zyOkKTpf9i9euPzVg3nChnjt3U2XN/XdA/bN4JvzgdSbhVrFvjMRXZ3qdovdAGewKmvE80C07yYkeksfzkomTgrzjMsopDYZXpWq0On8482m9yVap0D9E0o/Bjequx/M+uxfnyShsLXwcMs9mUoaIBgYocfCLJ/hR7+b5wjl6ejk40yE8uw9mUtV6tGmyoAx8D57QuIbM70K1kbxeoACU8OzkD9l7yPs1TkBZ9+mfLkyl91QFuZS4GayESFct0cJPiumppZZgvswfK/qyMMrmdzQ8UX6GjE30DgQ7OHNWCH7LmeC2OilUkIcM2qN2APj9yiUBuKpKn9ZHLTNvF81L/5KdPaWA7GO+xtQgxW/gquCRaodcLS3hVGXrAQLeKhrh4gHEAc0bb1vCdRNFQxQCdfbg7XIbkO0u3QOhcuN5/3eGgYHJZLBDasREhjV7tt6zlPrzFKVJB1IcRU15KSTjrCLKAH/GfXdomzE0xWSS3D9wNzejp2a0MhA+Mg6DYhmc0F4Lk/t3L/0pomG9uMXiISBERen3BfTijy8JaBqkHGynt4OXcEk7QsWUISSyPP34youfqC87dvInRkLwOx49bp8e0pLUVT7BQ6Ay6WxoYhj5vHWxUFBtAoiKb+EKt7DxOuVg37jR1T/DxFOLTAy97i9+zDZ6+CiBije5MmLczh+Jkhp9S24vv6DP4hcO92kgrPY/7cIEbM25UG5w0Dnua8WFEAPRGmg70vQHMwh1K/cMldPGlaGLT4driCrVF5dbaUV7J9oKeLUbX4mx9Gh1zZ/V925WmXHWbuNvnb6zy+8zvOu1VUZ4ijDmbZMh8xJqbGoorm0ZPvJpflTpscJvvOF0njdrvIVz1rP3cGE3V7l+thHswadVo78bpsuXMJcHX3crawElEOd7qN8Dr3R65L77neE5UiMzYqf5GJe4cJW2Aq2DAf3R3rDWMvum6ew6bZQUhQONqFaG3OSqQsPM6Mz4RuVlHG6Dsf/7LXsgXwR84/1U/SsO/ibNRiSLX3hkQG48C7a5p3/lmvmT32hKWjOHwkM+NBy9cpgAWyS/qn87N2eBxhmN1MQWbZA5gmgQRubes9TwsuzW/IkRij6TqF/qD0qMXHEloCdbEDyOu+W2sojzBA0ZUVB8cBmwdg6cNjbBHYEOinB2UtaDkA6yn/PSrELvofVKJZXjqDYxLjwdc4RUVfDz4R8NtWMDsMiLO31UENnz4lZsiSIBK+6a5O+k6s4jDo5tdA8D/wdpNSjwJjdKf/leYB/zDZmqkfDhvPpD75K8MQoUkL3wUzq9yB5hALMY8WAOo9Nqt9OmNtjX431TgJwF3ISFADN4JUtxz6Rv1YMDnySNB+zzMGcljclpWeOyK2OG97NnnoQa3mnXs6T89saCvxahaOhaEFwjtpGv1g9G/DS+9a8Fq0Lnqa2RddFvMk1aGWCUmyWyh2Uk09Iu4//pfqpSTI1Ii1YtAsjV1zLvPXAHxovK/IjnYsKhRni6WCX9fdujVPLwtV5ETCrkTxqUAJAWILtydY4GdMcSlT3Riagn0f9+dgaz1aN/c4UadEVSV6o+5dTYfGi+5y2QLlb4bgbaN7wTouuQpzvWRlHRHs8lyA5AaTeBTMWWspDgFLyGEWWRNS8ZXbVyi2bcsUJBKdF4vxpVfFTLv/QeKihARzASjWkhOpCrR8rSfvmTgRmAeharbh52y6xVxtsUKn/1leHGlPZtesH8IKUwlneTb3dnTQB20J1DZCQawuueM9Gv4IJgE6l1KEQkuI8lV/F+00n3LUqM8Rvu3Dlx1cTKclAOTgeP2eUa9o0wW32z3+qWz9Ys16mWejC/w6/gq1jwZTaeBuDQfb3RBQtSxP5xgTHSs8UZUwuh4KOdY97IbIJdfCHD2+Iw19VqIWLyucZFh61vky8t9BYGp4zHh7CmwVa2lvmNjw2wOfDGt5efPhdjMlA8Gt5zWoSgCRH2Zdv3YnO3dngfHxEMXQ+A7hXF7mmjWAQsc58l7kd3xtZhgsp8vmZtOC6ccmS8LYWaDB5NfpadDHKnS/CtF+F6u26hVfCDme4afKGwmT5uoeDegxOubTx5ShCGDeApKXnRK7XJ3LIW/t8cEroky8i6J/3Zefev/fzRCGbY0OLsv24euQNfmoYxarlSTA+d50rnqGC/c1u3IggGn+XPI7PSwSPei7fCPrtx0iMCuOsSWPSAZbDDdCZJz+R/r1TGvH1urDo5UBS9QWhsIziF+n98CzpAhkAPJM0Ho01aUpiOwyBgRbaFyvOLIfJ1ogQ2G4akq8ar1AjrjLb3bVMx/oGqXV9ot3DN1jNALf7XlD/bs2KNFW2pL7Mo2EcHXHfsniMSWfmpMPHQFQZTd2ENg0x4ovMaUiaI+p2DFdr5PLiMacbXjFUvHHL85GEdzhOQHGmqWK38n65WRAMwPp4lJ3qP5nkNpFrxEEVKmLoWK6hNWPigJmVbhrm4k9G8IUxzjEdlVC5QciLn9My2I9iNMLrQ7UVBI0aGeRFrFmEKsCshYGujF2xMUbUm+D5mHhc0NvIMs8bnlHGJQvdxDqsY2m1P4afzkuyAW+GDSsc/sjNNZqZBbRHtY/KgM4Tcfv22W+f4AB5LdRwgRPEqfjeweH0mn9171jP8lzSonPBWveqNfIDQPfgV0glJvz478OZvbEbBBGtDhHt9zwz8iFI9GmoALmkfH8FvAdIE4L4vl3mbTKOwQsHZ0zBgx1/PoEWqIBmcKY51SuHbYuIR2PvFlKk+VNPv8JEAqLYQr+y7qSYaukqEBeH1f4Cg/Tg4I4brCzq2+aJUz79hPj4cc0Vloynx4eChaSM9vrT8Uy+Z3yiQHfBVafogkw3kkvFBZ9qttNsXT0qyJZUHDeXmLbmmgBs93N2gVqZhw6Ebeo3Y208omK0PHKQPxXXBZI0wT+Q5NqN4v2ClqLE7rHnmovckjccVgQJ/mkX96uEIH3wcXmh4SF4pWouqKkA/VH2Bq3CYgyY0cOlf7QpjUwFb1j8YJOc9Bc9ecYsmP3iTy+axpfJRySLyGL9zrJ5yOw+PDdjx/YJ64Qf61qwKaAyYDFfsKh7gA1xtVNP6dSxWcgoKeE7S/RFXSlCjXh4Pq3wNiemO/MgN3zeM0898j5QhcWmcTr/ycWwqFC6G5lnloZONLbNwIPuE+VYTfT4nhlt4XxDi0HIsQRUyw0e0gVkUXA0BX7fgfKXqCyK72EhbDs4EFCPPcNw3Bl4AcWEpD04FCzxUvlUUQaK2PSO1/vn8CPB4hLrIHSFGsaPZx2NZuoSAutih1HDCU8QEqUXbXjHDyIhPic3iwfJMbB6opcYVSskaEogguGZzlI2kOmWwPnZEuHK3OYW6ih0rdxvcWWti29cPhTUjMIcVSwBwElgZ/151trvDg+YgUqo3BsMrAISAmmgf/ChMJ79ztLICJWG5aDf9OnJHMKJ/fS81IL1ZjHraqwbptbBc7u51OM2GR/Q2gmI+II9Cl3weRhM0pnA4oCBAspAhXgMvFkGclZqfmz0YjMoArmKR0SoTtnBCueCUXx+YT5hs7oViOyTzX99DruWVN5Iiu9BHCX0vSAPjVU8uwv/LbjHLFGXUV2EC+knUmP45bZUYZvbDcH5nmectMYhqkHAdCWw3yHQw318ZnjyS/Mork612KSk5zV8z1noMskZqUGsyIjFmVTslrgQK3SiDCcsqcZd013nrbQ1RyNbyd6na8j+eUBb/tKde+1JerKDvgrVlwptKImXER42sZG9qQG9AcJFX2Fv6u+L6GbZjQIJPezNlYAcR03+edPIWs3xIuABsZjamEF2kJab/6KKLXGGp4A2PrMXvKA51KkEwBsmrq655Sd240XdM56Ww47qubMbSgwSYmnN0Bq5srl0zQHrlPF2YjkxK76t4ISZ51fszWckUYwOXmPjzk5dzNODMtE45/swhXTT+tpXFGbr80KnOwWoD49ZuiSvO/MrvLvBNlKchHgWS9yez0XOzy21pLmY4Jo/6PNhVHSLRWc+wkoFavMQY6ryiotP+Gvj/9IO0rce9QdR4MSLGeO7qBJG6D/IDaiQ2vaOdAsy+QxxrDxoUgGxKIPYmLej2hJ0cNVV+9JxbI01+tycFW+XQtS+Slkj+n+dLScMkOEX61BOWwsjVJzkLnByOX7SAbXrn40MCeNJLzYlFK18BtnxGKxxvV2LWXtYw1DuMGFiBunbv/eU6Q8CDNSTVhAR7NpSjA04R24JiKYi27ssAyqJoDW/YlsICxs9CQ4vO9uea5BoXdScRPPjr0MxflQzML3JRaAK+uwuoTtQY2QlTXqB2XS3+HinMzDP68fsCOwI/xsflu6mfrEaGIqzUBp0ELnDkW+08HTLbQPDF3/6k92CR2EiY8BVtOAz/KLVN6LNpIHZEvz2oe0Cvpv4WHTkKnSZGsYiws7OIRo1pUQyT7Xqk5I7ixDoZcHh5WVtdqQCCu0RESMh1Ejv9nub8D0bopYCPhagxvcQYcPRAgksx/JM7lxvD2XvvAamAGOCqyyKhBoF4hHpNP/AlO4JQj7SFCzXx56A8F0jv2EQ+d1meyHeOqFjF9dIRoccNuD2zaHfdRSO9qkYCW3QA/TO8NNL0IQBw4pFR2biNtloLnS0JXSrlzA0JcM25GR1uGe2MHAzORQhEKjT5LlCdb44aghIr3EbKEydvqhTO1Z29wqUelGJfbR5MryDc5jGalVf1u8D/pWUODhZMCM6bGsticacq+G09gRdGHTHyrcvR4kY1y66fXy6WIpRAXRGKHSBINXrBhMIaSNESj2LIrMZd0yFmW8D2PymgFNkDRaJWYK/OJJLvCDlHKl99f4mO3CxP4QpLOXbZ+GTfFWJGrdwdlffmY64a/fEe3WXvoO/1NlLztXSxM+rnLqaiofbTmQ+B1Min+sULPCV7byXbE6c5JWpfgMkti3wmjSQyKxnD+sSNW00u5/T8c5WzhJkAKnESJussNiPNPSVehSTp+L7w0hHP4fE9JQ4SW9yrQ4qhXFtmzEuITi2S7ieksKnPma+YRB9q2BAbno3y23sifnEtakixmezQ1hA5Xv3ky07UEB8+EhPP+BrEUo6w7cIFl74RiF2L26+gYwKtqrsJ7ppPAXBp+b2mLUvcLMeSo5CedNjpdQj/RV5zEi1DsXJsTkfc2Pf0wGk/xEPGvr9JewnrFgI2KfSQSxEph/0HZKI0dNnvOpMSes97ZRj8osZHb9rwkO5zsgxwU7FXODg/iUufupbrInEqj/WRaT01fYjsQYyfaYk2ovQZSaKHFiqEr0Vi7ZvPfiKpB5z+ibmy/n8hvgB8p72HshV69x7VrV98YKFkzPFubi5Eynt4WT5QTrt+xhkffVOfDPuHf+DS2nt5+32BQUGi9k7DrR+haMGjHHx/aXwmNi36oLPNIfqlV5CBNuGxGkIuB2vpjoZG/tKc2mbKVOqzjV+n0hdzFLhhF2v/Ni2ShFCwg6Au6bVAJwiFg3V25dAKxH+ib5dxj7at2x+eKfaODbURl88UNnitykmztSai3f1sBDYwDzZo8om89CbrbuLb8fvGG82kme3etteOjtcWUX1yVWFKytGOTWGXDcNiea14nNHil5GKVWLFQaJbXJEZ1t49/J6/QXf7JTrpZ/usU6qTCioq8Cv0OrvE5u8mdrus0YP2EjlxnJAWLd5YzqrQb/zxfq3IGjgTA3kmiZKBWg5UpbBec8EcXvauBcUJuNQvF9JlYr7xA5YVa/4TIOSAxRQUtiW0gyf/XxXzqZaryBvDyA/HBvdCMq6SMCvwFtLt4BGWdx8TVA7KEb+SJ1MuZDDrU+ht/qLnt3TcQAe0xIQQVBeLJEv8gpVDj+V2SpHRKTx20hJPpnQ3slEnOgJEZ6cZsfAgjTl0MSdqbp6QDnY7QjKa3cxw2cLWrO7/pV9K41ryy643hk0aK3KVLvqTiPYyKb67sYV+wnU/5M3PwCeSxMAUpORW/NHnVCRNdrVhVov1EHZ7I/TxtUAAun/skPRgEbI3CTVmBkQO2tG6DZ2AzrZ/uL3DAW0O5n4EqHhNUdNhMq2Uv+7EKYSDYRVltg6BdbfF9bu6vyiYHHgwCX9uKRZNiPu7TxnW6UQHKFmhk5wCQ4mpNSw/z0v0X2xozT5sXyxYpwH/38aJ6whlqtp5iRd+OH4pVGwvosSqjxvJnfecU6tyewgLkKlnc8VLthTvxv6sY1+cDQn0G1F5w3tn2piDoQGG8BJU8YBq1vZkSHu0vMaZvjzdP5+p1gT4oob6wOONylV9RzgYiPvxyVp+Lmpioxp6ooGhDbeVRfZUiCMLg8BxIoGXGYB79C03J/3VO764B/UU7T+S1+zXc0+hwJ9e2YnxgXHRQhVSv6069nnFta6zQ00F3fUUnyhN2ZcSOKXM5Qo+SSeawPT2NT/rmLYtwRtDqG9OdXnyPmgKPvaKlLqqvHeiTduo1mXBleUfHQIuZLbFD1vylVxc9CGGM58e23oBE8H8nxVcSDzhkQuHauc3cFRN8183ppleNTVmJNoqdouhea8AmGwK9WreW/TnhE1PhgB7tzjCo/aXz5NQfZnQTzn0S1lqljKp0ZtOW/nJs5bro9kEmFd793CStVqXJYUBCWE6GaJ/Bs6t+yGMfIGkYiqlOQeM5qG28Ec2HYHbx0jV807r1t2uLNTePKGDj5KJeJLn5xcsijPseEIyd8embCriRe5Z/iQLSOI6LwZqLgD9QCTo3K5nF3SHBOtE8qXFIkPILucasEsLm7gYDXMTT1M1S8x9qYPwfkok5D6USLFIWOE4fXUob4M69R20jZ5mkmTZ8esyqZoDwWtiPMCxgVdRHwQIoIaBB5IV2AdD8GM5+S8o839eYoc7cM9RD6FUV2g6/RxEsXaj7r2euGloMZACVA0LkHdPa1TvfMAvbLQzt+Wnaf4rVksmBKElWzPAzzulgvTOTR2NrBOVCUFOsxh+nH/1CMCPiwk10/B0gtWZdqSw0kBn+AhkGTvajmd5KLnCYvKhFPKpt8ovvOePg8/F6xbtbWVlcnwC37Jcnq78hsWysP31oA8hVmuLVdSwS4HPOIhk4n7KY0Wm7jRawM14TMssGhWnJmRpEQE0wjA/Te7b62VgJ3fTSSsp7wdXiA02X+ZVozAch3jFh1broIl6TSBrP675OzhDHVssm37oi4Cc8/KEswjjZg0mK7k2Q7kBKQHateErq0ttXXAfqSZJzRC2afM9rIYoAyCLWvyMhA8H0//DyMV9H88eKSmyqXQgfpb0gEg2czYSOQXO9qHxjamJvUpgxaE3c5krIDg+zehRhOARomMa92wTfsz7YvBb1Hoav3A1dRQVkoXfmKCO2lzsySCy/98mZY+1ZIm+cMJEAcW9RalNbUucR8BS5EBQlldv7o6LJLFSef1wIDDYK+r1iRdTzS7wKpanirOD9tJDA9UiErN2+rAb0AFRC1ydbcMtHxG+69kuwVEymAHwZ+Dm47auM8dkpYi3XI45ooYjGijbBuYMzdkZUb8WE/1OKK2jQ/GdKALiONEU1d4iSW3WQx3Z/WUlm27EE6jFPdBrB7jBFaqinQOvuNVapCmGpEjFdxagpps2pCSwFhTligC9BSYHfz3orOdbsP1iyXgmlvhq+tewKQCUmbapoms+HDDzqgoenDdgckB3hvp0NguUd0U6WhFHplydZPKEVsVFsUJVaHMs6jh6+sYd7U3Ffm6aYTpkPBoI/JjSpYFAlJTTw2pmJw2sufG+ONoa8YHWjxYmAxN1Lt7A0jsmOc1vDAfVT7pPv70LvA9BCR61u03R/OEB0bgS8+kmIXvLFNQVvj5eop5jRiYy5RjPQsWzJkQm0LMpi2tRw0qduBELU4fEWhVshKWBvp3MgtDpL5wPUZ/EZCZyLNxo5la6Fi5IDNKyoYCAFOgokd/0ZRnUIaBPZg3YbHEhW64z30AMMl5Qs0KioXi3ZGf9lqKR4/6eRnRtcpLM4oEk2lO1H68TYD3zvU/4Cpb2fE40rAOT+gdvBZa9o5exXhO2SHM446C2jsvzPjnibvMnPJ6YkOGo7c5H9C7k/gESyZ8C6bLDb0uCXotIsDY26q5ioWdQZZuWKKJ+VPPsh6Yyh8YQj+xEnGCLukoC6wQ5zRryFhdSZDQqgCefVuLEYyzZXVvnTRvWymEzvgKMvPItiBTigfNS274AWML/VURFHkyBEscJPAYdI4libgJqdeN4ADjwFXGshfoOciviDc1kaYc6hVgH7QqYDw8EgKWfvg9VTd5ekez4haAD/CMy9OzBeJpJQB0geny7RlnM3AzeEk9UvlhFFK0wiF/ttpi2xRVrXoSB9xcvm1uRJVXnLwSONGiTVzPyxfT1R9jbLKDq8x8wI3U2qDHVmNEu4lB8uaD8IUoK5M2vErcTLjH874/LvSI0u9ujo6OXi+idKKU4DzOnUjWLD/rXZ1EpoiCMqLO7fHWY+Hsi6cvD0e8bnXBj96MaoWqldMCAvyJX4f7RVBaCkOIzxjKe+cqBQVtML7C1zmV3lJxEj0dG6QTBotuFLTFQP8v3X800yIQ/QHaW7L6JtSkMAj6OQFI6bZWY2+KUQPJY6rBncpS7tN430T6uUz+3qUIVYfOZ5Tc/uTF2vYCgz1AK2pGHm3LMj55Ijzlf1ckUve4c6iYKurDAPjO+dgMHd+6iroheCTUWoiv99QZpzVKJ0fPTmtbnfQY4G8yylDAy6YCOCtrCzZOsUnjBL8JQ4dOuxtKD/sUdl6/d3rJHd0yohD/9PKKrjBRGe8A1vDSCMDPEwIIoXvF8Go6HuM58vqica0TYf/gvyhPEzoNIWE5czHk1djTGsY6aTvLFpEfd1TT0omY3mD6pJZYHpN+mZowDnfTfdTLbMk5e0OcVc6m5dxFqA3k5VSY2i5Wo3z60jf2swoEg+HeG8UNVypVwexpp54c0ZaohW1lYxBNBo963zXd7nOAi049pUjUcXbcR0roVb8gMgpMNjejr39rkLsVmhI307lFlO475oDgqURe0C/C03ZM4A7QYwXAnvPVNHmdbygdyMXoxRE+GMiOKFs49j2RZ0LaEZwydmHonns1oGwVbAUXJIj0ydkT+8j8ohsdxUdwsYqXoKcnnah50d5Y2kAUgDPOo8zNvYdxcfi9MRZj+Rx1FOUkNhxAi/v80Bb1a+8nNgmyoDw8ClpUHZHHtir0eKkY+rmwMVfi18Y/TDB6hylInt5vyuXw2Yw0cqbpEoMzTFw3oYunxDpoa35ZkFpFHs3COQkA0zG8aAHe+1La2kYE818b7LLmwTBjMaIrxesFm4jbaSwfsxiUX6He6zC0FZVhUG9RRCKQVJMTtPWZ9fonUxHU5b3bEzibLkVP7xG0m5eJZbI0sarC5ytk5TcIWMGawXuXvM0S/wNtIeSAm1rfQWDHpaUlsFmxLJ15fGbdtn9YVVrKg+Hg8vXcLcCtqi076TiznHqG0aSfWDubEq97yPA8ZW64pp4xb7em+1HpKQTgI2oMoiD1X/0aexp0oGXxwXcZjNa1xl/CwtVq2COGwwGPpMab7xy0sh81d49DLQR42N2R/bn84iWReOa5CgzihKnjyDnSfzY7im7ehue7ATcZDM7tJ9evxqeyc2Jc4IKaoNzPBH4felbqF8AXQpbrTUuy2YJurtiWlupquahGb0A0Y26ZhfntCJ+vwpyz5G1MhFzTHRzRDfJpFUGChg/E86o5OyPC5wObLPgQYVymWxoS93cezI5BArXpVri0pSzQiNW3MZXOb8V+N/J/hrAMJI5ar8vNDnbcx81prUWKiwYp+U7fWbUlGuAMptnFBCs9A4k0LurS72hSQKFDkJY5JMMILisehUnX9HHMAArZt0QHGYYMSvIPWi3wiuD5+UjPrbVfBc5O6rOz+s1lQT73JOQQaKu5TyFxdH48Cz6IiMbdmP7VktW/ibf4Fahv77wtP9tAQd+s6YIOQ9OinWlcyDy/ynNsE8F2rRVCdFyNohHenaKmex5A+PCE+Oh/LT5oJCMzKsCZ1r/BZ0fcGONFWwFfa2g6701xCI3z+4kgIPTBvUdpNYa87LnpnxlmCtxhAzN4Fk7kvYa+kvc0nrT5k7VdGEzIjaK3s+lo9elGtefXOMSbNeS3deABHYXm+TEJ8G8OEgmOjkhITHTfO/4jie4JgNPFrVq45CdlHPnKvATGgKlpNULo2IQW9Yhp28Zz+bqCRXdvZTpOfYUcM1LGMHB0hK/uMXu13tU6PrNMI9grwo5ZNhy/scjHrjgZ/gcPn0cvqwq5UPeRTXFM1/X9ODdi+vIFoM9ow0ATaXotcXM5cEx47hnpsrJO1111SIeU8sBPPxsvWN+4/vacaazpnix4JBmmhg7zhWEvjMX1Os6PLBdKdZptFcGKePGOOnWTKYIBcql1ppHV5SKINoUo775BHS1MjtFjZZhTpQfPNxk/B2yWPe+E5oxioC+xL6F46LVav1JKqjD6rXaHWVf/06Ojo4a5pqyJGDsIBKJTUTI9N6ZOXOEj5JWqb3oepfE7UUX91jjAOAmwem4oprTuBQasbeMvMgJ/4XXLUyZI7Z81nv/5M6Z5bopaqW9Wi0ZhICU/kVE3EuTNVymrnnM0fsPl8ZneejXGdM2NorNuZ1v60iP/XPRd9QDAIlKHAo/UXBxEB8PdWbv55/5WF+o2z6vR5AFuRBr12Tw9tdfw/I+PRLgNjo6PwgQ4s9zlWKvYh7+jaDf8R3KYl7QQ6Lg1DwcCSll49BqQFiEO8ms4EItE/w5nDr0ZbDo7aAYZGZp/kKoKB35MrxwmMSRlBixikAgsf2XE8h5CdYUoD0YShGiMpjZJ7BtYS9M3sGEb9IhMyI7AqagQFXJq6vkbmjnlRYHwEOhZkUYeE9osP46kn0hBVpd3j3C+rSaV/cl2iD8CcLKOW9XcGkyVaKrcDP8pck+0Zi9DkKDsWhbSOnxwWQCtgQwiqb/93w4XJY/VMDqiAGimU/4cV/n1Vc2z54NvP59UEwL4NiE4HVbYas590dNeMUpQ4/NipO56udGjgpWD5FTRgJoSJ7Gq65058r/SGODIBUGBNNoCKVbgUpo4BzAUdD65sGE1T6ijCesovEKESbBCaNlZNC1Qb+TTh5yj2muKdSY+9WQ+3K2akQnl7+qba11hh9/9kkI+9MyxivBeX+F8jXp9lietLuTNGelzFJra51+ZRFXAIOnBSBl1TeGe+WVPS5uYW75YY/pTMvE+RXueMY1Eoipc6dZN47sciNDYbsUaxvdYqkhggZrr2xJXrEQpjrZwhVYqB8c19RtzW8/gJ61stOa0SekeM1P1TN0i/cGOakgXMf2p9yOCDIVFbze+3brjX+ZVMWsDgAs1v2W/GiXzuzA3HEf3ev2loPaeL3jeLhNCyHGYFYbRK55chi09GufY2YaL5NJ8qUdnrkZXTmjLzymuLeX6ueNiELSTecVN01rOIcgdp6HwvokbjJMfg338HKSLUm4PImW23WeUg2/Zrjx0eRMQbno/7GNqfVYko+EexIqSHw/zVBsc0WAS59FCukYyTPgHPfzGrWSwMWKbFDOq0EPGEfl4fWe1J8BcqNiVQ15aFM3DyZZ2bBBDDcScsRB/XUQp/AgdwUj7uLTJ7K4VwOcFmb259P2OA40FWNEyvlkwfObCjiCEbpbNKw0do3ufdLgoo1tmBh10uP5/0pnX8NZMviQ9QWEzQDVBMvmykQa+I5b5kepv4anK4HK6ATXnUEe/hpMRbtZAEZkL0iP60tFNhe8/X1Lt3wpxgO0xeNO+Lx/htDi0DznXELeihgUhX8AvjNpNTrqhBrAKgsCl7/WZzOlhzUhDx3QUEjiChMYxxGjJXmoK0SgmSkTnuhGSB2MSk0jDTAKfVrmZSmHz+ogYOhEEqQJ1AHOs3/IV/xaB2QFIi2OQeyU9uNz9pl3kX/W1WlQfDJ9JgkSEyLRt4gPvH35wPmv8n09iOWR2fc1p5hzlUN2GzRkzSBdGxUb7tPc/NQ0mpFlFTgBgjt2wgSu3o3BhDevjxcI7Qn7iayEGVJgWQbrYMMPRcJwQ/WZXAccLbnLYoa/PfNbffcVshi6TIwxZmZRhTWXVtTZZ4vqjPf7N75alLbmnjm+mL2zt/mPJiWKG4KdPW0xFu99XIXycS5Ni4DYLLS2rydcfuuE4DYXopZW4rcFfh8X0L80MG+Et1MkEmZJk1/2a83fIkz/uDw1NESUBGKc8dlYusNoc2GZjlU4V2o88gtf3usmpZ4LjTME3cgmclAUBXYxLNN9x9rqnbmQEfRcggehrIczxAbc3YnmNc03ILEqvOxBSe93NSUitiE2J78UG0A1iOmjbeSB8p/PEzr1CcEJu9zA3k8WryV5+lIZlCIywAe4LT1Afa4m5wFWC+AxIlF4IwwbwC4fGkjIaIAxRcWPK4tnqB0LSiOQOx4yWnFr+OIzqhh3GeDA3vK+0OPsGAm8cL2ZvhLgXSAB8bFsVA66ioSTId0JfKEw+iswvo9CFtvGCOC4pm7PDxUxXRaqUZdV/yD3jLrhWWBgc8JZrtkb+MgTjQeVuNrqnHByXZuCzfw4mLgBiYn2iYV+IAS9Bc02kSiNJ9+37ZBnDtMaqCZ+T/xnWM8IfCKK3vJC/JghupBZzz2QfciSznt+3/G4+k5tp9jMl4AHGRyobFEBtbr+tkUwMoR+qlipXxHxPxLX5iG/5ovtKOOt7txt97N9AH0MqtWsRCPTTx69KjVIhoVE5fd66nl5r2wIPj0ORKprvMRfmnDZgoQTqYLApWp7rNmY7y/uxqceeVJa60gKdKeTp08IcDscWMEdCA7Mr0kjV4wEl0qlThbomybkdgOknKkaMZCsj53MfAydQ9iBXvc7Fe5+zlPyWHHPpzIjLcShH51zACnKTKwmOEOS+FuKTL58QelQpAKRw02fe8cWT1mToubOWXdZnJfmIbQpNeGdAgx/8sHUIpv0zM1vgvapORItn+40LrMmpckHlSiWxMsqcsjiCicu78H1QUDOj0Tz6gKXJnc0NgzjGmg+UABtBCcwa0bafjvfRTPqa2hbC0vZIYwj0MjLai3jIKQ3TyUlHeO8CZM4FaY8If+TJtDSn2SQui+pk4IDOz/LWDXGqpG2flZjjUMSKr9hIQ++AZ/YH5YULwtHuATPxkCiBBSXV/y/Jh5W44ftfKX0nHFl0hYzKb27+lO9jd6lXz5A6Qy/ldOkncex6J8yj6AO7Y9V/aT4J17bNuaNWvQ7u+lmquFgvgN2ydXRs3S5gXh3DiRuoC2IDYJwDi6L8WtwaaCySYdAtoQQb9c+DcIgds30QLp/Ew2le6h+yYCvzaC1JHuE/xV2wOyYAEYJW6AVBfoMn/74zl8JQ9kpSo/n6WK/epvVhv02Y0+DrS4OHDPU2EcdbvzgTGmKbcyv3Q+m5aJ8rxPZeqqSHEneCo/eFLxrCIXNB5AxbvczhwhpU16ABCnLKNesIALvBAU7T37PCVUSu8lc/XfJvmMGL6066SucLR0PydcJdMzH7XjJMmzwyd0JYbKj6D62PJvkj2Knn1V7uVmNKifiY5/vexMpP0EicJua5y4GK/Fwf+VDmP5V0JOXT4vAeCAJa5YtZqj1mLGg5kYUCk9hnzaTLMcp5JhNDiRM1zlMCztuJi7uj44f5IPGAVdUJxgLMm51oAk9VPbX/EUOojVrKkIJigNl7HU+6DiqNtMg+B+ZuT7JnBoEazoNafB85W5rpIzSLvM2r4uHuDb2smhnKdbiN2RYsZfDc7MH2UzB9OTfaB6bfsvFyF6xjAQkKzHXDOsImwuQXNThMuizk7UYr2A/AYxLfgV9DVtuOGNe4qRnYA/e6NUdkQN2dPlaHfzS4xQW6z+jaPNb7e9k8TBKVQ74owi2FG+POP4eZv+YmV1gnqL1ivVAePzQqE7dcy85LS3q8U7Voh9Mva/H+oZpf+e/fjmubvPCJGW9cqrlpvy6cEEh/qh4ckAUpPoB/09ki57aU18ll3Wm7O7u83VWhdbmO1DnLbv4ZFpPyMx4FHzrxLI3TVjr3yMAXQnsgyaL5wj6R2QrxUVQfX2i4duiZf5bhozcalhymVOzBLdZ0SdoGDzodzOhA6J5CFSSctphvMztPv98m+ozLQKb+Plj1T8pmTA4Yp/RGFri6YSyB3MXfprc6jWCiTphO+dpRLpAJYwlHcpFMsqEv5abDnBWGMfOYMI2ciFl1bZE4yE75/Jo/sTxtnr3jQ0FbUGHUyTXL6E2wuKzJ6JKSZnUWNELgAViRivxep5veZPl/31v4ue0QsLvalPpRMUr2dXUpojP1XySgGbInZIGgJUsJvjbKYTi2FJZc4yzzQgN+tfLABxksaRp7DKgnZK8hGeCQ5qvfNWEDEBzzBUE1DTeV9tnHTxwWdw8TRUwLGCqk4/mWfau8Q1eo+ooUCsmoLj14GXs0RyzkFXUAjR8cgK6QPvvwxlvqDW/x4xAXpWyDsTQEIT5Rgi8svhfDciXuOca3tED7nn9SuvxWcVA3WIOy5fkr08qyQN3il6+CBkIoefz6BHuPQsLYvYePAxbfSw3cvaiCVSkVsChMKDYA+W78Oe5zGbiDhPV5O0747WpO0L3oXOK3Cara/cHQySGVQeC30KETJ/2Iz9p0w7MiBeOpzlGYBoemZJDDBsrzcsK9IGtVVLN5nt8yqFG0VXPRw91HkRisr4EX541e4Kr94fpsuriwFnNkx1veex8gXtemhliguVzY4Ar5aG/FoIzdGZiKEzhzbuR9DXqX25PkywakTGakOXZCv/pO0baV8JHmN4dM+eIzeixbUhjplSzMsAp1t0KS165RrjQz+udEGed8BDqledEKhPOHEh8NgPzYLiAG8vu0C/IsRo/YXo/apbiIKlk9a9px506d2sicBvqX48n6g5fjzKOmDvrL3znJ1Ee5W8ygtNs3GL+4hv7DHrvTVP2auDJL4/X1XJnAz8EGdWZLrKRyW8xaj3QNVrjz5AZHjFW1i0a9Pcs1LDMPk5rExrasz9u1TcJ/66P1EIIylXorLpNKMPY/k0GheqhhPCPj4H1WdQbxlfRyQ4hbttM2fvbLcmwKGYzE3I19S4PgHQOJxkMho+3ORsfXWjgg//xQ/LL8X+u+FYoiXTvLOfcINmMnzUzLedrYVW5t9So3WGiUdbIexghtCsH1nf3jUelKZbh390yns/4V2jDtJtbI9kVWUXMGWvDqiKskPeNUqIlylHfj32eSpayhyapjie8VTviQKAZkgt0UDUfeNrPA+4jZsBiY/eIKCTKt+zaXYaAanryP06XCIH3LRXHiM1rIzh34hMWWQmyTzJT3EgFskOjx5POhK/hNYn8DoWmwWP9VWe+V1IRrDE32a4AlBAtltXLU9BVZTFBPUPj9Iq7BV0j2aKTslKyaA+wWhSvm4pBlXkMo3kPtsbrtG3dqS1iFV4ykoq3fObcJQlnBZ7AmwP56/wDo3f8lGAe3KZOBAord0I9F+c0SYrKiwah7E/GWDasJEfkBc8c9qLBjVPGT9nwUkfvXE3QZ0Pp9KJCglW/X+1UK2SqCy2JvN24gEB/bwoxIshaBdMsqpZ24x2TtYnkfcqjv1NTzi4cj5Egx3N7BJB0kSIunnQnOIn9eXSqW7ajxp+2HVw1tMUAV7Y+fpZLa1hw19qPGPcDk8pHOte1bLuIHLc4MG3eBYga1qtlyMwEN22o76pdTN7p1eTV9N2g2wc+3kFd2YGljAGttjKP3kbN6aISf/e2xVdbw8VdoyOKXOpMhW/jqlZvyzjQ2MhtbJEvYQ8tpDTU9V3sLqRI7GO4duz9a2FswW5Lu5KmX+/w8vJ+nvd8jmgYLYFb39rxAFgdyXQ1npOHEnZ99oBFrHBKO2jJHoSW5dlAYJfr/yiAByBaSzevfjRDkLq8DIRhZJNy8QFpKNVy/vrZ+oLYjdB2h0VuQ+Mq1795j8YB1qP3FLHXpU42Vou4g9dvAY5Ikw6nSD+Rh6qM40mgNORAc5HuQIbqEDvjiLAJzqsNJ7G9z5kvxd6Ii2ZjC+Fn5zNAkbat4G5ZpSFMOPZGJK7BU4WA+0fuFRyR4mAy1gMxhLnI5H6K4axS4VX+nZD9rWhYCZlpMGsGk0MRhQ8xOSYTDnocNk05KOLvXTSCcJCe6koD6kDksTby5z5CjDaStcXlIijFcWxLnSqlGwWQfXnGJpiQcA0l29IUKbhwBFPc0n1mLlGg42nGMNkBzLlH5Y1rlW2v2US92ZlaCkQzlzy99xNKCLa/rLzWIQbmU7+4xbXxcR1RRMZ0g+fUdXxt5pSDSG45hj66I2bUlnqLheUhVi0mt3fFFPbz1FLBdOPguFuBzJsKEJ9XonG5XfHQwmSKkSzNw2rf178JoB1vK9+5rREPzmckrtzF3qtocvqXjgVD7rCqEdNZxyKcWUHUqiroyxLkEUFPvGo0VcFb18L30jLEOZCyHtuzJW5lAEepGuLWg5u4A3BVqaIElbiDc2pZbdXrcP0JYuJbBvGBvcGMCsV2ncvLvwGPpKnRWZ77SNQ4Lso4lTCMjQlR0ttLvzt5xH7wEzJwhuvWIrAL6XCCm4LW0wDyIgSfLBcrxCIxALn/YpRwOr0WFpwgWyZ4KUL1Qw2/eFqigQF8HOrKTQ8NIQS++tdSi2E58CW4JwCShMaUxLTLsywrU4WM7/esoS5TUfqpDrpNw0eAcLx5ITFAiYzywk3r9uFj2EU2It9Edvh/1LtD5H+Rl1TCFSdj825hh3vgJMx5roE99JyDZSKmqnanYHm3xcihun7xTd3GC+aC8qHJLsqZ7s2vSelutawzxUNeEoXEMHAS06UwmCCorVGlLnRfHGPzvOYUfRBbzFji7xZaBdVhhq3kCT6xWkzjyNOE7N32RAMsroSXq3UmcIqsa99s8zkMxatpAaTHkrurCY7iOgqeioUsbZMSNd0mj/yeY6UdXm//AvgtRruwHQATbA3ZlBG0FEsdpfIOiDY1sqgVPfnW4uaBSJSgrmEKfI3O7p3aRO24UA8BjPkjgm1etnpm4hduwShChMFnwbPAi481P+J70t7pkJQpXldi94kSQr0Apx66QpE9x9zw8faUOo3/p8eW8E09WZSnBBgNu+xVg7pNIO8UuZ93WwaQGQ1U9Byqhp9hpU14gCvwKOcoCEzFsv8FBCBZ9sgIYoT9yjPcEWew9JXkp7JZu1ibHcPbo0TvHuA4pu1anh9mp65FYpoD7TMGMFVuTfVUeF8gxHwPZ+0UGuoLd1sgZOC6vaEm4iDk5SzHcrrK9z/2FrabTr8//pYsRTketTo+G//ACRRomIOdhk2bWxebwl1DqiYVv0IgOrIS9eMX8Om4IEhkUy4c7b8j4qVRrhdDfI7NZo7iMsYhQSBGZor+I8ShiVM6yOZmKitk2/EG1560lqYUietQ57uH35wms7zoz00UmKDkNZJdxZYZbZVZVJP3YaB5P1J9Yg+Xgh++98p8Vro9GIVVm7BWjZM/BHBa+7iRTgVC3T+UzsQKxZXjzMpBp361cO3DMuvq729I9HjTmMDRxrpv16R0ogksmGACVbapxC3BFFjmMNHq3av6/o6NFoKjCupdTLJP+9M3BBEBhHtEa0rt5Em377GFg65p9ePsT5eKPmiAe2a1V5E+/RlKHl8Sv/38ebyy7UEU+iMlZZ9ms1LSs6ounl2RN7NcBA7XWX5ETyBQnKr/hN8ZRr//SmzmUzWayTLbh5O0j2QGIMcGdRUerMJilrWB08WfnyvhkynNCegokqbpuyaM4CnucpnmJcDd0KFVv8mQsVPTvOZ7iJQPmumI7n+AkL8+Z9pB5PUK8UIJdmNyEdzncUwwSI2KPHfLGXFKchzfiA1mnY5nAgNatIqOQLdo1uY3xU2uBYip+dKajg7ej+wNUAWCuCHUcpbLrGcP2NTfneH1nXroF3BEt38vlnckxqEn3MoTkfSg57sMD8+gb9FxACBsbgN8hSbcQEmIwHneENe3kPwwLtQTT8k9+el68HtcswycB5/ugE2IKFU3LAXPq/y6ojL3MNDDdFdlp8pv0/bApYrU3Ih/xe+CIJ4tXV/rb/K+363ZmI8PwuagI+RDkPdp/uRMv+gj79qP3NLkVc5Actvym1mPJdH7IgKYJjVkkGDa2aBE7PbxqPw7i69p3VD4fLZWIPD41HpMur3u4pJVKlit918a1rLO7kVmhwHtgeEuX9qPJqdvZZFEWCPVzt4h4wBlLmKD8l2t86Ds6HWqwyaaxkY7rwzFb2Y1wj+1zQ/X7ugHa5LfIwJTwQkXVgGpmO7jvnXpxYAT0oHAep8AdakjdySXnQHiZQrUqeN2qtv8WqthMPbcuyzKY73zGAYCpOszQ/e/BK8spYLtQGgzS3S33jgqBWPLqoefWdNUdrBNv3BZrpbZxXzhMxPGEWUYi7+aNmChXmCwc2AN9Xwni9zqS1im1UxiKhuybSPtzKPfr6XpJ8W1uxiV7LoCVDP/4tk/YpWjRqczp+Ep251M8jrBDh/34fAuj7Y6gL/zofbmjVAkf3Kpdxqpp4h4sSB+hHG3R1On9B1Mu3JTEAuz4zKps0ZadhWemv+JmIatFBYJklUfIycX2ZpqrpqB7B536mucHJC8jlOHejveKoEy6riEt/FLbACWIuh4FtFyeuChxSfP28poVmVK7okSeth/HDOT/sXLF57fINVofXOoyEITwgKx6dcBue617PkNdL/BuijkSOB3rt5Uw3dRLoi9MVijcB2vf0HqZkvAxZ6zo8WsO4Ar7mI3dAmIbrYSTbuBkG6qN3+oYuTVBV0Qkra4A1SXwqdkBZV98scIdP+PsMp8AuwGyElmM9f3Glkj6Z1G/Ij/eYn/dwXi1f+Pav/jSN3uUio6Z55X+oFXecTY+mFF7ifHvOFH8VwiM5+WyqPVgXAcoDqdlOrSto1ed3TXiW8JEenba7yWQVf8YD+4N2pvaPUcAqzOq3fx2Uy3UnEKdY6c1ZWaxMc6K5zThN86JYFlD+JeTztu3PN7XYCavEJszJ9k9YTfrOguJbZIao51RzjoCG+VMMDKO+JIRwu/vwyIzIwC3Ae05bTkd3EXh2M+QCfxMPgEe9E9JfEEoo1WoXtKCN6qTuAId5wgSopomapWuA8bOSzki6YPbTEEuHOdJra4xzN1r/o58XSmExYano75AZFZMrQgSE51zXujF1fMD2AQnLFrmT+MZFA6gxSZM2BxUEa4VUNvBAdocPuyOoXSRVhwTkLrkGkAPRKK5rjMNDhkiupsHmoG0tbAxorflAtLxEqOn5KtHBTlc6ewuGyksfLqYxE9iODIfElLz8iYFGU6yDAshJ0+CHEpsvBbGuQfe8jW2yGvJIlAaSkqbyFCxnUqDlsMyFbV3TE/QyxsN8Xf+/Q6qKbu2gq8+BIaQJbW8Lt4O4kkXXwil81IRcNDxiAByz44aX7HYp7h39a4hlhtq6Ygk1YmSOZH3Nx0yzA/EceqKPQz/uXd33r76LEYcfiUD7PIwUDJibqaZmyv9xDXu0jkfpEzqMX0podEDWtrceY1jiFvP71/rtCp483++tUUJhLrZTpdGbj6cCdItgH3FaLy5rLd+AY4ZKq2ptBcufwiMGvYjhzzoFgt+NpUmed76r37QrJGc+3lX8K876stVDfg1EIByotThfGbNO1PBqknPPxaLbJbTCpuvgDNlsPShCFAhI/R7QuPtPFL1hUWfk1rew+wIXUECoy+LyS9N8BmGpBfgoKr+LeCx+9r9JIq2ZKplbsIPKjaWEtvMeCLNstjDuIm30HSco9KjpwuoU1C2DIrcG6cBc82r6M8OwqA/JGnX5U/VphdtVLWhw41OqK5I8WWnkOIs+S49A1JxB2Dc0avdI9Yx8PGzMcLx9TfHg0yfGOjMkZkJv2r+7vEa1/6Z996uRDdat20QPJOBxVdaU1uf/H69ufsQ8tHtveHfU7zeClNRz9kpKpjKw7xm5YSn4jETGONyMMmn2obNKzsTqvNuEwBxmNMRa18CbOrdUylstIw1WVjXS7AizNBni5kvhx0iS6uEWEQbhKAE27k6jA30iVul3H7/tIz/FzHUZwELwkDgtqgk9rDUtX6NwkbyIqbfXsBviM0J+kXhEndH8a2B+Y8482XQKw50VQFml9vQJEq5DjLFjrtMygoFL5mMoaSGpZ590gO2TPWOVhaP1pFcA6wQsgJUbBWy2cAHqguXPZ+9QTyeOaWBu7DVmRfaNLrlaRap4KLPFNR3K0CKBDMVX8kyVE+SZbKZSxUCZaZCnw1XSYGIgeZcnuzgWdyvNfIp+/1C/yuYci9TsNO6vIM4waML4tyjFk61CAQoGUiKzSkqnM635ZWNTs6dx3wwTXm7rRy0kwAtObOTPlaRp/LZqubWZ9ICwYfXUA+UQ532cUo8ssVzmJlsmhhlbvqkN3MP8Id4D+pjNtoGcJBgBnanI6lgz1qELpehuNrO3Sxiy9SS1qMeuqRRsUujUQl3vBlg8+sWXMIirS67YHC92EmLFOhuSZ+V/ADVJZMy5qH4hpHV42nxhZiPo2VqihehL1CQBISEvznpBAQCvFXqcmpxT/FbyOj2Fnxrdvmce6tOPLPCme5PqBadpdZJvbpwHZttiSeoEtbb8yjdps/xzMpm2Bx8OoNVZ/BwNnw5wOP3d71tdpqJj9Oj3GHtlz1JDPvzL0p/qFmve+vAN6P9/HFjPPg6N0ZDYFowp/8SjrreYLtGjIdq9lwf6fzLjlk9RVjH4JnNZ7UigvtzAkFtkuu89NRPS/NHoRT9pRJfH8eeL0WPrb2ClBZf7k8kOw8he9Pxe6d44l7EHW4UjExyiYZ5kwBgcXMM1PEd7SEG084hviu4xcBOntqGER+rZUv6HF0SN1Oqkts3vb+Q5rISGfiRKz04A7D7oHkDfUDfO9TTfjtTM4Ay3yqCKG3nJE1yv70RbB26vrE4waTzVqVY2kugw4VIUWEKrQXA5L29a6uc3mO3IJx1TT/yXGltPN1kGnqgWrV7ZjYjQY+J8OgS8qmJiHdV4no1lJshbYiyg9717WSs0H1VmLsCGnaKy5AlNsk1ISEt4OriJSNqNV0cYmMO2QrniZG3uyujYdTyC9IjTDmcYgPZFR2LUitGjgUFNgjiwToqVaru64RsblTZX0RqYpxov4tTcJHc+7Jj2D1MpNVxS4H54Tyz2DoiSy1QicDHGR32297djYWOidfkJUHwCzU0xGDSksKrFGD3DHCofw0Va9rL6b4XMQHL5yomObToqSPh2SEvVLpmZaW0DsGzaQGWtbjI5y7vYfb7FecR9LHIf6gk9PCQqk7vsRrKtGPCZIXdWErd43NfYS4reNwkOPu9hL1PNyZsZYValKuAEAf56kWJpXj1npm+7iL/PKCYup6gZOkTj5I6r3dLrabkBpJmn8Xlig6H8iag1ygYBoVJiTXlUEW3eHLEwkyPjaLK3turC/nsVT/ys+6yQIvkjvNdqBcAUv2p88OVrOOHY0gBBpaYZFl7ML5rZsPBPcJmjYZXMkiagBCh1RyA1+/CsHS6Eddkew39AezZ6U3tAdFhFB+VQR93P1fQtMEqnFOjg0Mhae5lR8rhTQK4Rt5AdwaTcyOi1ESYX0nl2PBskZqM8VikLRjOjm3//yv2HZVve89lUiH3Sa4Sd4lukdzxn9qcHQLQrX8aGmXEhMdN08OX6TAPPyg9Gt+47joxhJl0l7rpGZcemiiJ27c6rHXeeeKDEUK0/sKC2HOVtKc/sslxVP8Ds/hXYc24L2wswCqarBFjY8dPC8ePN/0XfYIT8DCwhuWocEb7lKQ3qXw21MlnfRnNi2TclXVnTgc8Xl/KjtghrF0nUDOEcciG2a8qmHURoAJGOC3WYcauhXnHupP5H9TOKc8M/Se91o3fU5l04pD515aMqzUlmKUFzaOevpj6cWCdS53UUOUv49tY1AZlBBCvJ4XVV94SSDel0Nbvl48sJYafI7ebvqj2oAWtrJMw0kTOwpYNO57hjFv+Ie3qOAhOIOvptB4RThzbGx+sK/Xk2IWNUX+U/VrqKpLdv3wEQy62dR9P6AxdTzoKJQpzs9s5RdZiCbMJRKNGqPTr63b19/geQhJQMnpTlozwcShT4ldFreIKzxS2gYXbvyNGrHVQtRs50qmze7mX4CKb8zuKhlinvSAfadMmBGudpctJUP8rtIoL1rTPuzPSndKaU/YGhZkjRl9GLGUUhQPug/TX35ZUr011Cb016c36GEQyDfOFCU8nZWY7pJEe7wIMsM5EKfggaUxbR6iWs2r3EUv6GBJOLjnY0vW5+RJxtMiryG/9NIIHlnOxyvZlG0orm1RTQAsPYIM/HVVAO26PJWcviEKUdrXkD4ZGHFbddXizXE4AZ2TrPJ9mYsm7mSi/6zjmIa/T8SIyGKMU1i34YJWFICYC0CFp8o1nDPXZcriDfy5ju4q4AFyqXvS+P/9jDhlaswFRwu+mZZtngJqu2Z/c0z/MW2QALjMVDamPW1blynNwvjDQE0YNIQCMz8D4i7r+Jg6+Uzjnu8ZKHdMW6gGKTnZjQoSInDiY8gZuRDrnFRSjIgupR7Nkc2n1AXPUV8T7ti+SvpcSL2tWDZc6nFKQgcNNShuCYVKJaI5+9fbcrtmri2YM40NyabeL/k5YFWrBp7J+R2QKTbM5spA5RN5rR1e8hz80G4Wc5MIyGh5zTLNyVWg7taSfs2tlbphNAbChV2KrK2qnF6q/rYkS1yyBcQaT0GXg6ttwBe3RD1QZqSHwVXsm4MuKZ7qmKBg8gjCfTrQIizBlzajQ4SncE1gyBWIkjOPnAaGgwQ1Mw3jMd6V6ygiGEAB1yi3rQpgeKlZaMFbXIyTu00PuUN/nZr/DzoIVbuiqZnOT2BOFVWTYYc2gLq7f9B5cnpBryuUleQ2c+Bv7LYZqGAWei2TCFHX3VWj0pONw4d6hKNVtTH4t6u8AwHa+WnmdKjmRWPW03+s8EVwY4HFdxfd+86QjiPXoC0tV7XOJLBzpMqzaPqkk6V6mf0UK/jEOb1FSAZaRxnEzm3PRI9lylFWXYZdOILRtSTSu8NMcc6u+IsHetLvrT5sgFTgZsArDF1ZonrtwYi9A75W+qdXBOib0TZa5ShfjD2+orRJlWoHlXjbxuIgqcCkgOqBO1egS1sNcXvkxMB9zrUxbiWbhoYiVzbvyCWRXnhi20jG62YN5YqEJs5Ohs+w9jvhiCcWMpgBhmHqa3N2sqd1BoFHWf2F3bhCXxxveAU1TL4W7pKYYpp/8+H1Ay2+0eqCynjsgM6SORlIpl01b4IcDz3viGFY1B6aY73wg1Ia5pXwMBOLyTLramXGcM55u3Vp5j+nf5TMa5Nea1b2McvPis6H2YJS3z0+xbgM0/5EbY2e1TQKIKrygdxsP7THDAnO8WprNZ48Or0r0mDeVBOjA6L01EfQ003zNmwjbKHIQS4HqdSaCvRDs2feNowZ6ynnq1Yv7vBTwrPD7t9ZDMrMT5US2GrcIEsMHv2ujQslmwvEgiz0s2TotCtDqX+c6hspe69bWPg0waV3WsvL2i5RtQgEp7idxlNTzseBaEsRUJwnDCvyTJJJjPNGQmcUxio33bs4VjrY7esDjuIUvxdAt//Y+bs5wO1g+NJxX84RYf4Hp0GIxX+Oyvuhs3v7CR8YVGE4XehlZyBs2Y32UyUbujIqYmScCZtkHqqcx9ycApJgYfEoT7KouH6hly1d2yp/euFdQ1/yIQJ/WugTb2htwyNCs0Elkif98H7gSOxWxSjFf5yUwSe00Aaox1JW+/pxelVOVmQwsoQFpvjuyGWbMrI4EJI/rpEiIXtlCngnUfGJoG0wFytRwYckppq4H6gl7h9fPiHIGO/UN0kODyPpyA8vX5JrqcIx+Ch5EEinbZyyEE3Yvc50GuVXVkNHS2tPj5bZvMzQlJd8cikAskMMLBTAqJIQc0zaE6wGmHDH2Se/x4KnnST8xZWoQKw6vgedG9E3U6k2zAbEsRViNFFefgMPxX/3dwfM0HlPHIpJcD/nzFCiGvGHM+jrMMoxtu3e2y5UNwnTh/EP0LZ9zDyMoPiiIwnahzp08XgIhvcP7KycxmYWE6wwRiql8PQvCkO0gygZJ8MxOr600MidEfpU4hqGqceTf7EFAigkZUAZ5tYCjpvo4rKVjvkfbo32QATTSXqlex8ugZBfHpIg/0va3txi5BWh9SFM5sMdpggyVHeHMCsKTLVIFhptQWSp2v4WEoM/jmDbhnULslWq6BJmsZRnwXmseT3Aw+FQEeFPIX+LKsY2mXhYeYL/8v3//UgllzNpfl+zHlEq759qcw/xDnRu26iDtZys7/tsYn/trdtj+3wJTSAFPo3XtlHdfKodmBt+LRsZsc/UDJ0CDIjVgWn8XI8F8433XJq0kq756LG1EtjvVrYnr/wcbXVdrjLS5So3/OnW7v/bTyjOGNYrxcKd7bz6TVb3mD4RZRVX06xYKxcoh1xSJX/Uf+XGywZIgWlb677wzHQOwqgxNviaYyvjKC3m/rhCzqSQk8LbF0HmZz4jsWasMrYeoak1EnDz0n/Kv6Dc1d0iPi590O8+C2KJSB9QhLFcJSO7ITlSQ+GoPp4aGLomZQ8fUl50sOCa1n+LDNq8u6zMLUZS9SQ17Y2hbb2Zg9waRUK2c5sYGwJQWvKdnrr4H45SXM0cPXan/AhVRxwHkkeAn1tuPA2mNleDPI2Q31HcmOXc+X3NMbaZhkHSf7nuOXkhsL4Xskq3TvVxItFBezNxDujnMBL6MSzU0dm+E/SOkefvN9yIVZPIir8Eccpdd2KNIjRluVfadp/LUpp3wzLnKjuImLPWJgjIOC88UqPp7mzrfo6Il62S2fc2LCY9Z6GLLxMtT9tEAvIODT0kzPU1GTsnG8ZhpDEXAChppzDUoaN5eiiw/ECNxLIaKe/BZIDxRnFBtXJItXogELc8klLJfmEn003zouB38obc5qIBfX4y2jBgjufGmVxflkJXrjTjfdLi1imJYFF5Zu3hwez5cx071RJ85Hch41tFQ53x58zUHfD1RcyeLJyTieEBqPEGvLFIYmQFLRbNLDiIG14Owby1kn9YvpJT8IjLA0AfT42QKeoWM6jJdmRQXgFzhHCU2PfV7GCpwmO6VKhi37gHcBRJuUCt25TreLXucf+/jECS1iYIMLkFmG88hizTE2Cj2G1+G1cuBrtmaW9m0jgF5M5goU10KicOUl+XWqZuXUYD2dscUXnBBcYavyiGJ1M3ny67KvIUyrEnX2zldgpRIO/WQDfJZxlLs5z3LNcXkHA3R3gkO/pSuUX/P+dPKwKjYzfuBqeJG7qRInzQPWz/SEEaQ1POSD+RE22oboTt2348YYswLrw2ZkjHjEOSRyDCDvdGEHf3KJNdSV8jY522t1OgITCxRlHyeBwZjrj9m67ZDQy7IlydydgrJa4NUUynbfMq1AlYGKCkdWQ7D70ofCXsWkz/3mTIa8plJBFE2iPBuSEbCPUMM1tghcCNCmHoIP+ktu508IJOX8gISfKJS9XMD9LHeJ0C9N9bn7ltGEePGygaR9cfLUv9W0FuufqNyacAaUohI9VWQicnaNnfOlKR9JWWEm9oLyuwzK9bVBWdarxdHPTYTWJ8S/Navw8GiNsdpkQbtPLrmqiabdqhTBEP5ZUFEwDKQ9RzVADZgB5vl/iAXq2T6KcIvvxpH/AJL31tdo8Q+XleD5HKXkxq1AUNq7wgHE+UbL2ubUJ2E7vQ2hZ3GH9j77wnU9yrNvun1U6lABSbWvEMVBX4hNVKxs7Aom/R8sAICi1o62fwO9Vp6KgjOzAIt8jRIKYyjpJ7bkA0kR/D6VgQrbDjWZbzQ/aQvk7+hMgENSMuUbsl9yMpOXPaKFbzGmTNgJvP7LeFKF5vAEXZCV4vkMYYiDYiuCqCoRSx1pjBdPJUIJQ5MQ/M0iE3gZTwJPYYWOjBQyKY63w57foFbVZ2d6aMAlNI+a53kzen/3K1dtqoPydbTZ/pWjxVvRwfXdtoT8ympUnBA/03WoaUGHG5Y5CFZQ/HTHRuYC1myCj2yUNtqIXEdRoDEpjFW/KkHAk9bAtyxUOsTgCFvghLq/SUn0g0fRXAjqjppwXdN2k2A9j9LbfeZG7Kvi1G4FdMS6RXcTxfCkBc6QAewhiGJtGxcFsR5rpT0Xul80HUqT6ndgtC77rmdAMP5P/unC2UDHvdkuuVAMzfGntIzrmnmxYbBxWLoqLnI+qp/XdTjbyNsKHOTrm5JQpIeQQIzed6mpmaeuFCxqQHxtf+XF5xtNmxsd5lCRwUannMZcBf4e1WMZQI1kdp2bZ9kCruUJ35bqbPSlmvG7LHlMUHu8w7NNsCCwNW3ymdxdMMQ6R4xuvzyjkIBYeuEwmxjtcHMbupIU+uneiNf3A2h241JObrpAoc0JxeHL4KNo8zAE8jMk7F0k1HJwrqU0GSOJjZ7qMwAkEeFwuLxEBmJnpI1ahlDmmcrMCr8Fg6PooTNGdH6lRCKiFqRNETY6PGtugBclplCD/pAz7CWPpFp3yHOJgdWI3qgZlXMO8qkBJ2Hp48AuidrA4AQQz1HcxkqwBE8lJKqkpI0M4WVqNx9Z6g7ZgrFTOxj72ES2fLpqywX+7FrwBo3fkyzh1vq6YYv6gsZlGV/Sbn/nS9xhbD/3w/7o+lmI2lJ64PjVgIdwDeOAvRc0ai5/Or0b0bmLkLCLvNh2eIciw3bBcIPG882TMS60w1fpN4ItTdaVhU/kt8KWdoNC4iSqinij5Ndo9OR1v/DqdlBYVGQrwJSs1UIEzs634A2xqv8j2ASW/D7HNqXT6KjhNV+8uZ3jnHKfZ+u206kG6DnYyCCbHRFGBn81vcBmb+geGHYCpnzoLz+egmQ/bmzbu1MZauYvoEfU8JwVPGubj2u50uGwPSndD2X0QNAVoSLMpaNSilZAHH4eFSVqT+nFytbcv9bfFHLnkbGmMr4tggkU5UDdxO3rCW40XWqdN0B9jnKP5R+xlu6WTMWlD4DDYOR06+LtHRHbBkIwbOJizm7XbD9Zjt7idDj7RUE7M55CERvhd07/6UMz8Q6xoe6FWGu65ITT+DcrQmn9zuvfDUsNtKJA00jpRkNCW7EnHPhEHXHIjUOR0BKlX6hYpmnGNDzA9qT8HaI9d4tBj3yp45xBf5yCFAHA4g/fw70nDU/EGWIO/+zEWIsj6ZR9M0yixGYq07WCcE/vbHEjB4sEolQhYyOFm6e8KDP2IVIF4RbeAbbgJyLKrN8DEiZZKd4a2ZwM/ZfW/XBUlwiqbZf8BR3FzvIp739NRIGc1U4D+R8gJ6FYpH9FCBaAsyKb75GNGKfaNkw3LplLtApH/lJW8yfCNYRJjHb0aO1fk795lpOGDClE1YIF3307rxY6QqdtHXuX6/p0kdIb4MV5NqtAM/PwMPOyKZ7dukWTI7AljxCyhyyVXkTfAGxHh7cXJzAw9k6TsIRDgpLyONeebuiQg+k0jqSvZreJ+QQ4U/xdRD3S7snj/tCSRxL8VGmogRl8M6kdurU4kHSBhbtt/u+skj0rUdZd9rEoAdpqQT04nUnDDknUCyciAvp3FlPE98sc7Q6xzwG4Kn5WNohGcvWsCKj7D6YNC+/20+KjSzk0DwttIhyqNtSgmObHB9ISQcvt/bufv2ICpZXnLYR4OX/kqwGIqvLBu/+lVi3yYiQBz2+rlKTocygPq2W6xkS4GsWhGdoGyGfKYUJl4MPfBddmfp5tAUkjeUDmg5D/qrCGkyJG5HBB/1yFF448Pe2niD+rRzWbtjIVQTPw2yNGF8+JAJ7iB1I5r7saVvLLTUaYHO8ksfrb/lUhYXTYLKgKiBJ0n/5nDEXh3CqIluz/LVcobNP6Y1wG1Xs9TuO3CaLnmcuJ+BQbZ7uY7Fxc+TQn1hw8jWJrhMtp17oPJHE1erY9ltbe4488VlVIJ/Q2x8uSW2y2TgEL+09OtIVTfR9SDK3E0IEHNW3enN6I9dWu56XbqxAvbP59I+wiw7GkJEXvkNPEY1RY4BvEAX6fdjgXBwdNjhWeFPTgTAc+AzBSBhWLfNTCQ2mEI8eBTbb0vPLRsMK+W3O/r0vN1LrWYw0XNrgaRJ4k39mrkhjtPmTCPjB83zS47JsO8AO578/vT/siLgqv1911cmPFRAHPpmKqLhCIOmWdlIA3vgAdXs/x+5avGRJIfTxoTfwXGLvHwGTPKt7pvZBCfCQyK4vlebSp0sVPKaKy4ALpF6PL03AW1mg1L+ybxvBSrOc+wTUyOkdisRVKE75CzG4GCKPAf1/kERMecJ52j0qC0u4KqCdkPQBwQPRpAZHwxEdBAoB6HgUncluppffCQhHH/nftSxXhFP6EemhBFZ+gPCHHXeeFuilAE9HFZiLGd134QYfHfXD2712osMUqjvneQ351Ku62+VCmRuv5GyBZKAneKKeMI7e7MHakYnH7dGY9VYIAAuluagugy2gfi5y1C+dXvQx6lEXZ2b0be7lVeCE+PYzEVKvB80UiElvB29h6LYlEv0uieDd/0IMwaobknLJdYwE1J8Mm1pGfTPl/pA4+Fg+WeQ49m1Z6wgSkSr6JBIJgnOoerKDEx2y3UGjn/NbVOubriuL6QncM3x7TaaGdaU5akGiJb6204M2p177dzbR6OAw7AGxpyxtdkL2Xmi+o2GH+XC8b3vYXa5Dz/daLK/+2qi4FPB7w788EuhGF/MQfkESH9gwiSMm6hqDvesklT00dn9OVagOZuJ5k35/dPy+yfDMkVXBWhHNb0Z4JBJl35mYxKv2h8WACYZM+rlG3LOcKOUckq5ES5lmTQxtmMhCZymS1dz4RzxRXa6aWX6bQGSY7zb3hvFKslQOlkDfprE8CemwsOTYF/nqCXW06RgU1q3maEbEpGNyG9tka1k05To5tqU9jO2PHT+X3xd1j0meT1BSY5LpSJ7RsLzAibE42Dp+jSwYIrbWEsxzk+cFkyeEhKz6u5QkO07B1AuQnTeo4J8PTz1K+0QBaaCWqyjq/O+HYZZ33/Nc1AEm97qNkDnV/+bKVaQepZg8Xy7ZEQAxYe9jqmNgSZeJn707JV99QrIBDuxYRT2VfeAC++VUBeQB4vbfJ86gObGG5BmIxgczi319PYkQ8uiSTuAAlT+2mSru/L2dLi1TXAgZ9jMF1NSSabyTvjjRpD589rQiw1tT9j5xL+MJDoboqcRHoLflk5Aj145cC7nnTc0+HhG4tWG5L8lZujybMfxm5ZSA2/1ksGdspC5qXbKgkBDM8julZoSeSHTN8GpNMcAdfp+JisbVtg3yV/ziieEoug+R6BaTtRx4s+pWaw7pXJl45Cnhc2MOaAfv4a8Z8RvQ+2gxxKY+U6rTYnQOE2CJ9szUTbKIb38iBYZ7wgBGj+BfnZdCH+jPbS55FQ026DN0xKNPZCf1GayBdUopCrji0mbpiQ+XHNT9Ys5YP5eVSn6pDyKRZnHkHRxWXXmow6ZKrme/5In8wpJcb/LopRF+ZC+PEkeE9z3aCgb6MNY8qGqdk0afBASpmtrGKIVGNN93pG7d+bP/F7r4qSK4cHOq2HhH0VONbpenuGYT+/UOHCbOXxGdvq0IA4/4pJ407R2kdyP8AC8nKtT1hEh6bY03QnGaConoShWSda1Sv7RMdsrzfsuG6mGruhuqK55MWwUJT9Aor8EAGCGirf0g+kgl/fhGUZdsk3PRPBS3eq90FJrjI0LnCCdT3b3U0Uu7Em1ACSst7qZugRzQavhclhMBSoMlczVKeaEc8MSpyILBuPACgilqURi5732Fy/pnugie5IuOCe5yGhjvf+Kva2nDpPzdU7vEB5dlO0/DA9Kya/a5IBQFLDmifI2n4LrNXkZQod0ZqaOhQ0ivRSkxb5CXOMeve1vywZF8eyD3bLsH+6mQK92aivWz1P32i3C7Uf7nEaShytmM6uz6BeOoXHqaFH0orLVY68HKf9Sr7L93Vk5ZRhzZl6Zpp1Ked5+QDuQ857qTTh4lCCNA31fYJzwOrjj/PFKJtSxjg/93OuH4EpxaBg2ig3mhEzF9T6bHhj/ZkRPXFYoKkMY8g4LMNKPDzzf3e8eWODccQ4AoFxtRy4MvYz+d3foWyZFogPl28oEfLCbC6jD91Zuiksz2kPUKyY6jMN/KYAEcEO4vlGrqkf1hDoExiRam4SI+0d7yHp+Cv5w9GZAYqUL9PK50us2ZzhMhwAQYAz5EqUihgNSHX2FI59h9kIZNsdV4pteqwWvJM8RvxGruZ2eEYtMtnHzs8jVWSq+SmW/VxvAFI4T7tj5ke+ti6iSG+tMyd9FXskFzipIqAg1RqttY/rSjPwMdoY6wIp0Up8XzavCi00NajIoHMQ+N1HwDvZu7xO4zLcyeBV6st0qckvmYQxIelwKNMnlcyhN06PmJXmjhog8BSEdN7gI6bCqcdW2EZtdGIHipxiez3Gx7oRz9Ypj4WRGEnnzYqaSd03v1h9fYFKvhZARiqFDLCLV3jSDQJAEpaAUTPLGOCdJzJ8fN1RRDExFxL75Jgzad6izkxVg9MvIAwKAM2cq3m9+n82gTbS7wK8if+3toyG7K/atAk6jh2YTotFHL0vLomqFI5ZbkQw8L/wA6DWOh8SfdEMawKokjO/CqD6L35NGdcuiDQkP8uU4NmLRmoP2ZCvfmmk/LuinTFdKsHxm919K8kX5aVPQkj3xUnYxGUCDDgOyYsv78JE9ymRn1IY1nsvJwIAe1ru8mSMhQtVcI8LogyUGHrTa5Oso7DBtDma2Pp1bl+Kh3jwfrDfkEYaUj1Usvsexal5UvfdkDHlATEKpp7VQRxRuutkE6YDZ9ahH6fo5TVUk6xzBsAUX0k34RWwlt+nNg3Eqgty+bT7LjUwy+6y827Gb+jtvEA2I+PlI4FvVjXQs8vb/hK0KG6lJH+OswkdQbXcHUWjFO+KHmYbHt5XEzlbdy2YmsGMxQbdG12Mc7gHEMPakX+VHDeq3YTJgLCRxmaUIwT+tWML6VtwLmRIVyPnYBFFHyeCb25PYQQtxfM2EBBYUrot9RrAZym2zPTABH2iIz35e9ZA8HQt4BNeH+A/5pRnp9b/1/HB9cJkHa6CoNee9aCERykx/T0h9E/whSuyWmKk9zCmy+1+KRU3e7YGnLo8HvDCVIhigwW1OFwzpK7fS8n5PF+s065E1GUqOZLr4awiypdEn/c2hwA/k5mpGj14dcd6XpBxxCPeoZvZapM3B4/xi0tOJVeizVh++5nn2a6Rm4ztGwu2SIRlwumL4mSFCki6UuLIgvBxJd3wc58bskp1S1s7O3snAN8zr8Nq5hnidUMhrfg3pzQL626DJ3IkPcqAYcHV6BoY11SAuFN6r/MAlSyNLKVmQU9C7xUBElpwc8x5t9CwqTNwK3kOYTM+nfmqKAKftAfahbBgWXrFapvOURhbTdep1WakJ6hX9f+BESlF9U/vP0npzl/Vv50lFrXVc6daKulGuPRNb0K0fEXamg3ICfsgk7di8wJZkRm+3zEpGe8yPewg+dQERxpE33s8STvfw51jdIT808d1FHTG7MTidfEEgKj6ug672JeABT+ir97hNv5PenA8nQA4q9sL7APIH7Jlpj8Ynsfdx2g2c6uW0yW32Ojxd1gufhodvFKzoRuevCGEaoY3RhbqHhn0SFis2Hr6PbGLCyhnScRKhdm3BO6HaV17rRsNUzqrKN0+04GmP+iW1BQ3qJgpWnyebLZmlkvP6fp1ItU6k6XZvEDQgsIyAcpyvjHDnJwbZxwQowvsL0xwOR6p3Vnol0orwwwmJ0h16zyMHuuWxjuMTxB7t5a+n0W3iJ26YCcX6dOBPDfjXGP2uMaFuwhoAMW0wKz9b+AO1wkN0wuHPe0gjss8Dhesh411OGJ/S8AN+WRYiPZy3R5l/MyL3k5+polff0e9cfa/w2vTh7yvV0sX2tCGD7TCriG22J9LRJreu5xQ3w0gb5KTtEXAphjHxrCwSvSrREjzOXhzbXPi8CMK3qDFQf7dpF9iJW2jb4yQ3NrwOL0+Ghp4hCMz+lKhKYMOSS5o04slJR8azxtA7Bcp7WQjsGOk7TdmyTwbdpNQVrvIoGyuxqLdi576nDIZey7TrtDoTge7bCPkbt8hbWt17L9KVwtQavzfxEEMj/QQnDNE2LWjwGHkr3FozkB3FtiEXi+astnOX4Ouw4EZzpKHg6Imht1OrwSjo+Vrb3U/+WREdLfLXyMhZM0XgmAjcvRhhFORcO4LIWHCNQAhERT3aUsterqv17KZAPFf+aOvvxAIfzobDGD2dDDpA08wxSI/b2LGMFtwu0mLGEoERJ7pkcNO4m6rBjIwg4aIw58ld4l84tY1vD2b0+oRP8YBO3p11h1CKgYjkIkAkeC+qeZslpmHIA1OUIcO89760BI+K2IFRUAyaieggirTsB9Tl0rDboL6+DagRcjI1gyfKbf4wSAiHGqlxcdfo6BOQBiU+SLqqvRwc47BPLqXnDCwo5kdLxc+xF9cIe8d1KGgKr1oOETz61NTRMyK0WJK/GZpa0DRogqQZ+IuiJzYZghtV7JANKcZYgPtJCVQCOXJyYLRAKWzmBVgv8pSoXP0zw91yvd6SkrsfNVQdiTVz2P4EwNq705k7VSbiFK4cMYRkl3nq4ctj+URyM8dqHt1+6GMKeHZMOqucKv9N4869Dau30pDvNPLv99kT+xiQDl1kkFstjntkFniz/rDlBPRM0fl9wCrmdIHgTVe0Jlw868Rpc7LJb0jh5hBnKLX25MpqxVz0COih4FC4zJ24nF2bKZJJLuzB+b9SYZNZng/v8pbQUY3iUEPrBihfw51tqXenlHhZcXeCS6FZfhaYIZ/QNCfjZJssGI0itIPIdaw2o8XGAwPPycdXcA5+YGRbBD6nlGKeBddS+l1AIQcfwuTYjv7U44YZ40eP6p/EAbyYf2UwKJyfxdpP9jbz7oJBQazSvEjdCQzE5+RBkhuySHX4pLwR2Wnj1b4Lm0EVwGQ8z4uMTA/2JhNdxJxQm7P31eWXANPxkjZNRgO1xZ4NNPLeZL92w7SaspFJ4r8WBG6rwAkZEbBUNF8DfNlqPVX+nafDUDrz7mrHPD1hdg1wHbgumQ5SMiaKkUst8JJF5HKHJVydq9D/s0uLwZCvaitIrEINzkQxhWYXZ6pBtil05CtOYQU3OA0j2LjzGpYWxY7PAkC7cof4ViugJa2eN3NAlLJdBJ3zpAnycxkfFLydPC7fUtq3j17Ky9YsaDwDp6oCDB8hnmDxeckFGgeyD6QpuZKc5ADW7CuYNWac+cJ/hymW6FymyoGPytUvWZJapgCVKa4kpmcNf1kqQrtFMlv0zmOsjFomKG64cCvRkVgssbRKAqnwCFNCusi4wDjoLq18OO19M0TBI9HF9wqbocV9tAvcBpApKst6bPMp6a0z7A0pOcaPNRB1dCnpUGeV/iya0BKvIUyR0n1vMBzOU51Y53CixLU47a4KSXLS91J5btG6LyM+2vMJsVD2rygq7P5D9Zf9qCjUk1Q8zsbCZuc4sV32FNhQ5FatnSw97u9mh2mnu6itzpBSrrR1FkBMG8nVAjcRlAzqU8jTwMuCnDgGokFl+B4e3Qkw0Joi9Oi5lfZbiScTRXvkgjvaGfr49/tk+Ktn96yPRWYaQknl3DL4LamVf67RjQfyEfXk6oVXcAyip+DY09UX85oJeHMl006ce1JmJK5ivWansuShRkxl0+2An6GkTmaGkBz7H5Oa/XmFaLtKgt4ucejhnntopUzo7/KSRV7NRAr/meeKlnlIJKSX45g99UwVAEfAONVmS775obu80Yz3APAtFKYxYm224VOGh7eds66jZklcWYcNsGpgCUgFyvHzDn/E4p9h2VX2LYEKbjYHa17gIpXOcxZM3ZUS9P"/>
  <p:tag name="MEKKOXMLTAG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XML1" val="4HooU0THZk28POP9trq+pbTvvzd/gcV8t56cq85kb3NDTsUhojRA0EsgEHHMH7oYP1SYpn09ysXVivguJdhTvfyVMsBLTGvcX7WPTor/CmUhGW7Nmta88fOE38MmEYnXWTcn5Suf11KpkKbNpr58SqP0oK6NAwh7WRjBGVBG8Q+DsO5UqLsgR/h/LfgvWnAcs8f2RdvhPonUD4LlNrzbjhQW4r/aoOqT8jfKsziKwdDbZ+5zE+ePTKc/yFN9H584VO5PE8DB7EK4OmcSCwBzBQStubicnYKWsZTmcuMAuvhXQa8wSx1XWT1AGp7hLKiE9Qs7V4tkr0NcXiOTv2znVU0c6+hO7ku33qKTI/dwoHw2V4B1+W3HoqZ4UCDA9PpxgzVZj6d4hRqgI9yHnDSPiemPenC1xryl2F12Tf/Tmt6lo5qUZxluU0UdlQzzu+sGGs1BGyQX4kbujQw1LTx3yJ1ZJdcmZQph6A/7rNxNSl7c10OoNIDi3sxVZ+txeWP+vvAc0pw0oKkAoI5Lh5p4E5iZ1BPzCjK10Hdzjsa2lY7c8WOEvp2qxRAA/jvbl5x/1haYlRiVe2nFLTnp3IiQWocX7b1byRizIRJYCbImZqoUB5hgDgnClHwazt2KEg4wlDvEY6RH6HN0GU3Fk6fMUIMsSA+5LLouXrJqX9XqYq++xN9lI7xzjszkjL5i8Zu9Nqdn5d3VNKvYbPWGYFh6rCGRbgDObCoojabx/D7np+43CrQEaFTkGmK4CHot8W4+kGvxJrzNDE4dhRLxhhyfiwkZrdQM41zBU9E4NFLQE+NkVkAGkB2RQUX76e/OrDL2DkWdoelhTRayWWOakvYYerdT/0U7bQ00yLYgzf58a+Dqp8E5YIPCkB8T73bTJI899zyHfptXidhdNNr22d1oXnK0QGkGzpFPIqHeVEAJ5pkgpSqKHT7H5LgbY5HFJqf78AIUhPuBQOr0KEXbxfWNMJJelSoNZtHxLonmjRTZ/38SjJAmm3sEwresFa6+rCHypxdnccS/BSkqzDE15abMmP7o4bFvnKhSxrcX7YN6lPjStvDyIehBla6Kvec3L2V0Tr+TK0Elplcno1ZK/Pc3VoiB8MgKpgBR/Xjg2JkiSfj2Gh/3H4QSSfTkzcag9cTqWVNoMN3i17Bzx/0Wi84Dd9gd8h4sh0zsgouZLhQRJfKUPSNkSM+5oUVQodYBD2b4K52evRVzc5pgR4nXMgGY9i+XK0f4wg0uz23WY0ANh4+di/yNY4nitcoETkvbCEs42xMdb+c5u1Xt0ZvClI+hy73wIm63u3Q+IJPnHXE8njVrvIpNtObNuCte5bNqJDhKrhzhzeuGRzhVeoIsp7dVoQGb7Qp3P/YnZiL6ed6J5aCcm1MIydNQqHQUWbywXXh7ZqtVwt/jxci7oUcOphwcjkgzWhTZ+eVb1bUaTidq2/f36ecFY6SEhqLk+YH02o8LYGTzL0zzHxzmgTPUwprJD3OzZ0EL/hWJccsbX3B5kWQwvZzqINSC5a/3D6BSqOBdzgMOt0oxxMmpLUI3+ZD226wR0VG9nfuzSDCPl5+pjC65TcXiqzZwYogOQcbqdRU9416T2Qwmx3SUJw5b57mNccQnvMfD3LUVzMabtIfPkycMj5DlumrejuyX7Q6zGIgG2YOcipv+iX+haKj8yzCMTBCmoVCZ3dCSr653Tsss5SsnSzIJf2sMc3uOusk0fGC7IZ9wOt4Y10HmxrE8E+upsOQD1ROIaNE/MtR6cSD17lSJ+ygesyUSOhPkisio3lOrtXL07svsZcQEhbPuNFTLA6LL61JPaEwymjDkOwaMFhruTSprYxawtNpmeEw4WcnDNtxf0/0cW4BL9oZY7rVfz6D90bojl4cybNkIVAraKjhVfk3WVsvJqSVJGr0Q/fV7OxZ+gtaXfOLFM26m5fRgjy/mPF99y9RRoF++3wP9vOIOXlhe4dApdXsKFkIPdiyp9OLr5Ac/RNcZ1SmpfCancv1802laj42TdJSjTfzf1wC0VLwSOvTiEu1J7A5je3nsi0V4VUPNzLFfHvEpOMM2OOxTzu33NCPH27Kvb5uoM8jqh0Zc2CZxqtkkR8LOI10lkMTwPW9Y5YpwE3wgYJQnTWrzapfdqhSe9EvL8Qc5F/4IeW22QGc6Lhi6bS+4bAwT4qNbYo3BQcpnTxau63y4SQErWOWt4GxvQ/H90hTdsqdfRoIHFhnulFI2C/8xSfbdkjimOcbPtEKk5y7qDfa9jtuYdQcCHKM4In7yPXNTE4ktHzfoFYxEP2aBzX3v5BDOcbXHvooneKIjR6au/dptJuQBfkojJzi5Qr5WNjutvMvykARhl4Tnt7EHBP5YMcgVQMNy8iC+QbOOZ8qC++5pxuDvd0MReEXCDLUAbRXx6CULFKgsN5BEaIlBfd8FAxWbqJlvGPRanCZH4LN7zLKo9QuWWcWFEwM5nnoGmd/6B9i5O/MFZ82fP95GVt5jVjX8YVRZIEo2jq3SN8zAg1a84/T/SnXwvFHsBBvWlGFHPHn4UY5tAwN6X8SSQS1qr2AxN+uJynUHGePt1Skdq76O0JNj7XrWwqufKnlA66MDv7jq1zGZ1SLEj6ItFF4y/SSj1+4WjXRHUHCOGrqUy4IxKGBoCDFRUlra0EKn/c9jXXSoYtLIrwhV/QaZlP4SNYvDSIs+ikWqAsqde91rUjOzz6HQFAsnWpwL8wihO6VmcpRpLkeWsxGEkgJ+qY4p4Vy18EW0qdlX914yDGb3ncLikPPShMCGjA24/PDljjNh6T46sfwemvRBo9oHIuxhQ5xZNH+Vpi3PllJ+hwck7wYh6KOOAWw7VzCjdrmi5mGh8t7eLRGe98sV253nyGTovtcD5CtS9dQFjn3Hc+8tjMI5NfQFvDREMOOYPT4KY+PM6cK82yoJPazEAjPd6P7tt0i2LSDs8LWBPMFqTd2YdBj8E4Ko4+n+BQEwyLVnEmVNnadkjbSP+ZiCdfJSd5VDdG01LzMVruMfo+HpREbBrRUDxu6YDoTsm5pq4i/gpBgcrpJJSdrLvcDVVFBKWTUnke73C28IpIc+9UxbbI2BM2b2e3D7FS7vF7jLEs6WmYzSgc4GnMtdyxCS4qwLA6EKpoQYGK+4mE2YddOcjbr2adup+vW++Bkw1g+CeeM5w1N6J6yELAE4oCjQpH69nv31lCinfWccv72q0rGh1Cm3Smniq34/nho0y8njP5+z1q7a7HZOJMfory8tNAXjlYmfwz1o2Jy4/YwMVuKNgzH4LmFy/M3fwPxrT4yEksCc031iL1LNMRDGT2S5iasZSdRRyZb8rUg4/K7coTOPwOtlAKZlg6GbntP0YVWou62zWn7dny+kY0nKsi1wCYsKXubeMJg5J0C+Sq7DfsuhzAAZ8x84Bf6QXtfbVzBfZi4Zu8UfNNhd9myCysZCH7m0VmtKMr985o1xFn+7ZJ7kB1oZrcSIHjfvdDy6b4HuACmyWOAOvHvI3s7GFHhAS6DGLTNQB3/WEe8wKlIN1NCsIe/UsvERwFEA8MpkqIL4GwATadXHEtvz8yZFGu6cVKuaGSe0uz7aBpTnxxtloePf4iIdeD309HKz4Enaf8U/8PM9GWwzgROPXgi/GSx1YE9DFYom0Ka4dkX6AXGE+lecK0SzNNNzZMNnH6VZ5ZPrCvtQ/7dRGxNM+dkCVCcp0LVM0joJ01PYVlLcE+U/sQn8ZQ8dC6H3fpWquzpILfLiLryvUNQjx5Donj6n108lAg2sJaEsynpDYht4tn63rfzfTQBaEqUeubKyTYswBWer7N4keLtzUgtBUu/zu8ZCFMxU0vZG7xkfYy1ThNOk0cDU07YzCGzSqMj3GxxtQZJ1yaImkooUm8fYYSL1s49VDs4gpK0QkI/xneBLG8t3owhia/FVIA+tV9HgwODpNUAAVYZ10BucFdag441vSKMzl2ekNZ80fFdrMhQDkp5jYzl69oow2xeYSk5i1ozNPVec5qmUlp1l7BQBfzG8dfVylUSAs9kWlrUm5vppP8MR/X5yC+/6lA9SkERSjX8n7whlHij1xCD/wmL52550tGK4g67z1l00o8ugCSvOXnzJQS6HVyTNCGqAqmaKAf4cCr0EUb0zA90SfpPLy3YB14ff4pmL2bhgwe80upnw3hfrEAQ6/BFm6iS/a8Z50yPZQvI690c3Ks7inbONY2yxQxsHNA6Dkv0kgPsrgoWqywlycnYLc6h1aSIXgFbBWM1+nAMHh0uMhomH/mBXrQAAHZcILWqb9s4UG6W6aMfteg/kMjzQBmSPvlK3RqM6CqmWKuS7sv9faHYCvAqHjN+5KatINxBAMnjM7WT/kBSlZG6ddYFt4uxB0dgAgd5YhzemYzJrr1uW2e1OWyp66OUleHOOatajSKUQjUhwZWU1VbgJ00/CS4vZ4MF8XjBUK3Apzqn1ljyoUPyieqkYy/39G5BoKs4GrpHe3TF3sylgEFLLzeVZFsISwDwN7HipURZyAGSraYfX/I+mGMR4Hhrw7M8pfgtF1Qoclce9iT3VHCQmHKZFEJjBUjv3eVs9mtQ8ZPqRoarqt6m3dZo/iQxhcYpFUrj2wKQNFRbp5moFZGuHJf43ZuT50zyPsti6Wk8/CLGXhwhU4//W8Z+cDxHwM07suALiNuXCpbH6umbuPqaaqcDUxSZtUEzDTI76xnJtX7auSxt4Ieb46CfWBuWBtnBiPd3c1XeBywI75AuSIFNfCsGqL00WN23BR3YOqwFCfN/YhoNxv534xyDM60JGucfNyeJZW3qI5Pb7egTuPmgkST/HTyR8XjBnZTcLNl0KSyBR/fHFdwHJqfjzmxPiNLKjHYCmBtQKCwP/mPm8rUGMtuhWuC2dhc4dlWtofyDi5lfM99WUapCbwnoxUGMFVZUjvrMNull+/a2MAXaDf6v/DuSJUUhKUJxVF5dftaT31sgMCKW+c04/wAQiCpYPiCMZnBuvT256XXzSMZ4W0UYjnPjFdrdPoj2VWJGAc0mcSVcI3ivrjIGN2fjMRV7YPEf94pVmOp990//6ZPqxb9br3KkuPqA+TV2NwOikYKuoU/438ih4vKzjX+LNHs8Zx58Z3yHQlegIMHrnqep9yfERPr+m39LziSt0jPvCMdCxUzHlH9D9jg1AYmIZ6EpBKVnE2klsonw8rsfsU21hXGRXxccS1zr/vRThoke5Wu8HRnFPFzPDXgx0DOaNdUwYK+9RUt7fdaSSbZ45X3K3D1nm1njkA4lZmhP3IdNsQdDJREmNLwvpgkO3e4RLeCOFSGC+1JJcQHL6cHfhZ7ub3qAVWG1mu4Y4XCrL0oHEjS8OQH+OKmvdCmEkUMA6BQoFUmB9Y3yDe64gRlFMd7c3z8YBjQyBv/3qY6mFWY8QNVdX8Uq/CoZxkT8TBF60klF6KSNw2/vbyxzlJ+5vfJsE788m2RVQ2dKWKKe0Ia2Cz4Pea6kBf0G7QCcr294BCJINeiPIyUEkgcIiLV3DcNIWqP2wsqQhWs9q9nX3iVM6szhIKjEqtkf9r05O7XwZBNX4v35J00khJuMS1DJhNSqe20bRltczgcYUmRBRCg9gMX7HdMgD6FfwUtY8QPAfPwigrgPTdOcO/O2mgJpoyCh64LfZ2p3sqkEsjKrUvVPx795ambvgApN15kiVypdmBGr4khnHPAoxVI7cXn312bP48dqYJF9//Uaho/Q0CkVu8wnqXGJIBnlcLpdEtIVl3oxtZjC5vU/BZ8l7kPgxkDvqZ4WGyb2mNpmm25SV5pOIXSPBnWMIg2ebwMiiyVTsh2DV7uD/uFqaj2BP/95eJjnpIUkS+nD2menhCLSLHF9+Ksc2+A9tUc7mJUfBny9nMAwsWTQFvvxRiYY1W97bhSFr0Nwcsc8h2mBfh9+tFj6wo8qxsvkcw9tzOpv33d4Nd9GOPtpG2BwBXS1+fHPlFa3/zwgq3aYCk8DoGjUIeTAh0OBYGKPJ7cIE5ekHBsPKG8sOdrEtLXBe5g178QLEt9TfEBFVEIjHZXZ8097mo2ZvvSuqTLBbwOInXy6bZuqCbIcPAQDmAdhqgzK7OHt2S8VJi+dba/dn8zl3i1Bare6iAlm1M3Q1bgSpmu0ex0S/9YLlXMKerLswhJsHZwqrt0hlXaYqEL34eOLwR1pPtCJ9AKuniSQwVUnCOm+aLMPeFBSPYftoTUEwVBKIm+0nWG170xsiA6jOFXkQiEnqQY4G9GqYyDhC6ViQFujaKwugp8PbFseERk5DIYlMu7j/4NCbNobloEYfP0s+Pke7XW/45gx+1IcQtmJ/IPPFow/Ijb5X1yPi6sxyyXkItbbRHBo780PqoCiav8PrTiRN0G8EbhduTRRJj/WlMUpu7X2UaMXJhdijoq0lPXYSG8fazZDz/35o3Kv4UG6Xrx/T1BDk9OIqOtnsinaU340K1e9YnS/SugT4v3ARv8s93kdomLW/PEeck6M1uh45dGpy0qBltthHm3QkGnySgRaSBgriC7AWKLmihFwGzy4j8OlHfiyr4QOxt6GhGkILBdCgmDV7RMklojm1v68qIT3gnI8Z7C6kfPfEarg5vC+k62r6Mrqr9/Pqjpp7fPcEp25SBjQKe1ty79G4Q+egpy7NP9XvwVLkkfSpSJkzAQmA1Xja8agPTzDvne3K2Lt3dqDD6yEd3wlcCZmg+NNGeVuaoaEc2Mivb6VK/U52IudMDxR0cmrkiNN1ldwiCjR5HWXQ/K5bP/ml26TFl1zZGB5dTytv8QwzHky3q6rMo/Pecrm1s/7aiXj03xD+Zic/8LdO4MbQ/9okqr5MFzX5FdC4nRJcJ9Ch6FxmLLhanVo/JHgjXLS60Aq865rcvSVNDSk7IRw9jUrXTDxRXW133yDSDvZf1i6ADX/ly6aCPvDTzqzC7m7H6nMOK3icAOlHLlkInqB2KBvUDDH1EHThrnnZb1TBgHYowq3SI7zrxptbd6mlEqZROCSDDS6ibXzIc/hBC8d2oNwaYmbCanIpaQGAMdUgsq5aq9lD4NwmyrFmrFv4YQP94R4MX+aJRr8v41Wa0krU2CjmwuL/+HMBZIbsubW5S09RzQMT8SCCM6vx1HyZLWxWn6unsfIvYS6kN07fmc0LGxnHY8XkzVZj7rlBoAHaO2pz4vFRBV4JM/JrhldvXBQmP0K1WQQRzE33g+N2mOzFOBCTt7DOuPVdQDw1aSawjCBICz6nmDomZNtOETo4Y+rR0ByygES6M9ltJz4i6Ng41YA1kNaDFKtAPUchSvS8cwhodQd3y2gBkJo4NyFBoOXix5KM+Ajyme68PGsaKxQ8CMjXeCgPcGP3Vp3ZBGdor9ndnb/FNi7+RrolmJzmc1tRA2egxqNOVBv5oCRAtsq6dojBGvgSq+YZHaH6GRzAUUehLkDmifFOHVtV7f8N3M01X05zc+/4o7l3eSoN0oE5wuap8vW74/5TVCcjf925YtpMzF4N0+w0qITxDiV0lnYBwUej7AfJQzsDNpSfuEA4CPvivGJEV199NCxJPIKQjSvwG+r6IzISsijUIFM4770AUK31V1A/m7X8auf/jxlibBb9uDrI/Sgof2xBOliTtEhoOwHEGodtHn7R2QGymBdlELky6Rxskg91bwj1v/W/ODlyOpIvfB48hLm70n9k+XBLyXq7B5F5q+vZLqksNpGZI9GuOts09leKa8JJ5bnriPBe6LFTVWqdNt12ISf/oBqeEKAxCVnrAZIrv3ScICy83+pB1geU2QegTFY6PDbAgHgTNLmIDRgW2+xebA3ra4CM22qxm+mzCFcYi7lddizjJWYzqmC/2u49o1VLeLiJQ8DgNbX2MDuir0OVkrw8wHotm6FjmNIQTMDnz//Z33Q9lfiTJsqyHj2xNOmNWR+qaQX0PbxFiUhIOcdZE1Dt5dIWwepPZP1l4a6OB6jiaLAkFTtwxN0f3kfGHUj9/A43Qr25q4zVOaEdH/orcMCNaz/UJLn6XSmdFE2YFRsKEnDIINGjQXJWsHpwtInhU9K9RNA8f5M9aBFu8Z/G5iGpVqC0yfpndPeJxiw5sIRjs8esR7Hsx4SF6XsNSPIk1007z/QR+oKFHahhcRoaUrq3tHisJ+qCS561IS/2pXfCaDNcMrFDR6oDke3CuWlyinukh/D2I+lUOgSSQTVXksqpBjvdJfvImgnLPW/t6jJOXNBEWzZPgpwCWr4cf4rEltRPb1nmZr/VVJo/8IZYFRy+qsLLjoBcZIrHFzVHLgYTE1UF6XifDnXNAD4kysOYxsiX//286UaSlUhrZFQPI73h1JAPOaoPrWbT7LeA45mnq1kDuMcaIjp8yxivD4b3WWnmav0xIzlAnm9YRsPb3s7XJHGc+qBeTzZfkFpHZ3VgIIrrS3BUBmR5jW8Frq60aRXmnHdnX68dkg8YMt0rarD34nR/cSAEhizEK3yEWUjE3ZGS9FHzyCFOWHNTfezSdIAJm5bGDcKeECSkCgXhNgIsQyiXseO9DrhgIpsKwHlqAiGER9sLSR2o8+rY3Y2z0gwFiEjU0v5jNJfo8+QqAjbkWPBI+r4wFtFpGbqjUfGtt2nY07fiAiCTIC//BQyh+RbPfPfGOT5gKT6tt2gd5y6l41O6ccnapA44qNLkUMknzr9riWM0BhMT3obbPZPS7MJIy1QYMCQ183CTRJHW2HnhF+5mFqNaj9cWjfuBtvAi+pOTsCdz9NLMNyRNJb7bjR+wsC7t826cwISdXkv1RCxrkCVb3fK0/EmBjpUqIjS0gy+s1vYto7vcNMedgC2UW/7cdrjGYRf/pVXMwcsfokjUwEZ3u1UVN08bAABhgBVcpffRZvG58QXGp8T/P95QalyiD0wguH97BsAYR49xRS1sRmZfYxfhcw0tIao9hn1bpsiH8EbyNUWbUOXw+mFu+WHTWpXr4/LUSzo8aniq0HsYNF4Fpbn7AgorrPYJWark/5a+2VV+KJyk425m01Z0rceifGTRtxyYTJ40zQqnNMav6rUOSaYh3+4IhewwPf4oWc3ElcWpbe+krPTy+VarAp9arD8TXCrHMfpprEx0poQZRjNXIyUPn8amdAoLT/xFSVyeAYLpftZrWNSg/XUwhbiJPgYU/vnsezVyiq9ZpwTVJRH6hWpZ/NOFpNPajzpGTWt0ffPjOYiOwT+Mipe5KzhmkDr6nOiPrNFMuHXWkMRml+jfWu/aIDHwldl4zwT5UOJXcKAPDaiyWeujncv+Lp6d0KElA05C68nXkA5ByNLuJAM2l4K+3vmo0/wS4PbLqAOR614+gF+lf03wxaOVrwEF9C6Bhr5Www4s2QsDKw8TI+k2UXBiwkFfZkeL4Epf0N4dWdTHxsdaxs1nSy1qOeeJvButZrUMVSFqLcCMASC+HB5AGW2Y4dDEK1fdPUoz07cVxTmoPzSTrz/UwBpbiGbWP2yrONus1DCvE3AdDN49/UP/kfVf3fNF5CqAD7XB4sTFwtv58EFmUQGnK4eoIvYiC3g7cyDflYKEPOHKDTn8WdhtpIO5eG4tOT1qli6rTt/3+sYap1ILCQxMehFxfj26p7aDRtYvikqXF++qRDrQq6fNcnJwnDwNya0vmFsGWOJsKkbH+nceeWELCIFbGfeWrA3r5Jvpv3Uy/Tgeg8GvQUBXXECs+ZidINiwzqwCPZZdbP7N2zu2fWgOLaBQcGCwcMeHcyUrJ96F9kzZ+isWu3NBefLUUT50JMYKCPvkQkYDQ4dhVyVBz9dfq3U6eRm8wqTYskB1JZxCCeyWbjArMDaXVxcs296ZIkMQU9BP4j8JjiIRzcdzuBt/9zUH7I3xh/Mf8VBCmtgQ6QGNRNmekc1Pj2KwrnHOes4JwAFrvNsVGprQ1eBKomE+7fgoVkS7TXavrkFnOnnDpBwck9yiPUQMUYanIlmQ0StINT/EzTdouQ/Lr+6L2HLurA0GfHTOlfeV60y9db1S4ZlgN7rJ8ckCc5/yDwA5nqf3wXl/0CQCo2A0/cso2nvDo5AfEz8qrWzmcUCuquKYE3SXD3591p2Dy5KIRvFrLpyiM8quEX+qHOLRXVxxQ/lEsQLCC1DxTtzbQPbbIaXIONMM/Cg8l4DMLlUFbfCYOpRM8wAxwB8PP2s0xkPYf2N7meDXm2kfM3D7C6ahdG1EoMtmKpngZLwwsfNfiDM9uAAj1EZuuf5SBb5sfd0Dkv94OlL99PL6dwTZQXJ3ksS/g/168WW+yq5REUC96fPH3j/0/tWpkAyR31yBgsxEqmcXzi+xfUjv1sLC9uiWY+jh2sEXvQazdlHv0k3l0W3DsEgwuOmF1QzK/eGAjAN17IbFJimluzZ5uPhyH+JMl2xG3gjtlTEFTszOfAIsaDEt+Z/sdEyFPEfp7tUtWy7fofp/J762UHGI/4CRqFKLWMRq6lLLD4p/3b17+ED+nYs9mYitUVxixwdlXYty56Cq9RMFcTJpATIMiloU11cAwCimr+ZcE3A0uM7wMnVhkPCtup2UMa9GTnZLGX4cRryE5EU2f/QWkoCryDrZIXpD94cFSmklYstslmXM6lT/DvBHECeYPs1XQOhd+iBYo3yn49PtSWZP5JENHEn9Je6+lJyCNu81mbKbJVRE+AyCj/wWQw4icSRH1OBdNCCmDJbj+WbjDYRhhdTw6CPysRnWHsocia0OIRLpgyMOoFGxoojTIc7yT7m9UoqUWzoD+8DbmC0PGh1225BKBotI1ZnOLbYUeO5isjBcDkfPY8KwLzTz9Et6eSDHCs46kJYHB8/f3+81vgD1TXO0EPuZbNe3TFskqxV1qGkC3UaH0KkTpg2fpyw6AMFVN24PPfXzJuNrVAg2/I8uX9RacyRFJNvy+d/+MPkp8l7Vgkd3T8UFEKBSC5Dtznl39Bk9WZgJabmWBC2VI43dM3yVGBkBGtKCCvw2ySP7yY9X8TNrDMRZLahnehXO2KJ++PtekBTxQLOyJCF07OrOLj4W/h+cgiK5DCO0n3hGATChJWjn0tB89tBJQ3FRm5o1y2bst4V76CLuuYymMgj8wa8yoUM9ZmYQuafKA4Mkwdua4MRoySkL1JaA9rhg28SK1coihuSdA+b3jE4iFaj1DQAKiPTNEmb+eCtL4ONyHOK3VilVIQGMI8CJ/IDA9/dEugX9VhBgPmK5GMAiWY8Ktst8GaInjAnXL3VWulmDpQ1SBYFzUK/6U7VzU3yLqcVG25v6D4FLEQ0AgIFKs9bRWUW+sB9VVlnXCYvDGjpgEE4CgfO4U38LdFP/y8MTdM5roq6dRZv+fXTbZQ1X7erp83aHFMFZHKUQ68M7G7c7isPXd5anjSN7mTiyWfcLPHeZjDunQBIkGMUDTNs59+UyUM0p9KT3ceLH7VGOk8lRW5GNrp85f/vRUcHeIHr+cXwmvxdIZiCrwfTZfRKWgomInJTuaqOTJf2Ide0qGUM/Aa8QiEMSWU7uQvOQERc8e6HM9Ueie+fA1vPNYepQI8Wiixz8MR1zMpqNhkmAVYl2BpjafsRNDcSps2T8zde8XaLskW92rU7TgpxnHEJgtD5J+z2lKq8ByPZ8Y9kCIlZtgoSg0iGObrPJjThplXCYi95WHPzWNjeKWPoccPOc9y2GnOlvM+d9PFDZny9GYZj+SkHrWf+kvMGDCcLPCPzu3v+r80qA3EnW7mi96uqwbL9HnisZ+0OudLLlz1D+x6wWA3EFJE19Nup1/bQDIK6dNhTcDbChs3VLHSEVfUiASxbklLZFziF2aEkxrX1stKk4f5r4F2AwvLWeRHCks90fhBJ6yPh38EBIBJEuA3U75s2g/mCnwzRJsCC8TvjuePTjeGG+UocbmzKrORzutMKz0Xp17GoA3HRfDlwjnw9IIQwNSYlG9tMgOdie75DCxyUj+JXEVrlFOMFcbBEjt+DnRhng3nGLPWVtHG5Tr7DRvA5SdbSoNyD8Xp8mdV0HfjI6h6soXh6XIH0AQS5TISR3Y014IhA/uBqtPblerDPeS6BqLO1RUiIKa/oGXwGesBQcpm1IGwiJql3Mvx1cd6Yrga3Rlbw24hwsOoU5TYYiDhEimoYs+ZMBPBuoASvr3ML36SytxKV7v3OWWMEfeuivMuEJdL4eo/IDHqqOSWX0cyRe5HQj7iU+1YW55gq1GnjEYsqgNeMWMwUMMAe5VRGkBM0oS2yL7ZPl4mGxAU4QvMApHNH944CV8yzE2i2Ro3DCm1LVsZNPT7x8+vaDcDuz7FNgnYN57SRBQ/v4QAj43DzSaUXtghXcW3QglMt0IHF4qnOh+n9E273GXEZdXtrE5vaJBBzCJzJsmOb68accetGKKTbZzVnOIrNbcGfNOmRPUUCrCNkhs60i5BHMue8y3GtUlHNNLMaPvknGF/puHZAmCR41tK3f59QFhP34AggWyYctuTEIjVEiYpGUDPTLAnPgmhxg40YCA/1ITseiRIO3HnUKq/3Ar4B8VNhr6XlsURf+v6LRomvZs35+yprMaMZk9B4kdGWupq6n24MhP9ASl31M4aVCWtAEYX9FDk9umvAlJUpSbHkrhlJ3Adw6MH66Jwy+4JomX2kh2trOnlofRnvlKvIMmbaqr2Eu413Qi4FFvl47vkc0hiYpL0a0f5aKxYbKc3Uvgt2Q0u+pJTC8LznyQdVUN+M20QYHxoX+UWLqn1Z3iTRJsM8IvjvicIti4B19+r4iCc+XTNpLLsYlZDuT/tKDj9ynApD5AJSUZAciwxuGvY16kEvr2h0dkW/vcdHjeWilVGNXjjrRnCHWbC3kpRldoH1qw8cCiU5HmAjlYHgF8ostq6+FCO0JAl3YiD0sJkLh4eucUH9OTU4RVTTjkbclu7unH1zGxNJKfME8j00dEBzstkzCxIH70XvI2cYBaHww6Zgc821TCRN8+/Yn7wMqzGo7LbINwJCfeiF+qDXrB+HiQakxVhbRt2oI7Wcxv7L0K/CxrwyaTaZFXgrPsBPpKAaBuFDnvtMRENcgZqI+ACyVu1tr60Ea5AXhIoBFEDkDyLv+OkqOnpez5soye1mZnZXBKPDQhHtn0p9q4DH2Zo8X2e1TIkLJHYB4czYOefs0HkJtWIbGRQl2EzZf9RDRLJuPiuemDy/9zGbONASYuPrxSXVDToAGeS3w78MKH/dSXQZzRpZVAVJNoE6zWAqYxf59pBRlwahu5wlmyRbABiE7zMn+ulgn1IbKdrRx+XztLYH9zs2u2DtgOljwnVlULWvjyE0oUkWVo5DMUhi2/++bx7qe5oTzZMYg7daGPhV6yah3laDOF4XuaJTRrpJgllVV3qcOaiGCVeDn0E7QwjF3nRbmoahjqwRlQD47UvCmaTBaY2PsVuoqetN6cRKilYkbMdG5CFj5efnXbwjjpf2F9n9vBbJceDnn4Eyt5CkUX7FR3SsobAY6BBNQ/xK71yOBK6Mic2tk9j211yfjyAvuu3Zje1GIkbLYtRSYMPpl5dDiva5yYqAAKpUZEch97lOfUMdCsarSb0GboHXSqIwbfxwbOi+4oUF1crx+Y//QNhe9BqSbM0Pff/nuG5SlnflTkvcge+WMaDLZ2tUujdroiQjeEAwhaEvhrENsSft19iLMUn9Rsz8DQ+kmYUOcdq4rY+tVLWxxC6KDuAcplANoumMYzcabLvkj/1D/MRfi84B1r8Ax7hj4PteIomjEPBYl276jAmjXb+awbKdP0M/HILeDaL2MgrZA1B3g9qbbsQHx4nkiKRVJdvkw62HmEZtsSIRr4/2ifThNXdM2/6EBMLEtC7T9BxEj5q2FmLrjRXYbTnfgUJj0HO16Nu1jWCPUCoz/OWqP12EOEirdkNM9VIRcuqcmH5Lr0SfrmMTYvD6dwEU5jF0yEEx5SUhUYo+ppkWGpT7FkbPG8OnQaQz/xr+Urg4jq1X4K0MoKVOjoVP7evQ+wmKdcmKAw/svWGedEoPNryMEDCdrtqdIaNt7EGt7OoHs6hDjMQgZQCF1Ss/G9qhRAw8HQ8JZrU2s9C2IkC/5yu0iM3e5wY+rZluirdNsax0hpW2xIG8WP/bNmGGvqZacKAls44jHEtZFbyIzoNUTm/gmR+HIwK3g8hgyF5X0JtJw4+Tu2Q87x1ZLoW3eFV7lmYiF8oVwvA1xljHAbslz5zvHBQ/7wNT22VDGFYtxgtwrsPDAMgH/8DcdWNE/6rwgVL67iZ+IH8/igoBpevoV5jNI/YRJ4wmNWrTkag18O6NHxq7CMyetQFncp8wotZBmY8BtnlrrU1BCZDliwY3ob839otgxIHQRLDGYPWNzaad2gxoRdc+K0WWthILYIZ9JxIVfTRq7Mkw0yNf4GHiOD14/9u0e6BFg3e57TvfJ+S5uE5frEPs2CzCFErJ9mSskCwF1w0EE/Ab4DUNnaBg3y6kWmXDaHMo3JCxBoJcdPGzBAFk0fraiYrDRMRWTXdF/oWl8JwbpKdRQKHUejAXccE8uop6/CxG0UsH+VRkJ00ye4Pa5vjfaiG1o0yDAqN+C4QWXebWBRpL7iWRA+ZLXCFeR3IyrSYg3SdEQeKWGGo9eN8OXDCvyQUPzHyh67LvPXzBROpOVhOsop/WH5WaEwVeOaN9OutyDoTtLIF7MiQ0zfl7+7GnOIIHexZOY+FlBnl6G7xDSjAGKCoNWkDiD4Hptw1LOoN4WpCgfiYrqm57CO2+q2WduTG72zFL1SuzsL8jO/qK5J1lZDHDU5jfiYtQ9p2COHLgtebijwI1jgqAdhm+5lSAKNiiRH5l1+tWwO+qf8F3FKM8oVEvoOjndmpf0ke3+qK7g00VEIt1xq8oCQliByUVWgWV0YCCL8pz/x8+2pA6zLTkysY5QuiCjdztkfcELvVncd1ucaEjLuze1GcWjj5cATcyo+dK/7WD18n4pJ7+kUl2kV3ZaTsznireFx6Ldr6J0gMK8umiKXlks3jiLl5ydYYLPRcuwtX6AUiZIACeHUiJ1sEoMVNcaZTidJgp/eZUzlDOVPjZocVEe85WNF5HGWCzW1aWJk+sOD1/bqMpQvj/wY2PfxtmtdRjZoXtAkEFg543ZSQTsS+d66Ht2fnJVkJ9I/hqn79AhrZsjvzOj7siecALnlwOo6N5cB2bx23MRHF7mW1WfG1WutAzxeZUkrJ1DLnUbZlQ4JHYhDJQ1c9dot5XPwf/H/L0D7ZMJKzJL2j1rfth/Gt4dHraqWmrrzPuFE4xg9B5vbFS3F5dviStMQLC7YI8paKaVf3IpIlKgC1Fv62YA7E0mI2ziQabGUM5nzRqLHFku8HqlLkDPwm7JNlJTr//p8mss5z9DFBlyvy4xTvTOgBOSlf3P95+f1vitS19nK2aZdp4LGivKvNX7TQ50k/fAk0YXEiK+sFfznDNurjqqt6ms7UYBzr4x7epARIrrG/R392B6y/Baip96cFHy9kdNO7NaVwB4vBMhL7rgIBA2BYrHff5csCop3Uw3VYE2O9ofUEAGTggaW6rPUllRLQAqjFhuXIkl8SEhwFqlxEXOWLYdMEfkCtFt2XfT93UB46/tBNy+ZdP9C/rSF7iI+kstA3e/i2KnGRXk9lfhxD52MzJ7ry5hTKtvgrKMx9Q/z30nF2rcN5z/N5stL3rhnYm9knl3SMxx8H14XJMrlGch8ijwthazlNBEEwE1d+ryvLGAy2hABfeiT6AGOYsGUPo7eO0JcPAo22SseN7F8XjRvL60JSlpc6JTvMlYXse3iXC8YTceUwRYubLnZu9xc7Xq3erMHJpxyHarJhFsbX8fQaMHi97OfapTOT0P1kvxvDpEe9W+Y47wS03a/diaa/kJAS/ZsL8URHnymLSZNEDOaqL5+euHmViDFXkpJN7PXa3h76sGct9HkhNPnZP9HznY10XQkIEM7xZ7ad+Jmx0wReXDZ+WpGFSA4AhNEuQ+JjRxqR581fw11DOE7dToFc4wcEn7mMPOBjLDHHeoigk+z5HOFqxocyjcGcrwAtP36NC+0A6R2QpfKzHmg3zr1qlTaOKyXWdSkgS0JFC822W3O/Mo9ix8S26Nev7ehsb++gyUx9h8WUN8iQT8JaW5DiDx0lQBLRTpruhMDlai3FqZdlCAv+I6yp+HsvR50goPf/ZktZi985ZVTa7ncEceziXCVZK4n62dlMFiA0BDCh8dt8mjtLQ+S9loBwWPFvtUL2daRwtEC5UjcWT6mnxII3hLWB+CKZD2lDcGnZghIjc5iffCSXTgvmX0LhEZDx48LJHpmPAjYjBXLPq3YkDTTBk327+GV4egmPKuP+fYJML4yKPIggULSDNazISDTbfvl12BXMFShe5Fhtb17tHU/8wE1nWUVJ/4tLaDzVvQahKCx4FYvGIkIJv5BmlGNWq6PBBsUGq3IWBIruJRCbt/+PPGWeMCY4ThL+cl09Sb4Dkpml/VhAF89K+F6vF8sLTDWZ7s/FrqoI3U2vyHdzxHH4RDzvzy8V/KgUpcbL7wPT6o3dCvBt3sHzOzLDiGz06kWlWSMxqoQj8PNVmSWqXULbp/xzVj7Ysg3SA0BwGOiG03gWjJ747Hw/v5zgbB+GepQQBjaitNcvBvBX7rwfY7hNr5i6URHlHSSzA+jPcFHG/4hEqoUdyCltdL7hSjrt7WRqpsZhuqLmCVzj3CKAG4NT1HVCWHYMvJgFYWXw/EzxK9/yARlwUDyEfl+S0VPZry+yAorrcHeMnpCeNoni4rsyXrvu/+0c4zXEDOF/vr9MgDw1wHniuUrmeBn3Wa/lVGcs7+7qE/DKnIBneOR906ZDM9pqhwniQCc3jXoqZD1/iMJnv+ltUumnNhcMAyKCIgkcfUDBcUxAj+aszacbUnIbs2r6XFdb5b9dchQrtQ/zrMUxQArNX4ku7pPQ1qGZymEwdYGFmnEdcZoxXYOiTNxgrBC4lnVFeKFqd16NNiH6WtCI/AaVzQDbhUFfC05QgCr5zsJi5nxWPCH+sjH0gNSY8rzqMaMnZ37Kr211x9vaekIukQx9/gFt2Fg4QuG/ePBUwPAP7j1xbe2rM2Wq54YzjsH5GMhsAJHd4bFQ9wBQ5c3u9NPPUQUzwETh+VH7Bw6F2AlX3e3tNgYGsISabyitYtTzWIAUGeF1jhVJ8Nh2WGfbxBfdkVP0x78Xm6NWv5vK+7G+dTFp7gWOqYbdUmoshYWZ3eZlU43LxDCqq58m5XB9L1Qsm/MXcNh03suTCVYJgaL8cRd1RKL7HisFAl08jstkFVWZ/J9xEJpdc8u74dcV7BJ02jpKSUDLGbU8SJcLL1x91KWHus4JZSZvvfsLRa2QSL5eXXtKG8gqlCuZ8vV0yT7wdw5+whFTGER0njovhd9FVGnOG5wJO4VzOSKHgniqb2mMbakJcHwS5EG6XmvllQ4QjJlfU2s89CXHV15RuY2rbRB7Q3EETug1DKNHgoH8hY276N//RW3TAXA0/0dgcEWE1lnHwL/Fp3bm1m1RWnYUD2btq8XS/i6khGtN+x5211g8gIegESPcqr0iWoO3DxDbmfEBD2FRrRkE/ZUDh7FHBcy9vNBfGyuYcnaZA3xzdPbWnIKDZjlZkf+S06GHwqSDG4hJcAIzU17fGSt4jqtMuvwsKwffIbvrHbaxEdg0qv5NlrRX9I1m++h7jCV4jA9UqDlu5VmyOTtLDbyrxDJ7e+jovEWF197lOkG1VSzS89Lel5cfNItoTLdOFBiq2JYe1bvZ4cO3CzXvwIbn7fVGb1p/Uv3AH7Vfnb9vuK5lY7ULu7/4lgJi3oSX4I7UbHIg1SBL7CMMkr9RoPJG9khFtrTpkfw3vPiswpUuWDE+53HMP0GlUMIgP5NM8NbGRldo+HPPLi3ldAhLdlc8MMTfTY0XOOrmj2DAU+tRFjuMDmsYhnlDDPBzQHPvRStck5DCjUFXSIM7312Qwn+EnSoCV2oZIxMPETCVeTSX9g0acBmMfJ0QW5WLLenHd8IBeAgpRuNoVYexuWZ/tYwLtYBPdp9sFVUbIvVmSEjCumG8tctsqmh8g14WX6aTGjNQm+alTKf1rVnX/DAxUAEmg+LI1+/Xjj87n4pFZm1i/hcXh8q8CPk8jzXGciuKVC1vLYeJfqkfCMZx6MJt65h46blUuUdK+o5UogcDAft3JhJvXXoG7FDput2wL81SSAT1RYOtJHynKTehUhIrBuYFfzT9ef82yP20ov8ojcO5McvE/fGupblAbSmC0p2XrPVjRp38JD8BGEspNJPS424lZQCFK6WI9AWa7s4H472KggewEvKwc9tSCs3nrmPt5b8uK2bGx/vzJ67mbnYhfFMMblrA8W3vJnpL0GjR1YLobiXeztDRSJi+pni+h2QbtMQ7Ldi2b5Jim8fD9XuIqinc5VDP7t3DJS4Goa+fJ9z6H1+lsdz9ZJ3xj5MPwOepyDjHvvVXqSILkXHUbmdTeLn1EVKMPuZrx/ceEEDjggr1E/LFzQToD3omEF1JMNdRYf04W8V3nSJ/1N1ilfHKiPIrNJ0I+ZgP1/j43EnuzVCy9qTlL7q8/epZyHeMjmaHCfyMhE8iu22VhCbKieeD5s2Ezbl8iNYevNp+wb6TPMxSsdPlq4xvBsbF091KSyFgxvCWhumYYr3FCxhgDyLXF56w/tCRo7yMRn/sHQHMlV2BRQl/MaZ3+s/NbJ+WgFBW/QwWdTAOtcBtQ4ab4VHgT+G7gxsmmwVpjPk3qeH/6ro2hlFyjUis7GqPy9qzROe1+GIipaWAAYhg96NaREEcIy7Q1GFUuX8yPg4B7sW6gBZVaIralxf92dahAPwN2J4DYtGdob+B3Mhj4CHO1QFJJ5LJgxebiiOJ/q3XfwCFLo9Jjo5UvPwUwKLQUGjRjOTWTmRGMTdpVWA3wInQfbNtq8IsO3WcyTuplc2hOL3tJWzL+i4LymBfvAp/sFG783LOujlgSWQI6ziNJh+SKrLPmObaC72mnNuGIZGZd7VnmxSzvzfzN0nJO9m3OM9NGUvBiJKrvWC6sCa8ySy4b12mclD5QBhUIV/5RwS95xd5dfGKBI347ysAqqe9PCBOFjCStQvtBTr8zqiABasVrTLMmRNn+G1XcdKCN+MsrZl14dk+1cIp02NSY0Epiiq2AE43Xi/psJBRM2RAs2yNkMQkdullLiZPoSfTV28nzHb0huVlcJ+kkjhUydA86zcsIqOB9BZ28rURm6EMtcDEfk/IaT4hguwTScnDc3ckwq7rHmonRnlGD+vRboqpPZvOy02J7zU4hcmHWVOlRcyWkIGsrr1Yy9JZnia8309My8C+yAKQhk5KS9VxkKk5swKvXnvLEQt0okAwpCoQa+u25ZEgtpCVO2U5yr7dybkTrhjB7vOGTm3xReq+JLzMguWVB1H+IkFuLhjG7ABOmx7vX7DfttM/kvMIq0Sw6v5+PEjR5ETRCndlYeGaRdkeLd1BSjjZoxg7NRBL3Vv+aH+gICThgoJIrwSv6iHEHEWv3hxcHKQJdfWRUE+Wz1v5WxQtgvtI38FhSIjri5/j7DqoN5sLYGLeYYtc55kjdhAapWSyj7I3PRiZYrKby3XRPlxmo85ThxE+RW+uPZeYj2onE2tCr84Mv5mdRnpW0sZAt6ivQhLRAFZ/C04DbbcXjjvv2lI58tm8SDzl7o8LgpELKIT2KaNWR8IktlbB2umEHLvceMO5j35k2E599xQYd2t4kz47nPrbubA6cunCuRghFrpfzGnniV+pqlreX3/4Gr5t0/mrxCCxFWIQuzfFrhov0riADUxe/yExyMMx8fJe4JstBhsG84dnt/1B9IVnOdbsCBJa22xhaSRGHHvG2IcyiY8O1xNyxBqGaQTrzpk9v1NNSJ18U0ihrQtFvwfLYmcMxovOqQhEql0paHmD7kkSvs8TO85+ySHqfi6b+i8XPFB5K8AAR+4TgUysnTijtflMhkXlRlCpf+xXL30swVh2xDbQApnvTlTR5gdL+AfxWC4gS5wOnXh8Wa4kbeg9WIKhpnHALCRIxbs75LTzK3gh1YwtGfdC27epAefviNkDHle0kDOlpom4CqnnrzrIqgANfvnvUHqEHVaM6VCmstnVSD9WsUadsBFmhQPffIlaYeQDx0omFKRFxWYBCKcKukwX7VJmdwkEVlFryjmUEX0A36WZDOZhoD9xVu4OHN9qL7PZZUvwj/1NT/ShgibmdGiW4kpz4Uihgbq8vIAQRO1LtNIUR2AWjsqkGxQ6iENrw2pvOFJDUhOuhHcmM9KeEOXA+yHQiK7qO+9/mCSwSGE0ZPwC4p6oahHnm5dyiBIDghr5RlCEcjPlwcJHYLu3DBQ/E22SiIB3muzFYIU8G+EI0MFqbcEbFM/qZgCAD4X/yy0L0C0wvKfeFVogphSHjJc0MyRGhEkse8Heeoktx/kASHfJlKi5IWr9xbugIrR/9cfMVhPxWMPoEJGpZRWqmXI2jMkG14eQihOxsdUk5W7NZAhghPNRucsZLKaghx2uN+9+xvlxpyZ9An6ZmMX0iUCvEqSmwkzpu2LTfWy9RZmwee55sZ3moRXnX5Qnm+robWhIOWk/+YdxmR+eMqIjEul/jvYXXiNB0tOFk5Azr6tiglVtpcnqf+5mCHXju8h7H3HjBE3Pnd4BtYJ7Szn92F4aOQm3TRMsLaH3z8U/RHI824N8Dp1TpQdWMqcSy+4qLtEdQsC+1PImvCCAIDNjWb7IlOttRtmr3j8okXawYojOxlRiiw/++51GAtrasR+ImrtCyX26Re8rmvaud1tUILuKpcdeuhagpTS7TOvuQXHRWCHPEFHnDBn+buxbzszBUHe9fqxVu3y2UcNWxakYRZZv1CIdAhbHu+b3xgwVCTLr2wNI7GEHv5GUDaf3ZrY0Ub0NII8QClT+HekRuJNW3M9X8tFu6aR2sn/PVtzO8XV3GFbhDM732MseZsI0VWd7RE3OsiJ8sa3fESviQrP8M3vRMHzNEiTcpF45esUFGTg7XvwtSTZnIzKq6Cvg6+0VAci/a3YybUtjhmqteUGkNVkGAc1tP1KRknjblENu1QVTqMempUVJXalw9lveSD3wqFpFljmpgscH828OyjjLamomKsUUBSBpcPSLj5Zf2GWdWRqHWr5Pwp9oL9t9/iTCJTqX1WDpvdKkmnCtZ7JoNpVLjkMGW9wNql3SOTkQTtC+G+CAiwkGY2yLDhjqxb+LisK8VtrEc4HE/5VL9sWT7OlQrkVrtfcvECBko9Q7jA0FEhnvoU5oqSkYIjWYo5lUfxew3iVj8rqoqtKHM8sPcvDM+ZbSA8FP9fmSG6lcC+G9hrE9+EStweK0fKrlQtdOVKzk1pOhpMfuaMjIOkP/QXAgoYuTszBOxftXtoUp08LgfErkf4+tV+YStUyayxQvGLJSMiE9XbnzlwFajOxaFVnWE4+dP137+HrguVu49ahrk1jlFzrZxEBVHKOeMgf2rYdE/jnmUUWCqfnT49K2AN6uTKF6vfRiESEBHMa+RqZaIXzkIW3xSYjBAE/Y4JwdY6HFoKIcs2I9jzloxiM26rg50Wl14NJBiGj4kzCmvh6mhpEOS3iz72Vo7ZIovBCTw+DeHSkwTpNyVCgem110mbx0PWkzAw/x0acqVxb9ppuy59u5iI5buoV24V8UzIp+twMZ9Q5KgSqoAdZXXmcrtzV1wl4iIRMAopl3t+iVC//D8/jfLTUTG7Xh0974e6E01hkl5ySlFJcNH6AKny7ZbJ8FbaV0fbGL8+Q5VGmbpCbJ//Ir4YRenEn2z0OENh9q4zZMX4iFgZwJjW6c8uBZ7mzHsPFSVdTSDxm8MgDGfGAJxdhbLjZl8Iu07iVW3kfFE/6Led15nwawk9Ce1M/3x8wBdIOx1c8oqJULBX6Nivh/trwvhvRvEr4qiS1q2OT1N+wxTC0eVmabM0Rdb0DWVYzIIfRQldLnJ9fyD+/Snj6NM/CpuYfrtEgnu3CrLkqBTABYu3yNFZe5s6WjrpmBL3vMLhHUt+Qqpq2rhNfIxX1CC9lJQsMq0zzolgZYwd1PrdxbTzBJP2APq1vg2A5PGPsih10nn9EVYyRvx1KS2G3kN8yzlCizn2V7JqKvdVnDhrJ9WxfY7NLspBAaWs+O7MOu5z2HNBJ+XcuHx4NCNJKvQnaYHEu4ZfJB7d2zT+IXh4HMbUe1ssvGhX6PFLieXkyqkRpGyWaB8HSP5PhWQVILGHqGO1vwb9qRlRaZc31vMb6LO/UE4BHldM8Uol38ESq+540ecI17Q0wXRe0SFd9SuRh/sbo/KX/R2hPKVeM3ydX7jl4VNIMtou6j6Bewhe1HeFgdLv4RAClplJBCexDpMvoEB1b48P2W+iyrgGsDUrONslHH4T0ascQLqwFX/NDBhTVSgweGfeUWGowcob5POvBLBxLHQfW5IDZa5fKAE5+gRhdrUhU7piRiZg2Lbeoi1o6/0rzG5hCy3gq/QkHozJC93DQUPKXX+wbKlg56Lp07DSnZPyGJhmllVbfdidP6cYQLrf1WPqCmxq8O/Au/Wz7crBdMjWunhlzRd5Kln0sTFNKmZQHJPZWYWoi2+EywuhOls3Zyh1ewx8tQbouXYCgD0XEve8wXKMPUMc5SXFDCIq5OfKnlNXOLVrfHikuxwKJL7Lf8FdOm24WpkNvsnIXcahyqNZDlq2N+IX0NKXVYXReSjDlbz/59DlAy2JlWMZhcNKaEE/Kkfo2RdSM7mG/gbLy38O/9wQl7eWUP6tQw+V1hHFjfEjE5ajXncgsJSSNSRIZpZXqs5Jls+gFhEy2rhkBm9ELQnwDX9Y5N0Z6JvvWNJrf6Xdsfo0sWsh3TALDLGRUU/06rC4g5ZPVpVIjjQ+ljse8s1Hzh9K+Yon42eW/uHGYR0IxZp/sOrBcuzMiEzICEoS7McuTHkAcT1zSiaseZSA5CdXfaQGVmC1/SCIf2ZUe22YckXqjyn1qB60lwE9wuDk9cg7aOJ7wrahGdu5ulxN/zyKHq3OuWRZcvxP5qgUe7c3+R+n+dugJ+CiPYWy1JYWW7IE/DBzObGFHvZqrj5HUgOw0Eu7LslIBZ9Avaf/orADc84V8Fb4rHzbgyIv675KMbwz5UI/cXrF+AuoVgaIlkx2LxrZpUliTCJZ9FTm3oEYm+dWlqpBRVG96W7PtI117sF5UBgFj8aLx8xGtrOJlbuRRM3h+HWg1oc+Lf/BYjl9f7NRbaLaf+r9RFE7wrovISF1o9pqr0WtzZJ/mfdB3OwPI8ZSFsCGLa4/DZSRE52g91FChvSkvGpL2R47LzN66pSx7AvwfkZzOWcS6XHftdswCZH+FwnBMoQdzApj3MR1NMTQJIMwjMEcY1Z+qfMPduj7dj3PiXKuW1mi52fvaLpqfH6ApIJp6xYU5rzcAG5WDkDwwjhuIuvx7ASfM1hRHuGPq5uaim1lrBTA8IPfvwtjttKutcGQiZD7vhqXceaCg21VWUs6PoV7ICrwHINa5IHHbanYjqGpTX/tFkiYIY2IorsxoVPZjrtExOoqdtselNQfabcZJSWb/5lAI+Bv1/yzJL6hOkvnDri3SJGRTp+sHALAwEgMO2HOf/jub+0l9c5jgVP+e7n5XJ22IW2/+pzGiK2CX9gv7VTZntCoCOeHF9KMKdmmKNtfrmgjoj0MWWbVKEwZodif1u5/4QY4bk4CZTjbmMHFssZw0I1QenX9gALNVCyc4i5DaUK6os9aAsHgNrPytj8Ic/LoHV5FEeltysFjO1KaNBIJICPFFqClM/kvlFNvRHdJTiuNTi5d0YL/KWnZOSBjNNQVTeME6PAYBTSZHWsQT0b9c7k55hI+vSYDnxuem9jwaNIPizYbv1eOJuDQmNWqRbWX3euRHPRRElUgDgO/Bjzh6yyIAJa7f4BqJYC03xxdITcBLhHsXM+pAPLuZwt8zMaE72UWHG4pv+Fld2OMU4XBVZmgVYUR2zLpP5G4fe8W8whKQbylleAU8GkYuKBhBzWfhqZTwqh3OEpIvx0YhYk7mG97ZxqS5dqUU1TwcCb84g027/tlV09sEtz+zM7cgvNSYn0lAcFXjDSOm3lvVchLGXhvotXw4wvBXb6hJBXC456HaWYNyI75iSnciiyLnjvtKySj8GxsixrCndp8mQ0rLdL0eeyb+zQu1PLsHvyWvs1+rtPJYbSx1TCus0JPJbKvFLBjrroar4NqahOSYuDqAjRqYbyzRrt3xQXMBrPou39LTYoMdNBBYIYA1+8oNdjJBfMDhij2S7/AIIAmrF0kspvsom/S18e0TIsq0jQm0I35HB+6gRXpqJOyGAhnKqesric8gmS3Ry2utA9xe4M84sTo7BM/3bzu+ZGVxjHBwhxJs4ZYALhwWSJTY8mHBgkHCjFAG8wgNfg76kq2TvSpNq84zZLaqBc3He8p31UrLhmnw78ax7dJNfjHYHw15hpN6VS309SlsoCLDpkvvrBTG0UsfPP9/qVz4Ds39rAr7UAgav3fmfFhLob7flmToT45g2Ync6zb6lNgk5cZBLqGirpQ5i7RZnr6sThf4B1h7d7NW/wu2j95yJMltXMun7AA7tH8eL4joN3qIT/5Joh+itndv51Zt+ZuOlwVAcep4cCQSTYHoyZq9E93YBw/r5umz1w7P4qSpBhM2oIwrmw1+GqFpRdqeOFJHeIhDx9kidDnZ22k1Is6xm2NHA9Kush1jW7CPZ4g2Jdgrey9d9f1N+IxUxoi65jH0x65rNSkCMZvGAw4yOpPXaU3q29F3eAJ2/5d/YuS4kyhrBL26VhK/moDQ00vzw0NHea96dzPR6zAcZHmpy+tPwz2hQcO0awRh8XfBmC/LLnK/6ntHUSNQfvbl509pld5HJZfCkJHeClSaCK5WCr5J6FYYy+/Bgw54sSAglOT074Z4xIn39//KExiNG5hTRZTC0hoPRPFd34Pcg5kkdqBgz+h+uLR5vWiTPgi5MhPFbjC0VsXXmSwiE71mx/YonJfnLPs++pZgzDsdB1VtEG6eSgEgipf15WpFx0JBuqLqSYuX33dNU9QdXpxTUkGjT4nmSfUCVgHbosNl11maukR2bKWxT5saf65nBLycOMaOXCA8gbQaJ2zjqU3Vu/YERUm7AcwgIYN7rGj+sWinkKuT2ArBTrtSK5kwLUcXnk2Ao+gAGlUMNroojMO9bWzzs5H3dR/WQq2znM3hEC4vlBCUzDhcK8zwGXsoESzRlCNaHkFrk7oy2HfJBJaiOJToRKm9hcao1n+Rvonm71NosyGnODLz+Db2/yzT5owp0HjyO8biwivyQhyew6IXIBWSAFxgd1EvKv6c+Utri8N/7FT9zGCSE9Qgthuslbx9mhAXEzM1bWXb5neLQJNz9eQmJVwCh9AcqiaT50/DASl3XdmW2W+hsw/UmKoKI1NhhCqY1NpYbcCl3MKnGlZnO4PBhBPiEXTaqdEt8pAKrGYlgYNTuRP451nTKGDsG/BGhYM7xMAm1XMYezzt0ikI4buj4OalPxaXlNXHKIx0blVIFtOZGmIkUdWPvdgoLV6KT+M73PG4FQrzD2V2cSUkoIBBNA8JfSPfcnfnypLU/qiX7XdWHAerIpo4/WIpgxOOXhSvyWWQAmvOi24HB7Lo86BInLYoqGBZeVBlduu+m2ozHsuwMPc72TZXicaZgPoAVqOFihaj8n90P4yhdKTiZH/XCg6l7GoI6p2ymhMKmSR+wasDOT5i0r9O1ujh3LD9SFZz5DNIM+vXvt5lD68nuILSdwXC8PWujkA+bvderdSVZ6+HFwv1PXwUXFVvhIw2KwsPfnvY9/9TKHFWbMJd3B/331g2wy3w6v6oPbJ4qKT3L5WsNvMViy4p5lY5dLVGcM6qy/FdgCd41tjWZZ120hD9PN7TwdA8HDZUnL3YFZvOEO5fJiXFWC3mUrf5ZOUeP9+t3waGKD4oovP/3RMvFryg6/O41m43J2VasGhSEzf/5Q9GtsVyD4jEqIm75kZox/Gu8b4mbmP0cxz2eEHidms2boX1tuExOkU2vPcMnAAYMldNrW7k9qZ//lIXd1a7MQYfpBTJlkZAp/3IRCeUtHB8N4vhplwI5fiaFLHgMUrecacHbUefbiDo+7wVhEu9IxPgRi1KO9Yf/uSikwdO3CT64nsFFjK18XL5ZRFtbPYkRd55RnAZtXJ7I7UCg2ZqtpDwv2DgDTZMbpjqF1AhdDU2+8F7ybkd+LX8MbabQ9nPfOG4FL6Vm0AEbBYJgpK/+PHmrhEtTACa9dntCQzzm1u1Q6SZJLMrq4IFbQM1KBQu48IszFm+3b5zDLxnppQ71jCnvrIqhSRxkJF8qCQtsUjjPyPXiwyFC7kr2NV8Mc+qYn4gfPAZSoS733PqUoVQIGe027TrLHSg2omav3ExoPAkGeRYQ8nNoC0QHyrEXd7UGNskhkq1gvC+Teg8PUD/FIj4RidjaUtLn6lLad/o61ftCVlgnTFkz069zizsiOnJL4Q/c03oR94L0huXDMSUDR15Jxxi/JiLRRIUomcRRqPWU3lMjQNQ4UnezvsDAWD9Boh/uigJVN5cePR6ZMYvgo22I/7WjUzwz9mqDH0PPRChye1cLvFRqmHP9TzIUcYEzIHbr2u7TPcbox1RPnKvHqcb3IIASOD/qiwL1Zm165yuhv7oaUvU6PNhdcKGGHXqV6dkcCLfi9m9yntG4OPyesCRbxotEtm1FMR8g4qeKuUJ75CvW801ektdRNWGUbLCH9U82CGNwnXDbLNc10/KiMbj0VNN3ardwLU53jHGsmMnH/YKzBf3P2A2nKj59RM0wkzZAPrKTJ4sS6dbf17FOBIaELzyxNCD9frXDxFUBAIHOe7g1Jf0iaBAAbieN7ZdKAayVBFp1pS/2ZLUi71rSbX8ErzwIya3MIJMFwHtnVh8C8RZI30TYkEFYm7J2IxKyZpQxPGVNW/a81mpmhgs3zlZaqCPW4hMCD4HbgcbSDi7W5drfXgEM1moNEV+59qqqJ8VnR3N32vOd8A329RXB3nye0s8F4baA+pvXpzsUJSaMC8HDvFvt6olUHmrIb2JErvBmG2bqtAJzNPmA8aa8eOrI7hxQaQ7rSy2pn73Tkqj2ZLnWWPdaiMbcppPodLz9QkxYalvTpcce93P167/u8Kxv9vNDwI3V0g+Wf+z3Fgk5dkQZQCI2niKzknIPh0jYLUMWnhv4+WAhHbejPG6cjpAtBAtzUgNa7Myc+6+M3cPm3YflFT2vIJ/ARc2926qmRKqIavaM0+OZTk3qgEzWXdC9Dp494/h/QGgJHB08oIRHmaaTO3H9wcfGW30meaR3WwFhEDJ6MGVLOlkXZoemYZvZUBKNNW7tLyuiZobr2xhciXOUUH+TJY/bxykaTkZAaHRu4wtHfOv+MZokO4n+57GUx/k/VRoPadUNfCmlgMJg2LTc21aMaZx26jXBNUXah5VuTixRXB+dsSSrGgZd0uXlwXElUhW8SmkdwJssHGL1MtPB+7L5ifpdjEf1yRRCqozE/d4bL+1udbAnG/71SkcRYMpKDJxfknKZ4isZ8RMbt6IPqimwvO3Xu9x5qGAemZ2aH4uxgwZGrBsVojKXG+KlVGpERMsshXptJPQO+o0MgIkowJo9MHzxx1mbkU+J05BPQ2dbR1opxYF6ADdRZ2Bn5JWNF5G57LIfksg9z508EKNqnVJzuhS38T7fP6fG78967icr4brmr46Orvc+IyCXmzB1idcdl8b5qqz8EmsZr0hh3rUyVLjjf6A5B1uy5UlfViaKW7grd0O/XMZ23cfOb6o8sCYzFL4P8PjZXavXvD5ZzCTlDidVVD49/1o7jDCViVosPa6nwKPKV57bp1iQBsy+l2UH8z1tfmuBf8OyK/oXW08ToD+wCeksQgq1v8JPunBANNnIVlT/7UwQxwEYAs0nu/cH5ka7QujnkuBAeZvMcZ44Kes52x5aeoQNKQFUaFi3cndaAYzoX8AW178KlL10cLcTAswPKcJFPvaewUt9LibRSdZTKpdALkyHs+ZwzxqISrOwR0LbC9DGW//CDIERjigXWMIXr/Z2vfcMqaHxe1Qw+YW7ykMKP/LUxaCjxEseZ8VSBJn6ieocuNTb8zeWPY3hIg/K17Rgh+ylHX0gQzTdjsCmR3mckQ4XDBIo+JdTy+rFQ6OHIsPaLt3QqrwG9j5fpw61dotrQnfuabK3KRJt6UpltG3mAzyX3YW817osuimKQyCD92JlUjHZasx6odMqpc29cYiCkBspmlTwM2E6LWGWAgr9X3kWCZ2KZm4226VAs1kHlAsqQyVFmGBhD/jsDA1u1SCzxuKzVkxfqmtz6xEMWNMEMhrSSmQt2JBYMSde5quqCSlYiQIpk9hLnW/Q+j16htfvJl5FtHRFwu1eli8WR+kT6RFLPz9pY8UeBtPZWUEnXukwWzGirfM47JphEo/sS6aGL3QOeAeOsLFTgnGCXJNFASKXVLMmQ8P2xYPcloclPExsRCFrKLzs4YQCN0J+/PwNflETVnDP5vjEt8kMXgm+vxxxLq09yGPEx2d4zGTRJdTgoPDp/K8OesAoUAd0cUQVQNV/qXcnO4uAVV+VToq0DKgX6aweWRBKq5/7i8kXh0+XGV657ZMqRS8Eo28/fe38bevrw3oSw/BBiP5Qdq31cAtoNxFjhOJxbN9CuPLXIIDpYMDjRHUkba2QsGaiSzCuP6RriEHGPUWySg948fuUFm7PA56+QnAv/DD/SVOXRWaJnMl7a5NVQTIQqHjywaA53g/C8I4gFMoV8EmN+uTbdbpEsHR8A4Tz1hSzIWrjHy+knqMQc3C3qb53cvtrY9DwyDsfUJvj48FathGcnXhusu2iDPxu6DT27P4t2HHCSg8yR/dv6vSXx93Fpo2Nyzd6LDOzLvjBaBkhzFyECcbbTnwZYphUveUFJQY9C+ymbmkUk7CNLYpMIwt6tySZk0D9Rlk86zPuHaj2cjjBCNwI9qeVR7UDQ5AS4v+6GPSL89eltAdf5yDKRdN21KCPkhbjo8OuoBcbGi8sDQL2QLxOnYyXtgAVZ9ForBiIjfZEERUZgbcMkEH3LZvJ30/wG/z/jVJPo01AympWPTkHn12DdQrdheG2619ufbOVP6RPkG0j5W7SrpFuBf8aT16a5fQm5YVcN/YpCaX5ZUsUHjVNx1eM16yjpSBKC75ANuj2yD8eQuNPH6SsSWRQFRSZk9xA3051Y6HxUgqfQHYKJQT+jrkYIUf+xU6R9m69MNX/Fl+jw4rbFv1YUfNOM47VwQuX8M0OLpqq9Kdk9kg/jnfBvg35jvlclONiBN+0UqYba0DUHwELPCt/Zkgy+YV0RXrI8zAkof9l2ZEZq3zlgRoRbX7qYHdl5rdtfN0rbIqmurO9FqaTOFw4aY1A5uos8KxGdf/ZgUILd/cCZNqz0YGS6L1Oy/a6RGsbMkLrKJ4pIjsWzeJ7LgTa/AO/vYMc2uq/3/+bjNBtMchL7KlJtYNM7bKaxiB14T+2IkgF1rffq6CK/+jgeeLq+SpDtA62og4qNwVqfNZZM0dNL3G9Uq5q/Z0OgZcNGLGVns+WGRgLX++nhC6G7pWDXaIphlGdRjs5r9kgEyv8Mk3FHT0NAWM52hSkK1DrPPaazA0MqdmwfXb0iqp5gmW2CGomo5zkfAPRpv11fxHZJnEdBvpznH6HCObvnoeAhReovc1aE8e5T2AjW4zDH5LfBA8H6H4iUpcLbX7MlBGXlD3Z0eKIJkfJsWhTpyTQ31cu5YF+6C5U0A1ydajqW141HpnegXjHXSGFVwcsQp1qPYrzRbqIbPEJPd/JuulhCQgYzQRbOAaZxcqbQFf9WuTGTb7dAl/0igKaKKpwlERlr1tqD6VokLCq0xyqxaWiJ6KAlmCXW2jQ6lIBNCcOkkPGG8PJotcxWsft8UDbSvVnI+jjRfT24ltLmWlDcc2zCvKhnZCgZFLBpcZ7BVY5OAVMKWWIRwZ3MUVgwH5azlXdEVn6C6OamHi8ck1V4QfmZZ9Ino4nwQe29fpxgGT2Iw0SWgsZTnU5V+6yotCzZebs3+9tvPPekNsZCxPHGjpI/Ionx4ZkHYNbG/Jb00H135XBTmlymCK7sRbNiuaaMpl1s36XuYbcyXX/HcDdZQmWFaEVnha/9xJGWDDNP/s0OhbbBaPyjEm8W7P299QaxCBQLa1WKdn96OePdRuj6S9KiPwVs6qbT3sSSxk6Y95bQRX2D++pZ2+4XcwlZiMocOujq6x85BunZigeHAjplPQL/YeZOeZLDm7a6LFz+9WI9L3Gi/gvT00r0XWr8Y5dpnQ4vIrR4CC0SLq3J8LVsO4L9iFtQ+rctLrUzVRNl46gujnzzlkBrgClIW3ULEkEb0jCY9eK/9r1iSnQ/HEqV5Sk0thMQwIOKMWesICK0gTwhL/mCZYHRm9ddMRcaQuwustEx7wGO/fWumkPZapfo0wBW8AAH6VqYh/H3Vn/wOMTa1SNCjCsQBygAzT4DvO4Ez8A8QJTt6bHmh4GdL9qPxTmeTuWzY0esGdIEcbVeOCXY7kQzaVfCUB19YsF+h8kWFHYSJq3T2/Bt/Ym5Q8zMCmsJ8AdchRMvq8APn6gbnmTZ/fMvc59ucrSuRh4La0bT2iXI/UlMQyvxwfGy4CKODfoqwpfndO6ll4zLmEnKHn+dBnr/OOlJw2+L4Ko8qYFa8MWyxI4dCnVMZqJqPg5NjU5qnMGAkDd36DF6Sxc+kO3TCbjwrZRwTIF+AXYcJFQy8+U6s5RoxtVlF+X5vmpCGpoXYIKEzJDL0ev0s2/GZWclWZ5Lp/dhxaUaknWWtfw2xLgOBaUWHFZLRsjzLF3of7x90FCLkjaxRL7pvnIwH9DhV2bDQo2HEqJ5A9axKdQUfaBpg7qxeBpm0WrvDZ9XqrWOr4//0QVDcmAmHdmPTtL3Ap9pOJUwK7V86PUp9ft9DznGXN+MWqFAccgh7SO6nprdZsPZi7KFlXIGGdb8Y15VjO1VWRrifh6V5cuMxP1AvlxLq97y5RDnIlUuaZeKcnkiTgkykXGXSNaAT0smQZ/ArvVCvW8DuldRZsrRgRQ1hYsOwDSmKDmUTpZNjWA75RRu6Cix/k12X6gWsSvViDMQhiNjo4TY6T79i8U3rFnFPnn/6fX1KpviqUvNN0V5Pvsmws0D4TOsMThQqBqQEO/gKjCW2913pgix8CtUYCi/16gmIBO5Uq5ANExbKoIdS/ch1lTSDDE6l4fjr1TG9GlW7grGIziXo6SkZUesxD+DvpG5uUoJ5P6kydwyeEjzA5drnRf5n2BigWKYpFVqAn7a0U9+VvHKfcR+ylRzBGlF4NFlApZYoJCvo5j8pjTF4fc0e5whDlwbwjesbXP1UmOTRq3XDXl1xvynRJTZSd+Z7izR4nWp/gO4A24a+p7II+8mbjfWjPCLBOm09R/ZEjQahp9PVnZZX339soEsXuezSQHjY5tc8TFJW5VRCJ8XfyjdPWGMezbKKIQmm3DO97fJz402g6zlZHR0R84a3LKz7Pu0kJcDRFOmBCzThSwEVo05GzjYWpd1kf2WvtO4YnqTuyHmiBV3KmC4zHwkzdg+T4E1liLefX9TTIl+Rh1RTPT+Z2e6VywVro5BkSbNZH0Gfn2ENLBwWB3TNk5S9vDlbkdKPW9RM56MiqBBScwZkf+B1ucBFngbB8FHXulVM/vI5svQSGhO2TdxkzObInmJ5g/8T6v4dZyk8kHTIP/Hibsj2qO8CokLtWjYQnWTRNb5MalsaqjnwlNCjmji2oFewI3fIYRr5oaAHIOVIV5a/mKNuiM/jvSSk476jbO3L01ZwBxx81LhhOWzfPniqBxeAWHFnw/62+5SNTfFZYOe1l0DwfRDkSR4Qx5WUwM/xONXUn03W/sUbE8ReRi2o+cwozxo0wEUPDB/xRIZCcZPgGhA2ylLvyg23SjA4gUXs/A+RAE7bbIWK+UodKMhGiytinVttqqlU4foN8AmrCdd+L19JrrUhFIGixvEmxr6VFW13OilCQIaMy1TwR7P3Av6PMd2KIQhqDceQ79jX5i1Pf2p1UVmHQ0kXagF70wbX1VnOHU3vWUob5CIsAFJvht+BuhyInM8qBZ5n4TXtHw1tRnYP9/LMjikMXF14kVGOWXbAp65YnBwAVjCe9QGYe/LJNWYD3frVx6ZJCkO5j236982WE9h3ztSO9lCUxWkNgyofKPedAxZbnfjsWcN819DPr6dh8YDIKEEgKKrjr3THe5Qyi9GlYKyg8zhfDdFMu+TdGL1HpXUD4qLt4+3X6aIIRbSQw4XPSyEr1dxFZxCqZjTX3/lJNo6QCBErkmOECk5AVYMTZ/MKhNW30xVSC9SsYnBQLSYcd3FtEWAclzUujCRiEMtEX2Bp1Xwam3pM6Jt36KQutDT9MLcA3pnFF5Xy/KeGz3VCuvgZ7UFIKCGHgZsnGEWrMQ4cpcT4qAiXt4CLZGu+43GaDY/Y5hdhIm53OQHbQWWd+Ji+9bb4xu1qGqtWve2yGOO8tMI4YFKS3ekCoiccpt5HjtBuuwYifLWo9TAP2BcgXMWGSGbiNlgiAFek/Jx4G9Y4Y1OgYt/GhvjHPcsUkx45W4ir7WnNPL7QLA87v/ad+S3LdyuC8lw4MKxn/XmG1qMMbjU8dn2Qx7ULUMK8Wswxsb38w4gX+KTMJnEGDJ/JeVxGWBihmU3ggyMPfC2OEP0M7gib6NFBzccSn4aqiC03AUFt8vGTzVPOxwpAadH8FaY/aR2E8m0gEXI1K8V5F/ZXAP+xT43d5plqzoCBZN+ZWtBIxqC85AoHamD6NwPdFnOFSTHR3LdukXV5yky2qyOCUsHiCk+boh2japh6eJ0rSJ4ypfgq3+Nmv3AtYCl8TwjeIPntGvUqd3tFhPKGWG6BAY+gy90LBLPtpc+E/RnImi++gtbzwGu6j3adukOuObD/9+PVZaHrGdg7Wx+P0qKjnkRSXzoThVUFN92q/RmsYywpQx8Qq2bu9WmbJ3F25EGCy3dFD7sNXErI43QYDDC+O66V4rlfYHxLhGYslgXmEGe7P8M7vDmT/TtWGQcEwqWQkAL063iHTyc3/aW7xIDaO4Yu3ZKYEzc1P0gb++sdduAQWGQtSVjWeZvU8JmZs4bvV2Nv2yR2WJnkJifK9PWJv4gbqsBoKBFng4YsV5l3iE6ARzXH8UuuT8sZ4uz4HAF2w3YSnUTP+lqU1w7RWCX4Oa5Fg7i6LGSfrfSgrwyE+JWS2CeH1L5SYIq5VqxOaRieR1OvHq+vw2lxJRiewpWE9hDhjdUysPqyrENOWwfTq+of34sBEHOmYnQA+aurbXHdvL+STIhU+9Ewlj7IXfbXx8HDzqvwBEB7fxgfDnsw6f2QpQwNeulljg6C7j5V3L0sdbeaod+jlEBzqbOlOr624H9Mrjf4ogWACKFWwU1DWOM70aHaNj8+cooic9bEkvekyBpJ7RxFFkRkY4o98xh6eUUvYMc00JJA1VjhWKlTKmoTP3WrZ2u9wfvyLSqkcANfu1nCSPYxa/TgOUZ3vORr146uEHr+RKTBlMRbbXuV/mOqe9HaCEv8ewTRjU1iR6p6tRAy4DetS2104etKDmw+6X7pWBW6OpqI1wcKsINplFpDyrcccK9x42jKFlSNaOpgKPZGkgSi/+58c7tPZQ5Dw8H8bu/lU3vn5q5ZAW0Fx7VbIaZ0nkblwH3RaHNG54N3DPtZPhKBbf+VDBNiCWdkqBci1zTnbj00ghZ8NxRIIzgWsoxPGK6mpILaACS0cPpqEFkoDwSomgGo+vnshJQG/sIfrfSTiocCDhjrvquwBzPU1J3VUhaTsVzNTmnKT/U2yDJRtiVphtVDwSnDB5JExBUDoQduEtZ47G36nC+5vm8Ms0xnD5MAcrd0G4uXCH9bXx17WeTiO+kAPBUa3EEiuO61q+e4L1kekQpcRym8LRlNq6hr+67EW/pS+q0+/taVhvLqYAMCXucrqk2pcVs+4GmuTG8zDVGskBg2Ie4Syu01POHtsy+FwcFznTXUHUMZmtYaUBn9RVYZDT4Bjyk6KY+91eh85lnVC+Rl1AArzwVzvXHg02WwxetrL2loxjPu3TVR00R4pRH5Vndg7i78zAdgyJnylVaHEDnvZRHp2jtAKAAK//uGcmOHJhNN5T1vHuxQiIK6dhnu2vvZfoO8uMFaOHvkBgSXgJwUX8LFBvDZZu7N0SPgEAcZt1SaJmDZXOlgZrfpMLf/HMG8eYyMerDI/w1YnDYYRrZqEwX2VNMjcwPDN4wUBnqu4mwm+vKqmVwS9BizR/xDRmhBXZ6kIrmCxSQEgdV4vDQgjGAFuEqvKjmpYMUDz5G5wOROQQ+wHvfTk8ZqaN2Jzit0zRfeAb38clzhCnxlDku+X6YlHxXxu8M6SAZhdFIM7fBQIiuimoAzKtc6fMfk1naM+93gOCLOnqk848aexXkCSOp7hJYZ/wjfyL6mRmtccIf5vmpoRzqr/0srOtzra1LkkkRziu8O5uxmjPUxt+L1GLwGHAre1Qxw27ijnWzd6WWMNqFx0MS8vO8wsdcNaCMQLgoLDjwFEh8XGtbGQLv49P6qWEfIn21KLoHQjZTrs5iPyZxoceQU2IdQ3GcLE9h0CKoTT7oF6yzP8Isi8Gl1x3v9AJtkbAXcqXwOwVhNzCgfOQ8xwYucl7rGWsasph4oJ+EncosRXtthSggQcqJyJT1Ik9yS+Z4IGcS3HgMiK1IBAcy857fwUq2HKL8szEmfPo/BgD/m/m4dL+2aHO7cDANLUVts0e/yiExS0p1TumMWAnHw27txaqBIZyAIbUxNmDIkHnwrmQFbTmQSXeuFe/FuBmPGRv+lmOgoPm4mZ+QoFYyv8JwVNtSWbNcjcjfgLiMIx8X62NiRmuA6NFtqGWP+tSO7A06nOiAt+v4HE0laaAq5jeqS0pRvWQaRySBDa+oPFBRvRFy9fu1nVF7CMYGZkcuVbhyvcV19iAyvlAWg6ubnupnrUHE7UmDgOvow4IMelybXvaZjEWORVTihE1j7gD7vm5Yun1ZboGgcKoSZzj8sDnQQ4bRi4kVEIkvFXeQI6pBOvKnjYpzk6lAbu1UUPwDBueAeinMLO+6B2HW3soFMtyVJQfoQaI1heE6Bt3xdztsGlxMykotqjnS9qPTGKmBydr+tM359Ex6BGeoWKnG9avDmlGMgaDHL2cy0art646JOM8eJDYZl4iJUPwscHQcE8lJ9vubYXKoDoRumQzv8k+NThGmqpX/ywkPg+ynGh7sGujolVbR9roqOA1Ph0QMISycQP4OrWKgahnK75xg8TiBAmYbgH+TA5NZcXHvffq3xlc9UUN1ona3WK2di9KAujeyIqqlbJik89ZP/fPnKIBaNOJHIMmHeI9yxQQZ5s6w/hGZMShwdoXDot4CDu1pQllejulAGdhBIfqmt4ZebYW9cIXEJmBbIXPm/ilKO0Xm3Urv5eAt3etZHuciN87dEnmkgou/nYp1hPPgVOldH12G4FIPsiMPA7exdkzkji7B/QcDjLezexk6/T81nUplz8ak6QsxrUS9krxKPaSpzXdux+Ki8n08rOu//afU9IxpjJ1AgiFDBVa4KWptanscrzVpKIWc5d3h1Jb7E1lGJ8fqCGWqHzq6o/VfuqvXBv5VbThA24eJlnFQuRNiTzu5AIz647i7yKDIZCtOJ3j50/Sonav3r0YiZ2l54WPKWq2GY+qdGrRSblGOxDCZNEEW0PqCct30UDv4vxBNPlMkpdQOhn2G2dqf+p2r/KT/qYjSJskPwtEERKT1qC4JZRhGQXyylJmKjETfqK+E+V5l06zJkEwCV/MMv/2VQiQs8l+aZCy9r469C3dsZo9wxkafZedpxGmNtMOw45R7hzksZYKNSaHdtJ19WCrDsQZKJw62OqLk6dyKJ2654iIbLV65Sa3cW0F/nV0f++Q5Gho/0h2SgvhJgWsJAjmosLcGmg+HM6ZyrOZ/G1d4xiJkuLEqy6WmlsUW6j2EA1n72fmK7AcOcewA8uSxNJVXVYAkE82CE+aYdmFWtp7Uy2cOiHtHT64oJqA7vEV25Wf3sed3tTgpPSx7KV2B7CDlKFvUOVHSV2i6ufp0IWT+8Z0+GEDCi9mbdOST6uN6fXKuF+V8P8xNWKTI92IKzoeqOSpecz+OU3PI/6SdPUGniQPDMxQSYIpJLtB/uARLp6D4JiLgrLBh5+lJLAi+IkAQO1Kcxl6/UTpotpsk5Uu8rWYCjLaAuHS33ZPgjtlj1wwiE34PdHYshzXt7iQQfM5QupZQ7HmWOl5pjczypfOJWQMz8KXhrhrVW1f+14kNcnXuCxwrOgJqFGhNJrz7cXrEC8XrOPtE5mxcFNiyF/M5Hy7/i/OYNi8DYWLArLQYzbn81A7+w1YUKda718dcyXqsC9idahzt5nNDg3V3XBbFqQjzn7d12wP6nHz0wEKY6SlAz2znPKDwNF7hJ4SMV/uI9dfbnmKXf61Ny9VPRL9S+4Zen5xh44s6bXqlVtMDG/j3X0ZEWeSczNpJfvhudvue1Bz+BDQjckoCJMoJB5W6RaS4BQ7Z9yLoZ43LhDpIH01dOC1YacfwFUz8lFHNXl84RYM8uG8nyf2AneHm8H9p1SX1aE1JSVfU1Xk5jyH5mknG1YCnXMZ1sDKl3XV5pivtW+QvH3NoNT2kmEXTm7hvIQsMqpA8mg3reLEgNBkG+0AZYguRDvF5eGSHbqkdRxmF+yYSUHDTzt4K/AzoeWJ8vKPThWOp9StmnC2cbXZw1qojpkcHjnnDlNkh4d+J5DGQbFbx5TA2r80W20qWwgat9N/3aHe4eC6wph1+BKTf9vdSVeNAp0qcRB6tTUUtkPbId9w4t941/7Xk0uP5GZo3tgK3BLc3nGAMAXl7vKLtNKjegs9j+YfH0JmuV7hsvGpgFUwIkA2e3LVIP81J2bPOATOAip7iypj9ARJ4Xmbi1p2qa1TdQ0iWw3LJK+GGzLOSr+hfs9ppTX0xGSf7rRgK2qirnZOo0Xuu3D8JWBOsuYd1R/LTCpQBv/LgFZ52aotmS6V5MWnAlbtBIKXSXqgh3xJia02GssBF4Qozpet+1nr9BTdo6CBb4umjcykG+SoLrDQNEB0QMT8Jqu7LSu6iby2TWSHv+UX1J5sNLDQDnn83aOiQIk21Haeo+qWTEEcPCmf3KY5gwzs8HY7//yk0S/C9+ZGdJl7YEL8YKB7tHE/+p25dEy1wHJ6Izrd4i2dFUGzxzUBS8rYpbvgogrYbHWFdPYN2C8vNZkusd3+Y93xJnxBllPrqf4QA5bJJiodPW/sHoBWBFY2Bl3A3ifs/Vnw8X06TaSA4/zr+f0FpDG2hqQdvMB0MzOOQbZ26m2r/t+Sq6uo0wgDwmy7xSoW/EgS3B6E0aAjPHq+rBlObTLEQ+HYbEW5bjkzSW7B/AoC537OX8woOHv5fs/jmyBRQaT6rRzpKAE4eAORFxBxIuYDSBw2T6rvwkx1XRKz0afSE9Kc/dlk8zbcSBjReqIsSsOZWG6Tt4Xq8zsz/1qu9vpqSW6vlT9p1iLzcJB7YKigf9ziQmT5qLCkd96382EhrVyYUm0/JS2qQaNm5p/kYc7EDJUqkgnTZllRDeIPla5/yZJG/SOvx0wxYXiFfBr7dLlMBB94nX3/AIrvJ/k4Mm5/OIvQpXB0RONCf5uAAXmrMd52rW3Wg6j6ySj+VOQUzkM1O1jiqMy9fPiF5OtFCeA4Kh4mT/t5GcrsjW2+nDGQN2uRAY557UEEHnz9Ns85hUdaLkESqcXssUYPCOTsOG0qRpOEwyX5oBlJBDB2yroQm9Wx6U8UEDYrh18YEIpsjHs9lDQ+ahVMIr8O+02BXY/044xlbDCfCQKSxk30u6vQiFBgCZbunydRRyLYSwUUuWnjjoihXTLpbODNb6OOCqlMD0Nz/Gh4Uo0/PDixir1HINSUbon0yk+1emF1Z2fWc1M4DpqUAdXsImchj14y9EVIhHuLOUf2V5SEYYFv7wsLh0Li93kap75qtYC4P30RFLCv45Q3Zn06OvLh0Rnh6PDu/L+oL89Q7rac9+iOsQGa3lI3sVN/NDrl7EjXpb2tn0tad3ta0lOo0pJi33/BifIVhmdRbQ+0l7WHU32QZfs1M1TQj2HZOO3LPm8fyc8zm3LbK8+kwL8XLtUPmfYXWqTtHcevcT1wJ28mhmKHIylKNWyARupWWMYaBuaDmBzBIT/zjTiMyI/bxyRvSPf1v+gXtgmuogSx4vtmzgulWKcMvAP3YiUR2p93Lbo9LiYRWz5/nS5+weWDNN0CqPL5oZxwOgKRR7vhyBR5OIKspM5rkuNwdvYwsGQ5oKxq1/gLpsSGkpJugV0XUheDtO3tJ1GBfkU94HJ0HYIOZS1Q8i4pszBh/G7GxDrTPG/NW1ugGFNkmP926zhDxjZgmSeqvFS5J9SF5DfxqKg42OeJJcHNC/UstzDKWlR9H6cJkCHHPpMZefA/vWnodMX8F0abA8gPTZUgdBxdePJAicb2VCqNr4S5ObZ5V9KMFEm0GmiQRn4JIHpD6h71lvvONHCe0wp56Pz48W8DWE2DSAQAKHFOQbg+15nX6ZrmBIm+/bjJX+F69zhUymJ2CpSsU1Glwf3x0Gpd8saGc0w74ZtgC+aAFm8HIpLe5Oim4JqAN8Vm7K+ylWoeGo3Sa2t9y6qOA/uglWmlEO4BSzmyAGRqZmlZCVzygncrk5LsYmto5rmBMeYOysOxsB9HJmSMhXOOkrvj+OqQeq/Z4TvGjNaLesIgbb9m+trBC6P2SKYhnCslKQMP8aL4ZMJAdVREGgskHI5U2hNLsDJW2oNt1ZOvXrSDbTb5Uo9fluwWiAyjxzgxqPyrZm6DEucqbG9k/CFo52Dm4ZaRhlMxLM9C0/ly0DDSZO7/jSyAOvMRIfjTE7zf0hsVVfy9zO0FC2FibZOeXOYGghL/GZS3oQdYSSnK5wVCzkNYHz5XScyIiUGd2jEp+1qBnfwTOVIZE6P6iyPAMy5n7MIoLtkAotM3EBelSpQUbzsrsGdf/XBvEjxV4yllZYxo+UXoTteHlaMPO1/n2YvwzydTJ71hokL3wD4LKDAvlr6WGBBvU5pKgE4bniRNk4Cf/Xk/bqZR5OHfpLnqthoJ3rcXInbgZz4dZj6s1QbLCe5K0ECbAhzbwSJhaHdggeWRM8iNndVb5wZlZ9mc50EpZwhNOYlVA9Ar5/1A7903ixXZLhVqcIodOYH77PKEsc1mMwxMizUafIpR1s97QeT/ATVmUFOZl/nl3wt18EATVDF2VEv0lnh6KYcvhUokrB6CgliMQkXHXMW4aRtAD6xfq/KqqAB8x54jjM72kwo8BAWSDMupBTNHKpQgcKbT/n+W/ThSJrhByeG8tr74bG/q9ugTiZqFDJnn997HkzdNuh7DhWPGN01SWMqmx3e95h2/YI4+8rSN8TdTXTMHuTyFKYvmq/teJ6E3ju0Q8VMVklpfVkw41JzpB7eBjvCp2uPJ91T2FIAynGTs3ZU8d2dN0ujRxcsc4U42Hgrn3xVFup6ige4yywgYUa/yXiiEz4TvrXhD31LrJRU2e5195WKO4kZh/I7zm6pmced+T+4epGl7eDh3CMUp713eDHSWY4KQyCUYHkMdMIeplKIHPWK1+YREt45aQDsKhkxY676010EQiyhKzUXXXXkPLbaMxn/vKNDAa76tvDPuJyxC93eUkXhOxe1DKyt88Clkz4vHXPqq37rz5YLgMa+eCG4egYNWXraqGeFJqld8QVv9e+zOmuOJVrQc0OpBXvzq1mD2GMm1+Qp3vqpAE8D5MpSXc7bmRwCYMQf+5uMP5mLibwqMWEp40YnDyBsgJ4jQxs/PkjiJjYeEMDzLP3+ytlk5D6uhUbEIePrnnOwGPzrjDEggdDbEk+aPLDpJprYg+suzYZZYHke9uCZ2oSUs6tDXOu2qJOfMlagP1CsM4QqvNM+BMkdJM4X7CZLgrP0RtybJbiopbNd306I5u2iyydrcA5Pq00viiCdeKihYRUrlxvb+D1TLEeV54GMuKKEGu3wbhXcLBUsYTh1EvD0Dms0NGvSvSUvbSUjBldLmB6lFhMBEW7bBa/2gyFuLCiVr2fbUVQwBi1oBLLbq/JqiaX6NscCpMg1jv1elqkDwRs5Ksd5iAM7BxpRwmND6NLIhB1GlOJZn16GLcfb+GF7YUIHkedhCMrdGjhJX6Q3JrCr1IOjPIJSupSsNwIgeLbUNZLFQT7MpFKAEQ5yxNXkLq8rRgPL+MOgYViQXEkdWPYdngk0zSaA1GdkPb+rT0E82m0ao+a68TYPO+S5NorYfWW25emdLQIyzOPi2G3adXHTbprisJFZXha9QJVMe9J/m15HVVD87i8ORhqgxDUuE8nu6YOE3q4x8RxfTb/xcqP4zAcxtAo6ly5wubwvp7zoHtUblLLZTX6dypgx/sud6fKTfnCnhVonUu8mluVgUtWXqBCvBigFXGP7pTOPTcy0zTm+FGeQFB2yIG/tirlzfJG+NdC5DaUtxb4wnGxAHPRIfF2p5tY9psLICvraIbiVbk/YCDKTQHBVmMdeAgZB02mPFd6R4Yc0y8ogDj7iwa35qDukEII1Gh1qosnbIKPUY21VexdJKbw2CZH9efTsBdM6I9hJsQRqKUM25JRCNzI5mC5akOB+LvKbKnQpFdBDdnS39nA/JXmG0UBAKqVIzvlYSmMfwARv5CJKAdRaFluAbhmpEOJz74Ei+Hfb4hKE6WNfWORDxWM0O7Mtc9irEcFZhx+W/o6oRjn5QN6HcJZADkprpCCbAgUb4wdaIci5nflXeU1L5Gtw8RtoRJDYgReAc3Smk9w3NawQMTuYLxqfnxsniwsOy2SokHcHduUo1TxVWEA/QxzmlKp5/asyLF3e9RROulxbtt9MZdvD9rDGT4nC4oG18SH770llCBKyz2TKjoyCkmC1hseLygdpm4muGREG9RxDVWM4BrzNtZkw/tsM/GvcyCM2qa12qV7jxpHkUTFVpPcR942z3rfabEkXMAdp+kRvXwsQ/ZdXrJ4hodf/umQ63ntLFhgLDzizNPWs+qtLvNa4wP0uvCcC/JT2Z3OZin4GNpZYXFkDwgKSi+m4QueB28K64sOeWEXyXEm9560TPFD8SnyVng9nJ05P14jqT/3MxFqYalCATqeFVYsMhggq/TYJ+123oTMmjUDMjfblPATgbFKNprrxyiCHOlvmGDBPIpUFrp5S2IyXKn/qI7ht4L8FSQQ1l2k4Pyc+UTyG7VaUaTHPCso03t2CTTZx5sr2BbJ5oSmsHCIRraeFr3YSiiQp7CpfexhMJrZaWWaEzu9VZHD1Twg0UAj4WsH17X51IMgyC+1r0+jq+BAQv/AYPmrkzQs6InkboDL4LymrSLdwViPdfOb9MalOcGa0n/+0EafBRZ+zo2wBspYFo70CcFKnJgqg/9pYSuGdSj+Vbx0HC/5WGVbtr2oriHT5476yF3wx6IiB7bG3HhsK2BGHrUH6OtVvtYFsfLw/8SUJaFflv54gpWv4zqNmYumhBXngJdp08ZHQ9osrMWlRf+609inJAuz3Q6zcRVaeRoYb1vcfiDB5xT2Fmoa/KOA/FNJM3EE8x1HnQvF+4O0L5rC4/i4TLeT06pT9QwlrZz3VXN7B/b/m+5OgHt/LUbRIer4CjzsuOdNrO1sI4xZTA64xgbKQ0rvmxSnBSNNI2JsSgbXvHnGa5KgXmHvUaDfUwQH3tV/cAAJ/+OZ5XPbOP/IJDNJfTv3ZCKno5Pi30UrIhiv0SwW7x7U/ehwhKjnWl9qAvrLbfuDuK0cyQ9Mbk054gQJV85pCaSt0WrcKnGLEaWmuYDfmGJ3MHEkQUlUMDkWxMgFKqPdF6FkFLtQkUdL80GypqGGgsb7sNhJYqJJH6vuD0XB2I+C6XH+KwKgJoEQxV5gygan1eoHWgfZUpeOm2Qux7fgdXEPmKd92+pDpzYnz66lHfY+sEh85Uivypnu8j/j5m0FbUHXeuRC2BxIvhos6V4F9lkWhzntIJ+iEB1vd66IerEkqJ35RMd51xKMJqOjQp9/Tuc93IVgeWlGrf/H3IKCWo4QygdUy26tOQghnPRJqEXojlQ8uxyMKssbkGippWuHiXTGk6LCkxKe30nm5CwgwDGDHtLYxxqUodglv6Z5yxJqGCcF+C3uaurVD2Uff3qIryFNN5eSr9FBekp60Lg3Ile5ngA5McNYFjZShbygIt5TqVg5gFLNkgH0DrF5/MBxr03XDxU3mY71CMrrirQwuWeSuxlVLzp3tXR65otdmcxDdQJT18YOkybg659p/ZdIUS41IjDNsXVJvEfYaLj4WMYH+lhLyUwy5f36G9sd30K1UXkIa4aTOZaT0q7ctIlN2dyl3mm9Hcn8ZH558EBFV8q1HofDDJftOd5qj7tZ0GHyotdaTFBHl9/OZvCp8w/mNuse0pqbjwLE/MVWgThrTtdt8srsfUHeVYZrY1qY/bzT2W9dGZV2qppzLs3pHSLq+lQgnmqXf+OR54OLAdrvAgn62PalkVYWUiCM+H+MgJ2vY9Ih95cabw2OMAgs6MlLhQuU9riqXNW4QxKXZswZsWVTrZVYLFuSoWejcvGr7zFRr/PKTbr1saYOP6bArlW4mxk5VEbuN+PP4FZiEKe6VbEAyVUuqYWlHxSqu8dYjWkL/t8eD17TEhzEoaJVsyptUedQpvehWrKRz4sXRItYT4HKaYVbwGnGk3+tjlPnIvXffGBQMjbx5dZN4IVrhh9B4lP2ZgaBS6IrNzze+17X4+LYFrXz2/Xgt6X0rmnm1GOpFEs0t5iwvmPybsKHRaQCZ49+y3LULq9mBrTj3gAIWN31bKd0v6G/3V0tnyp5qr/c6r4QXDCkh5u+qcYDemFBy4lW9c9Wvyf3xM3qj+EqIg9Iv99hxC9Bs3AX+E87CVYB8ndIdmtu5qsgFR9MoXUT348wa63Z2CMQ76Tu3wcCeC5V3j8adXWLGfDQhqTZxtABtY0WGmHDYJujiNI6jl1qgxSlWhoEPJfwcQo+tfceyGcPDwR5H7niStdx9HKiuk7b78KwtJUdD7XPGRDRexLV6NL2DnTes2HXYzpU9/gHyE+od9YoUbliCk523tU3dmZCKOn/TK7TvzqAYtjQJQfCKEe3E5sjUfzj/tHmzbHOSAYk+drV6vn0lEyBeUgD5ZNeFXYJtRxmZ2WgpeNJsKrd+s5ntS3zSTVuGb3C6J1K0EbQP/cf6XKsiQHLGq9+qJaCzPWsHlWP4Sd4mIXxkpIcrrAL+/7FKMVGNGxyOTMYwlnnA4bEHu3eT1JuZFfapqTmP0TdZVTubaxlxJiodP/Fmyp0NBqW6eEh2Uvog+pN0m6lASJMpkrwP2UOX8GkQ4rojoxvjuDlaRAkC8V7v6NnpQMQami+ZA3z+Wn47haKvX4Y5kx3v6YenEXZH0t66gvVDUdyKsU/vaE/LbwQ96OwLXi2F95i8wAAOP+BUhwdus+8Rdh/Vq4KJtLUIyrE4rPsPEi2HEFml4/xlSRm6HYEFIOR2lwlfnQw7h0CkgbQPY4crSHN86awKTC4fIW73mydjCwjLDg0Oa1+PARzkbCv1aGjKGAWjftKgeOIqjF9DKUaeu3/ItEA57OTp0j1/OOmH592031jRcQwj3GXv8vXlNpBl3c9rmsL2ALtn6o9kuADprlGXPfU6hU/USYVb5ZXwH+StaihVAg5vT0JJ68Zf39tUpV4yJ13b2CMJCBmliiWCtSISWiRgcPjGUbX/aahPHMcoyVWsoyDyASYtWTmnpeyatfIt+i3d9XGii3ifFddEyV7CE/j9IBWz5Bq5I9BZATwAHu6J6Or7+0xdSX8ljrP9st/zxJ1C9JlcCvADVkG5Zg/g2dfm5cacittXzFp5UiVY8oCHWFd0uuxxURSCj7HZb7dUGdNqqTP3z7tnga8GNjl8NNn80x+fhuJESU1H7QfoBzRy150COh3BJ4/8DZGzM+YtXMfjvzohDvSyPVpvpPYNfZJA8JTj3DOw1vfEnGWsUTWpGQnWoNGsbmuXKgsyPECjKn0x9xUxYPSlUUP5qGgvcTyIJyAANUORgMOx/MGMtrf1VOsAKx2cKQmLRlUitsL4TQ6De0Z7umE/eagU5E7+YjS9ABMZL/gkGms6qIDh+RkLPls4UQp1Ci+aS5n0olPDrFDDFSs1SlpNkAGqgxkP6Rql1ncRnZHwKFpBCestNe3ypO/Iv5c5uEp4/9TXnPATIhz/nVA6yHEtDKjspMtJc8kc2K2ETmJNJs9DPBgFDIh9RsquROMKskBkbAz45tRok81poP1P3MXdln42LUxz8bkWZzyBP0F+De42OuFVsr7ON4O44uJHzdcHps+NdXZRRP+x+wKHoe9VloL2kB1Jokn8v9Tab+KoyUVhTqb4M5lEr4HhSQp/OTjeuWkE/lJt0lImWkydyaNTKsGnod73ejf3pESvBF8RdJ5Rb7RVFsQnxSLhBGegTb5C2M0SIeIlt0XvQKe6uYW2tIt4mL1/yY0iq38PrMZiVX0hwyubsFY3IabiXyVE6VgOF2sCKFMNCI3tyoQN+E+4LY673zTB9ulscfzk2oV05jBi4Qz/RmV2no9xBMuP56D32Xt1zTZOIiyCK39ZPmJhEqz96a/6vh3WMDFl2S4r4cYj1+BmrZ+tw6zByDOWG07ZURlbmIUZJSxSNrlnpaj4MxE8Kf2U68oJbqZgHvTT08K/1wH7GZUtK4o9WD7V4MGtsZ2PUh6n5//u4/uSm1EfoqpqBBsLYqRFloW7lNFUfeUKc4kSo3iXHUu15yxpdb1FYFyQmbEkvAOOQGa3z7bX8W7N9B4UprVw5rXhp0RZnfVGopjX1XkE58Unr580xDT8h25LaskqJVFaG1tg6Xn11dzFenKLsdVHrvPqJ3z5SOoR7OW3TRXuWpL4kPH5+xgSHeVAnBTVcMn8cvS9ck/pGM3NS3hSOmQ0nW1A3YQyXUmUqTc9cV817Z3jh4jece6oD4tkT7BEwb5vnHirOc+nP3z+iAmLQb+ROgak60kWkgKeX5HwCjn3Zre77BQhIfXQcYYngUPITUEfP3/tanmBv5WF5drFGyWOaUTXJTS8MGInh20tjhrGrykJomJER7zGUxivnlBEHEfCefdqR2OppMbd2XV6xewvUInPauHf1+A0yWcKjM/bT7tu6iqaU3RJtOuzSV8wBiDTMMmN5AnYZtgzfUsJ5/UHQ/U2NXHknDzGZGLfmSf+znv9Nx41AZ0m9WRnIuIg1U7+Am8lO+1wcxhbUDqLuwKsbl32O4k9rbX5hyKh0A6e6meo216KhXvId5sj+rduKxO51S+fWLSFW5sSs9JD7f/EnIkIW0ehPv4heFPj86LzwTdSzY4AIWkafRz1htpNWHkyBOs6iDY997aZJDKQtIl6Yj8pnZSbvZ2VRFuux2oHRgXAkOKwhRROxu3BCfVJPxo7pK0y7MazUQr/8Rw7dzuEkftVeCqdv4ofgFE0YAor83DN0hXzbmAdNbwurlZOQLzHNtkwwlufmpe/9FgqI5SNbnOAYe3J2/5gx7GLDiyRzPd8+YboYv1mQxurYn6Gp1vUmO0YEkbJ72CTEyu126lyUaNX+g0NvIfUp9KyHoVnc0ZH7rjPvPGuQ0BqH3TcBbhrFR/KO5FlgYbPLVQ/nrvHuupeY3UMhmsrv8ArZ9oevpNXYRavAxA9TCjEKvLxmhZWNx563bg3Rtcju06D6R2KZMhP1bQ5rp+7ixmTv/owK9IwLHTEAB2qL19rn6MRWBE4YyMcWNAeRIiB4VC0a73wQKX6//Q5WSi72icXud8BHvLr4SXcCRMMKQ4YgW5QA7yIifdF+sJjWUUk46fca6jUo+hfoZnIxsCT3oLpnFPiyv0BI+eE+P3Ui5doccbdzOESDqP0r6iKQB/brozAZUY7IHAxKJlhCxTLPhXUl9mkZvrZKHUPPDYNzm40lGX96v+8GSP4cmKX85TLYhxDTvvuFJJH+5LwOe26bTtGq/kkaS2+xTetqcFfyQccmJzAFNGJe/X8uVl+P6xGMowv+Y4iJ0DISIaASkvwfjxcUncWIDc2SHooJ6jfLvQKAQzi4fjqi98tZVrR8MZygvSqJrky44vWZ1IjPbUC345AvDzcbfH9CkUFokUMLF078l1bLNDA2pU0yxG4ePmQtTFemKir2yLG1qGMQMZbfIoVD8bW6fkRBscp0gPxGobBPBceOKkCsKc1/LaPSg+/RaGSmZguL8cYI0VAke0VMtbf5+qhkeJUgHjwZ5v98rzkDizsxR08Av1N+so1iC2HGEKiZpXKWrznBFJMU4MhquxjvoKv7hZ9jpTu0HOLqtzSOLhD1CHbAyhMRidi7y47pgCCOP3H91col0M1B8NybtAxs7pwpACVgWcsDfgIJq1qBTZGVYRc3HsNyn86rQgA4doCFRpg/CeRtVaERARycalsNuOc/i3ZzIC7PEF/Ye0O9SfwFscoD7zbTHlsq3PqTeCCubM/VGP11AzLQljLKqd6XeMcZZ9nlwCfKWf4HIXiX0hfI/6oKOrG1stSRONCGSeI3RV1oCWrJekxmJI3K6gV6g1kTAncHPDZl9NGutgK77a4lRFTDKKyxyvV9DiPyZhmHfdszqgoBxuS6h5elsM+/+T95/lcByIl+DhCBf3Pc56DTho5sQkauyhOEsScItDTdQuRYQOue5uK365PiNZhQvqGKtdbn2zWHXHrhwVLJY/KEzd51m1oEK4iAa/OSwHx1N5PRgDF+zOstQlPAVDDunOiIOXut+eY10neyFRnfm223ZZvvGgmsibZqs0WZ0dAVi+A1VsjU4ZSTHUSLfjN+7XP2FZJ0d79Kv2hCC7sxworpgMLIk9KCGrlZCeI9i0fh3IYw4zhvGuPQ5dakUjiII3qP2Eo2sllX5/jct75addbvO/11nmw0W0sGaY4S1w9DXavSlRESLKYeejXC9uZ69hKnMzGJ9TF7Bx3KDwf/IX8PNSUbjHmfdqCXKw14fLM3l7Qyk4Q+Tm1Uxbs+rdlgzedQrr9V+wXuUjtl99YWLr+I4P5Z5x5f6DNr4QRF/RryNN5iqOMdkUeEJuk5NnGjtQQ/cJZpbTl1BWkTVzK1hhjwahFVWWPLrTgdPPG204dA597eHqdgCoW0h8RMfFLdw9mBOpwQX/sHA962fujRj6E+GqEOHTbs6PCzyfNBbucE9pVmUTutJ03bKkiRr4pWVZ/DqzIlHpNw2Y8vgbcrrkZmHiBiq11gvFYfFVsoP3mr6MGS9idNpqfj/J1YHs2IRVz0av4l8DmnTCJojVPdcUjnld3su6FEzj6MEaLSKEih3kQoJH6IAAj7tJVj+kZWecPv3wHkHd+A62oLJh2Kb9emlT3CRBW+WkzI7xwwAPCAzU06DhfgYGGxjcNQB84vEl0RxuINdrkdwGKI6PZtiEcl7aQ4qWlzDTwRSQ/4EdbWOLePUeCcMYpBQj/jmRXnuIW6mXDqbz2LwX4ZanNn4P6VSfAjKGQqpCbaFcacOxfu6A7UB6C3kDkUR826ydFG1LYjQ1D85IsKr/9Oc8Eo6UtL5NNq8feIxetZpZEqz30JqXk1Cug8nJC0/cmHmGl3cG8PaPTFwUXVWiK66walUImyB8szjrt6MkDfaEwPL6tHKLzAUrDmPOs2zpdjP3vv6ODqp1ldb3CC4iDaI14b6qnOjjrH8l31UMco9lYQrY8G13ccfGIoZnox70yJmAzGjvwvIS04A7TCl8xaMSyO3MAdptS9gnfUnCft84DqHsecuapGy3ufgkAzlyb2tZjSf7EOZb5Bs5e0mW3ZO3Vxevlz2aIqGCzz8FYkOuogOlFSk+lqs1Stt/maMoqOI9uV6qD0jdOC5E2fWGCVBPtVes9hI78zSC85LoZjUS+6zvddRyuiRPPQN3bhCl/lmHUfFXD0i5Y8DmPH/nsXmfx/+baYlignDES2kTwTihDUThDXp84CjInD2zqYnkhXbeYniA/2FiR4S734rtoUjZ4GjO6M6p5tvSX6Myw6i8MWapC1MSiRJzpoGHWoEXfd1dpKvCIZLn+6OZTYZX15ihvlrMBOhMvULz51Gnt4Pu7hS/HO9QASqgppLWltX7KWVrV4CIvVwFldypFkGimPQYt2EFhf1ZLjAncgG2fdWlLfObOqjAW17GFbAjDw5EW2ZoYcl4HaZDNwJrmK11egVj2i3HTqsveSs/1rhOn5B4sx9o0W2U7/LfaJw8r23IiqFcItqUhmOQ576Gm1dBq3inQpTzbp9TqubVaFSUWH05BaBOtHtN+jnvc2Ditf/mgdoQMzLv5NHGH54JpXkVuzr0gnuNwXD9iJf6w/eIHfNIoHrcb6VD6fmnNprt3Hw1CxCmBJjFHmlKewQnChTPfy9QRrapySgFBQYqi3RepeLoKRiukXLoy6bmxabRAeBEFY80yfiarwIZ7i0Gu+oj8Mu8NuVubvjgmt68tgpGdF2FClslGGr3ktBzvFgdGuuSpio1XCIGMryCz2SVj2hPkVIYp4n4u++21rpn1XiNMP1Rde2cRqljGa3jzxjJzY2Z7m8MV15GQZcvcb9wWT2KSinK0yvhXWvrKeH80EdQJG2TfZ9NwszliprB06dFiowa0ANQCIMY7lro1Ve891s+wY6IIDely32/NdIpWFl2Pnr0dzOQQ2+yWMFrvKbseZgSWVguY9HkJjTYYofsUxWnWzHKqTXnEHY4AoS49+rV1Z+m8/00XK8PcCVAL0S+hRrQNORFNCQX3djkkSZqMs2ZNWxOYEM/gYT0xGSCekKuAQfD8v9hxOmR3jcXJKiEKUPrTPy3EcYyYDwKjKxAUTo0qrJP3pQ6nh0tI1khTgqZ5k2+ZmhTEmBeMcPtYs8KbmTkS5wQ+kfq1rIu88tcbzU4tLYW2XP3p8OLme/yjE56dvguZ7vt66yi/YO/xcPZgdaZTx5cAuM5Ox+VEd1bUzNQ2fSfYWyN9WENCrKvxOOU2I5Pk7ufygVaN0/+R32MzexDYyvZ1Yy0eHVnjq7gnKOTN40mc/FaGMgoq9rGkDXlh10ZwQsVbDVTArus89XZc3X1MEvllasJGgDTP5scEAcDvHCi3JambRwhjwe0+uZ9YxMAmjOIxqqpzxiYxt8541Nbi/UD/df6ygYByQ6qWshfOHhTi6hii7gRyXyn3gcpvpV/iBP2IFHj5sg/dk8rA/FiE6y1FeqmxXUmR5FnsK7AFF4SSBbzY5HO1JuY8cpJLwfT4T410cD2OmLt1Yyu/INPUGWjkBeyavWGquoFVxZTOcnNu1oC7OOuHfu7WZuQUc4jtLijIcuVvbL+PFS3T2eGQqdQ1xdvh9VYPak7NX3bIxK15S4GmljOYCPkBCJ9RtlJ5Gwy71aZKX2gnVuaHH+V5Q9qn8TV6tBhpmaIrOZ3DTrXgZGOAULfUx/NQXr8AzuKpDoWqX22oCnzarFjAPMg+wABNpFv9dlvYYztfSS2I7581M68J7xIanmizkqplcBtyJUZwLbatyXb55Shr8E7g/sYA9tfAxzsr2b9ECBCPA53JLVWbAt0Jgh/Dz/NHKPy45V0MqD6w0jy98fTZZiFswzPVXxHuUpoLt5n3SfGXtbhTa5Kg5Cwp7UO/UL6IA5z+6ZjOTVgzIx7sac1pDou5eCGjdQ2y4t8ZfIlKQfUjqkTvRBUOfY2Z8HsDplXCYFUppQ8nN1IZUY1uFWD3Oih6Aqjpyr5uTYuU/zQBrLrkheY5KLSAiilRp8GV614ISvFm2rIe92W41peijQNGAGzFed9qSducJjMhfCWaUH1h5sgKE3VcoDrBwW1hehM20idZZdRe9SmZ5vl7OmjJfgazZ7o2IwyDa/Oxqd4lWwZyBmAc7ZOgX789L+2Dy3gTssWptuEc5SY7eEdmt5gjk7hT8xjBVQ+z3RjKuplU6idVmuVEhIxR3LZ+IYiRKDXgIlLDVEWuEBJlO5Qdlj/zU7hyZyWgnsWZCauITss8DFDXqNT8m16aTnWmHadPGUdBGE/MTRFwMc2hOMC4viCw1aF+4vk1IPsD/4MSZ04o7xYoeP2/c0z+lvylZH3r54uAtnIOgsWkBTxvue381J/15d29haQdvU23+Fr6WKWIg91X/KeIeJITEEBC4uTLWJLodewvyZaH5vmFvOQts0Q2fDXZUQZcJiq93OQVF45SaGI6wzYLxqGIg+j5zoc23vtALQhLEobKP2WYl5pB9zMTtmETelVUT6Hic/MWFvVVcV9tmSNS4jPAba31E/irTQ1nsai1B81EMKoYEoIDgUskOarLHTRCHpGXFQ0/5Q19dW6gKYMueNPl14COxmj2dpsop/f4DW/VF06z6nTIHeoeJDAO0gbcoJhsqHq75P3ftH4X3Src9PN4/0d5a2oRWAUqhr4xSYuw/ZNW/B+EsBJm8CHDRE5Wz0HlttUFqiuGdap5fD8uPDQrN1aNNE0yBkryl6DP/kf3h6xCmWhPC/UX5YWRyxyS/WykPGtrQr0wpEGUp3CdHI0xuyF2V28ZOjYtBuXTn2SfZhKNBlIGtQGdi+gyD/4oehsYLRGF0a25sEhC/WCdLKdtVKnI1Ih401txdF4iMMwwql+Be42tshs+FhMgM7musqB4uTJp65VfmWSqriHetY9QXG6pQteOssSlYN5KBljA7BQyVDBU4bLsYEdiWDfl8vaQaZHzoGXCSsGeyHUHWZPpejWTIZwTfjqus0j64oftPIAKfCxhuDT0MXwnA5MGVQgwpnKpYLezvtqkNdmDNdGatsWunNVMWFpFrgy/0ekCgcDynZUDs6Z4QHww/etSXPolWDAp84SsJU2+c6SBF+XQGLqCEidGiAtSrXpLiuZDsFzz/f9hAg+WvG4mEV/H/P5zXTXIOFqnBcSWqkVscCcTacd7LnSxTTtr1dm2uRdZYmcn9dbr0DGWZRd4rqoeVBl5Car8nBhAGwipfUAWpRCc6DZKP1AlFoihAm5QeHhXvCBRTZuWS+8vZ0yp4uG2zjYWMRsfcfxBFzHwigsYtL/SzWVFFMQaNA8VOpxhv8fpBtDa2gUNItCHL3zG1esbAB4/yPorR+UGnYwcfsQv43yDH854t/uabTmOHM7heGN6GRg7KIJ9iTF/dtiam3ZkMA8bk/NFNTnkCGVJB/XazAZkc/z5spTCEnmluy9H2gTo+lxuMrxPOdGWkReZKWP+pyuJ0tHGUmCLRhGYkjefnsJeQXra6wQmueOEr8SGIIDfgTAcaisJqmCIrhwkSj1Ngk+Gjh/CpV6m0WuyA/fzQQFqkd/OyF7w1HFMkWi3IZTqWTQF+gV5siAD5Ewj8ynw9wm3+Mxe5p6EY5mFMMopsfQF8WkhZaxwhBeqEZeCCL6haztvvlx30ZSe4FURZ2fYkeeJ7QBp33yxkvWwtVKbPBJgPy1ze4U8QTQ5PobpH3p6YQDqNoL+acIvYdf5pdzIOqHCnspBm2YKk39rmYqOg2OfwWkZnez31bKrxv8GLOAjh/0ymWT9Jq4gQmT1NOOEcvNPaaogIhR+3Ayf4QiqX9RPBjcdD+uTsPkG/qyH4VSKJhx+bHuSKl1T4m85+VnrqpejHj4N10hlqyTaY2sO7tUMUuvcODVn6HL32LYxRGVl/TKOre+thsimIP/LHWXE/nqeuK7TvU9ZavnRLpH3p3wkx8/A/f5WyX4aRY1EnEH6Gb5Tt6ZMzmIa7a4L55TM8bgv31LfY051nFv5kkRuDgv5fMGB+t4hA29Tck1OHZqTTefDVrN6ztTnrlRoh+cMySUGkhPM2VZztCWPRAhu4HdC8At59rHHrfFVCHCX18cdlZQRrFQFMfdgtgD7Pdpmqool/oAQ9tdyUiqCA4MWY4bPtDWTU6lD7oqKyknjlKvmRdI1DhiqAWUWdXzxGlHIN/uB4XBCAHo7MrNiovdzs9bmhOc/4KLrqTLrlF6myd7qIQ88690ddii1S7d4Ofe7LoGfQr1+k1pSMgc+nHH4r0DukcgtftvBcrC5cOAq8JEl72M9K9p66b/DvvGvwW7mrKwcCzElGOgCAMydQ1yVErTqwNVVRIm26dPcWbaT4xl+kH98nKR3CXsj3flUyhEluRcPPzWv5mr0KiH3uVuYURtD5BBH3/SUi/KWkKPW7/8R9d2v++yCvpfRQirary5SJy9BtAG41ZyfQ/aQbRITvhMMIMJc8tKLerC1jQX+MUAZpbWJ4tpdw2612fTI6U7Izh+Z0IxDlvWFVrPfug2waSUvd1vSIGBuqv684KQXgEJeihK8FLCzrWXyzaSrMqac7skc4J+CJmzChe1ZoF3oC5h5IrZLbHon6/tTf+JbusQPBUvxA/gGMYr83KBUhfQwfMXQwVukOCNR5lXE0IZvqM3r8kSG7o5l53don/U3qG7ObJ0DS5Je6JllVSD0qQgjWfXh9j7Xjw2tGNvWciITaYKOHnLtdKK1I5fQu5npGSyPJKqo/K/4MTjTzhu3LzpDPGwEXAW6YY4PE3MgvfHa/8LFEr1OgdbpuJCDdQL2ZmkgXD7gVEbbRfyX/GxNIVBAO06yPen2zk3mzQKVxm66nF/sEDwBRpCJyZjSvreQQfYzZQqCoAdqwWKoiVE7Xd/sCfIAz3z0X1qS5w3u6amCLgsijR33/O2P01Nub44Z3yTMkEOiJiNCtUwpBBfLnwyvY6bEUXAFrDyiKlFcvkQeaTMnE7N5sA5OvTOLSeRmjzyOy0nHhFs4rIg+iroEvFvbHklmRB2CPcx8cEVcKW7RdhStW2SsTPO6njmJ80cu68gMQR2gf/GSAk/1AXpUUHDhNvSHYsMEEFwT0HYtOthvFdl/xs3I7CdC4fM9tA0rN7atYvsEV6w/nzfB/ga7Yt7/hgR9Hk4hqAKhf8KmHlqapsMhGg+R82eWO9FB58y4GQ9R+H0fADfxrTKa4JJkOqTRQpF1us8j3LQ+3SOWQBmHuNtsswdvP8Feu2B6wgHMwnknmhKNXze/NkuWCjFq7DBJ3mvWMgw6VMtbAUbiMUkc8nrM7bWJw6stQINAIFCd3avV7m0JR0mL2iVPp8exjxhkUteNgSHCgRTcEHNgdeN9HVLyTWzrEe5qy1vkSbCGyhkaZ5LGRCAaHMVMO2xXu0N2oQ+MjEYkj10lbmKhMJNqtongnC74DpBL2zWMohQA6ta21uGiQsPsU6jy5elFUdtjjbAW/gWU5TazI6+D3PZDzvdeVnQT8bH1VIkA+Fgi/VFlkelYvHU+UwNZMvltk68CJLmuPhLZk0/7ozubbfBfjgL+w8kpNccw1/UWhNSGzAlsi+LvC+Z/V/5bw/5NhSf+D+vDA0ry6uGh8W8qh7ZHT3ggvkhubMe2LXxucKw5LrUeNCCTZEcWHEiUHn7pXFndnWOo6It6EJI54JuldMS7SwJe2FDouRNz3Iluj5+zLRdl8/HGOHiPgpIZ4EmEAti6kfmHdnHqenMkY5CvzCGT9bzlrT3eAs/F4KhMlC8GJrn/8nPOHwrb8skbDTu9/eqWr4NW1ac/iRqw7NatSNZsIIKILvvD2ahwUsUTNK1OWaAKbt0W/xqFs1ZaT+Ln4vxHw/yOwn8+TxteSXEQ8XyXNttigUiOM9RsI93tH5i7UUeEZPqOp41lBTfbCBjFX/00wZm5v4tT5G/KdgvKEpuu07TWyIi6rI8lAV5ZH5WUnM/B02zu2G2EQHdsOAv50Da0GbPA7cLR9RJzdAuB2YiTbNGSUCgyEDDbT+npenqoJkMPM3qyWSS09etqWMNlq/EMk+WqXOyM3MKdLv1AePz0xaR44i+jfDhKzSCFNE3sRBTML3CD9B66KKKGb6igPYoWYGwI5W2Q2R5F/WMxtU17ri26afEiSAF0eDfFybxjxVAsoix5pzw4Eofs6BAK3ZM6q8FZbNHu5RbAFh096Wd3aU32z3XTiBV+MdxTkM5BFrokZMEtEhMjdcvnC7ionFxPwV8Q5SMqE+lbh33y5+c6DU3RIuSiGJIiuekrwSB/zjLw4dEAl0bYLLpWwEM/D/GfT4cyjHE3WgWroKe2J7rLIu8oRwWtlual0WBjy3e9wXCBSA+Wik+cg8+aSBfmfFk7O1y8kMl/l1gDz2rvwJNQe4xjsQ4/SYD/JyT7DO+BTxo9n/D4zyrM3zbTA+gytH99/ZXA3qB/p31+EoLq4Iy1ux+PUgmhlm/JquupIQmErI+NMYp5Md4o6x77La7413NG6UoQOw+9diricmMnUskpxX0Zfl/O106j6fCrrjnjxDE21gvTimYW0MxwowV50/nFKD+p4V6aHwVs8ojFssGcCz/VAy5Swby5IzR9zOjSNUER3f0kT0EOGt5mLZXn82ypf6BiH7RSj4LBE5i02C+SALCtn96Zw4HJDPaQvUuMamz7tmu3ihaksmozKeC2J77Yj3fW2jazmG0/YwtfiUCUB/F658/XCzhw8dgF30um1lzUcvRh9SNECXHJMJ6ox/MXIGY2/70edOgL5G8gmlbgm+Qp/nQBcQVqXs9t2t+6bvPYDPSXOE+dbfb+A9WCBBDMXx0Vn72dqIdlANS3lrnl2bHTNDaV8xmsEaFN+5jt00fsCos59jiScOQhku2rU29B1g/RoNlBlyiocLM5z9R2T8CGFAiWm/3DsZQcm2TG3rxMvfFNs3zmso0n5/nO98INnRKvQzZkcTwYurkpEdXwQcoUTDvOkndvqgVFcqh6qKwGOqmg60M86TQ2El1/3Z1In+xDFMivUJ08NeDNYHBkK/4wXFO8Kok+mU1lU2pYpKYDTlhN4t03pemHb2YvWCfgBb/PgdcqVMsu3aseAOZCNjuJGpQNfM8U+UNVNC/LApeugIOHRiXZ4h36Em12tEQ15dDMliRXYKxhK5xbznM5qwqGUlNOEo9t0GspH18wuzhyrhG6wh/drkmREgFWzjmjLkE9yQO0O9rA/8K7lSQuA/Ck+QhFPD+fxnv/SxPSwJthQ5u5sARhMYAW+licQLh0lnTHyeohA1M/CEsxnkI/YUjUEE9ZOcVOZTAvf7Tog6jiEGWx0AJojRWUue/8jNsL7bs/4r8m3RlaAAib1pV9oqyNMXLb1rrZwQEneMRMS2oEqVAKbwSxu9/TmIBN4AFRUy/oREJfL2Eo9f/FLRx99ffh2c/7LlO6TYEWQmpJ9qTWUysHEuF4SnukzzX0yRWOLEV2HlvrFlQuLkmJy9qzROWDUE6ACcAmWnmipJ2OdLUnWyx90zxXxujv6pYjIyF+4Ju4Rbax6AszFAY2L6jfdAZcNXIKLMaiSPnbgWHF48i+44vGrByYMMefAybDN98GnuTAH5qNHUyNVVNlg+XpoOQ6BgOaCMeZRl+/e11Jk4aPOD5SsLHYscjrvcUf1BCKoohVMrpd1C8E9KBqdNXicoUQ9PHjvj92M82SVFRSU+jMAxK5OAUDPROTi7JMJaHZAIwDNvNRHIhofsuoOB8gLze9UYm1sOd5oaaE1YmnDrgdHICxjaWyaHacoHDEhkBUGrYwSf80tGR4QF2XBF3o93xezJYO/04lszB0TXUzzp2YlKavBZlSrln3Jt7Eo6np/blPhAbv6+/nw3MecfS1AY1BFjJR/SOTb9YxUmXjB70c1hxKXde+8q9S76A3LVqkKyXV9SVBcj4Pnje0T+ZWm5xzIiiOOZeaSiklhzoK4E+2fXGG0FJyP2KhFpT97TH4HTorJF0nobKfQo6nXmhUv2zj6yWwMNEn0zpAnSKbvMbVoDDHmwMJU4/2ZSlthVoq3cUPgETuPUUXRUaEkhUhfbgs5BSXADNjGmFurRgjZ/0lJT6iY1iXYEgvgGFyarChiEABNBIhrlDUmwhgaRKv9E3/krMdbq0SmWgDHaOXdoZMaCBQVrRrifhOY3ex8tLjyR9BG84pl3rtyl3waPv54THtBdcT/fKCKDcvk/Zd820GNoaul+WyrXK5CeeWHruha3kerVCpirndIdVAbhp86ySzvfsmgNIk9x34y6uIVMLGuT3TU20kBHfJeyuGCSXZ6z6mxwtI2Mfi0IfwqU3sEZZuDtYdNs2bSTRdr2lvPCIfWz/MYVwiLV0ADAz2uxNi9itoiAs+IRcxLKoMEVkn7RU+nkTDeo0SUsy/2ue6I9VHuv/HdZBgA6kWP7K3pn+YGEY8wDkFqb6L/zoZrKIG980EndWSlErwZKc1LBo+lPsKA8e4kvP5CldFsQZlz566UbEhDOHmdS4qfvI/8puK0gTIz4zK58UVdc0AL1p74xKxPWdi87hUm7Z/NIl3Twm1WJXTSGA+xQcqUz7HQ2keerqyYIb16DwhqkQk9vAjapsl/agsh8A/QXxLN8oIimbk84D6wUdxSiQBkCnrXUV4ObQtPrNq6lMMBX9ev7uUDDcG/6C1f6gWjIRiD+h3kxOcLgjkAkss2Sz69rb9M1Bi+jFJuxryBWSFjo9DIEk9t8h/AvEREb6McpkQS6AhgBsZb/Fioriw6AdZvbyTrxkpSfvN59uLr8BpJo/rZb6p+pMiA6oI2MZKr09fZBtx/2esonzDyaYHEpwGLkW"/>
  <p:tag name="MEKKOXMLTAGS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Op0ycGFAinQr8Tg0aHv2oVInweFtzvEEifMKhzZTpKEJ49HhqRF4fmxZlZgCWFL4rsru7pegGBR3eobekY0UxROFdMbwVQR3UxZWaWN8b9DMObNlwFU304IlDvG12IVz+1JdlQuu8m7e2H5/IgDVXgntceA9S5XPpoxdDtaNyV9KBSKTOf6IfjP+DIhYYD3B7EUWy8rxANCkMUeXq4/d4S7Jr2bunTtq0BGn+lZvxopQB/uqwumd44J09caxXwPgWtDeDLfOfRNDeZgPGPGF0WRvLpPUEmV9pydKj+7Wy74yn0LRxZA2O+n8QDpJIVZQ08RLfNfLBRPT0JglY/Xxrl8irE2vCC7BMzl+lWMpdJXG5mxtV5q4lbv2oyijm2nxK/BCdE7DUMjKFlSxHqFY5hwCbXL552RplviXA/JSe71+L5VKa4zRji99y63q/6WTOZ6VbbNbeFXP4GjZz+xwpwz55MOOFaz51NDGDL03RuBaWz1cTyuhse9MxE81d3efK4J41MwfSYW6OmqQ6crc+TK9seW7MBaM6ziMnWdfO0cu3tCJDd/emgW0ma5PvF+kl9GlCbvwtxNMWsZTj73GXS7U39xd89gIsXV60G5xU+CXcB9HhFAiwsFqt77sBBgZ7h2jJ+Al185dzhUbLgmD4YrdI+DMZkMmGGk2KiN1XTHH/N27tS+1I4m7Zmb6arpqY3Oj5i0C4qPc3KwWnrUVSuCruKV4Mw54a8Z0ACqyC47kN51DxfxsLSrPsgWia66paCeuKDdpR6kJLGdXbRHtmeYPUI0MSSKa6TGNYiw7kLQ+c1+h6sdw5+lpkoc9oQd9P5Wg2+O2W6VAo1NF5Pn0cl+EtcM9SlYC25d4xVkKPYgBSWooXHgZ1roUtposBMLDhZRLEAy3SSpT4O2w0xWmTbkDx2wAJ/cv/J3puRZ++IZgg4x0Ikl0Njhsn8O7cxSzG1pTTRFqDaKrnkxQBzK+KVn8Qv17iohKq8SUvENztuRyLB5IrAZNIK1pID4cAfnEvAf6PyBhDryCiUi+jj6MtSpXsTfOXloKn9XN0XSNM1VNZ0ZpNMI8OtU853rh5i9OaDtBgWbps5dEDniq+bOewzZ+U2ou8OmHyTHIhmMRPNgJ6sRUcAtZkSp/LxD5uAIbLThbVQ+d2USP7OSiHfU0egpvKQ4JfvN1e9LKmbwq5rs1Xoa1EpOGHvtDAhiSdn5Md4eigSc8sDtPNPLzkbiVUARUNLbW4kWGVk+08g3EKVjkGL706h/AVfO7O2dmCrFOz6daQqO7+jtHVDtBC4umKVUASgBx7aDmN4J+vfYADLm2WuWfx2h/UFIC5tfchQXrVHxvo/R6/BJDAA6+vP0FE0bob820uHKC5FTVYWcBWVsFWzopCS0I02mVvZcogeJwkGhJRXYgFbAQQkIJguMZlL9uH1tkkIFQvbkaYWEDBBlzfU3EcSi4CikI/k3OEJBhMX2E3uO8gLnAQ4AcKDnpx1QEGGU0YBiFB9442XzzPUffT7+Fhcqy2QI/ra3YkGkEswD+MJzeZwyFe4j9NZBEc6vRL1DkicVSiRt2Dpw5jq5iS6LeAotxkESl4UCHXkJbGI0djw7NdtJxXh6pzDYpVF+3VEGJXmjCKuksSQLf5/AqluRkFZqCm8ByBWW3wSef0YJWjF+NqGMVaTjYF2TJ0+rUvPlsBNWFovB/5wbwCr9uMsWmINYuMFjUzHq8ebkg588Q+NRMFqaqVX8Uta3fyKMijklLiiyIExz3p47Qxaq8cEgTV5h1cHF6//kY49km+XY6pg4I5ZrJ7rtZIbOLs1N1Jy17zn8lWfvdtKPZeQAvXIHmgmqKkuN1hiz6eSj1EvWIX3S/sDKlB76GryI/Kk1hsFbvPWnrhoLGZuLU84xY8bs6tzcJJwM8q9ywN6F0dlpXgUXiqS8Ao1Bq+j/tJ/BubBO+c8biBCRzp3sNrnyUJDeV6XTel5C9nOrYwWLU9ynQcSlngNvD/qgwO7/YRxcrScQKlYPxn9MYD0DfhabM2U2PqHnFZ4Mq+6YJf+4Sbkh0AP50LKOt5JhMXUnk+tHhnAvv53Vq8JUbyVlpeVQtRE3bzxar6iohTxnHdMDdsLxg1N7t4iZsOD3QexMEjDCqGLR3viYcPk+w3Yi3Vk5jEu84SpTFHKqyakYCgnzYXwe6Lr+dr5JoRB45MmHgarvFAP/rVGcxS7aUz5vxSZnQPZ6hWL2Qhsh5YU0KnXulHyXKqiWe5RJ3S9+DwktqMwX2zxofvOSIKK3a6zkPbtvCvENB9WhTiON5IeYssU1t+799EW536WU/I/6ZdOGOKzbvr1Z/4BBjpJ6itLMxKJdggCBd0Q7EOARSVjkRDVQsVF7R/I8Oh4vbHiFKA+QraoGnFj4S6bEUNhbBhmRnVsA0Cu5rSX3h02kKktrEORt+37OkNIht0pTDFbOWiITu0QP/bmoEF/Jf8i6Mq5xwqO723cowcC69m04pvEAg0OLm1BZhRQgrxi8AYIJJ4ay3s4bRrZ8dtZmPwD/0DRC7cIwlJ+zC6KeD70Kbk6fCLTKz/w62I9zwpVWwM6Y8YdzEZR3FHGbr5rTVPbqsIqyZxyQtwTNQ3IcDGay25FLkDQ/uxvsKsXCApMF8Fd8ZJX4smGZt70OOy2aht6qHDvY3Kie4PGkSza+G7sa3Z4Vlvg+l03OKg8Ejk6CMKOrz8ytGzq+mB6+u1ezDIRgoQiMyG9VmKcGMkb031lcY2xsYIeDfEf+fnCdi2W4ZJe90I+O1FPhTexOv+s9vn6LRys+NlEb4+twD2+dS0rw2kSHxmJL7xXJOE1wUygkRv4rPUotLt8BGviMAipYwUyl0QVDn/nBvdl3w19N84jUeiMSj9Q/6395dVcgvjKPJm45pgJOO7d1LJnLglL6ac6VtYRaPmJ9YuMflvFyI5rt3Q+q0YMzsU39rF8sZkcFaK1+VAaLcJ4nz6uf63wuyS0LO29quAzM/Uxanx+eLAfxnu914dXtlxhGuWERWmzKZr3Ps4qJyDt6oJ9rnxrZJAHQH1zhIlK87ArqgDB5fYuzoZ89UFseIB4ZvbkHWlszDWFN/FbUlBMzdPTWnpEPD7HsUDrR3VjAuZVw3h0D3jPCmDIknKZbED+VyZivqR5GDy5wxhZVTMZcBuh2R1m779eeASqW36W0VUNus2GBTdlOZ1s/xGK7iT8RWHzVcFCcDeQDJ59QYE0/hUvXhCm4MwHBmvL9FmsLDQFSuGMBQ8QMDk7R+Q+vquno1mHlY0ulba/WrsGrW4nSEbwHxX75yBAjeTJGVnINFKXCWQoDOCwyQ5qEdXqAK4NnJrlATKQ3nxgV3tyPxfxlzd9D9H3tBnMwOmMSjimjuYkyUu84fMQpki1JTesMpR4+advj0ioA2njmo6lzCZ/jIc32/8fItq6byeit/b/rNtI+uRVUvoiBYHNFVIEmrYLw2V3pLy4kwJwIqN3M7DvlXwv+bnxthXxHuz2O4k3U39E4k1K/CPbWj5E74WijO4FXbR7CEvtGeUAfgvZR9mr6gwSQ/gT7/OZzSe3PUb/QQpUj67R3P5OMV7JphpvmQ4NYaTpeyI9RCoNwXpJznx8lytXwvS7RBGbJUvf+rFkhkguMQdTV1L7/V66m/ap3uuoXSIRETTVy5sXLl9p+P4GVS3M9WZtjR9Y4ECnyBCWzZwxSc8ed97/qeJUeWcgPd40QvBuGdJvkmoYlbDDlmRN4JJmComAqhgMp2PdbGaGqJLTYT3JwnRf70o/DAumh2umnW6N7OlCtsPbWanvNplOiQzbWXrfNsA+fwgY8KwhcxGc997hGookcKAuUCHQOYmsxFkPDQUMaVs5ga24L9aIDsxoJC3y18M76Kjxhiblipil1at7hVhH3QQfW3wnwD7RRJloNyjB49qjlpwG8CHAu24OppxXfXkMqZTFurr5QGtOBR+MXB0h8/qZRoRAQYPRqBejauVV+cEDyfGDbTU9+2dJ3NXnit4sjgMJoLW+RedZ0zEya6MosMhTuBIBSBP65Y+R6yPdI3RArQuFCtZRfwGbvNMsLBhA3cyqcA1Ezt7P1P8t7Jqt1hN5jTJyrb5mzZhgZdXUZ2gzIFBjpgWdGn1NUparOWciOHHn1+TnigZE6t2MpcVKWB1IqUVRqznGLphfW2udlIvygQGg1IIxsaB5ocF/k29EdbF9c+Qb0q5q/oaZmhQVRkr63r0JPTAl6dSW8RCk1xbZWnwlHjKwDoo+vUppMCHSN76N8nw3MbTac2+v/BaEcLgxIOs4e3MVWXs1rVboetX5SAMBiwgIJXEwHaSDlsJ4X1x3iTRhi337R+HGzg/n56pRUPNk99oSLY5j4KKoi+fYWLRa5Y9+ijdmS+HoA01cWdXlPgZ+mKf1/WJ/2oOP42krr35noQ+H3CMsXnUXrU1xAeRwL3U++oLLiK0HzlDirxs5m8MqchookEYe8jp5O1OjU+fIUPDWxBxHibiF2nfnYpBPRJyvKKZWsU7Jd+voxnXenyME7i0klerq/wtNkclgW/EuGi+TKrO6fCrYCNklv48lM4kEZqjyRQUCEzFtqIqXiG9I726KXohhqZztywCW2JGjbkb15h/v0AZ/MRzPSZ7wTjUJ4PevGS/5qH17TeCeXKHc3xCoxdOqM1uQtHROcAq5/Dp0j4Y2HnmTlUioqRwyJD+Otut797kX7lv+Uyjm5iQezQlBBule08yjAZzzj06Gb/EKvmDpOZzgKas1DgqJF3TQPuoogUbVSkOEaSyEN7pv2Bf4/VvU//5hMcJlI7vRHDSUKEzO934Q4vOL941nMLsophhDQwqLRCzEgRXjnV5Jou8NcjsBJbQ3AesHgBwHRGmvjEQUSddn5giFEESwyEi2gaTk6w8SchZssMSVACnzSRTpeupORnWEFBFyUaYvzfVlw+N+KTIPIOQ4J+oTMbSghH3aH2gtR7hc7Q8YnhdrziTUnwiEPzifBo+mMDKGdLgqaVHFoPT60uVO1hM8+mO3+UhI2Bu4tz12IK7tehWZe9rFksttnJ6e2MWWb9Nk4G5JaiZcbiqvUkEXLNyqexvSLnL16vq7tvSN9PO/G+ko4C7H/Bq8zEgIjGShIua42AwjwlxsCe9cl7rmc+z9PreXa5tVSVmcKSvIfdBydVPxHNLqs8H/FCbRyOXY87QotRl+uMaWbgjmkjBjucUS4zK/DW0R8fj/VF05ZKcxakSS5AAJHl7sqI5Mn0wq1sanpFBIjjscc8pBGWvSs5cOfYOuJTKfVs9dsKsYX3kz5kkr5qL21nSA6fE6Hne1XXlbhrpOhRFqWz4qFhWHd5BYHw94X1UPTefLoHIXqgpEioRKmvTGBDGdptcq1TIew4XR1nD11OGDcR8VvFiWxe52EbX+EJj+Avdiq0pfpe71a/wrTBOFiVMOP0/HgfB09OjhbtT76/eBwyjLaXEYWd+kmjtGoIgp5npDGJSkJ50tyrVQGiJ022Isb5X2s/uvLUJlGnkXbcVKJl+A5R4vjIdQEfXvRqGeSJH8xDmHE9QNOM+SultICGOKrmXFgKiEzmRBU4ytlTflHFSJ3NKefb/BNZJoI3NLFqthX1FCJ8FwVkFk1CJ+ZMiCR5347pjRZb7TPR4JA9Puw4AT5J9+k1tM46U+h7O9FoJS87XGxTf83zJ2ZBZrUF+HPeWQq+mN0uXO40rv0UHqtZMt6di781V0c4I2PtjKrkIHEyT0Kip4bFR1qM/nBPhtEgkpxrmIUrjQ3OaUDzGdDfIv1uaEycmgiKpQ8tllukCXAGBh6M3/K8rhMt6rWDV4j/yZFXxs+zL2wo3E0YAo7JBSpQlNRLZFP890bwKriWEtUTm/Lx1POl247Zus5+3tJcX3hgAZy+AR9BL25lyl8A3JDigrU7rlIjVrSSajkHjA06piRBN7vPFXuMnvWW5Dabh5p2dUv5KYnoPbZBI7GfUgvd1OaGw9WXOnPoBSrwTlC6kJiRzF216mvXTzEbO+nw8rAEKVXf+WPoB6aiFykpfIAxbNiG66Y9D/IrSsXkxQwGo6jjWdHUZUfqARZT+fvZPISrsRQcHHtMpjvDsW/I0X3e/0OOlRXOgNNShOS/ZIZscGHr1O/wZBcoDa8xxVszRCT9wmLKKolBFIUFUt5DW/PFoS7QIuKBTqJuHeK/UN0miWsqkap+DS7az94TwLVJLftS04pJbVigpfpHQSt++U1br0XQt7I4Sy0+VWQ0RzjnMux/6YK+PDgmfOBOzX/YfYzygeZsRwO8NRBrn58XxotcvtF7U372AqM3ex+PWCcC3AoMCZoCY22C+uw0TBBw2vTKgG74it5Zhnq0rsV4ZeMVT1vpjcOOt2x359RdSaXoc7k18SrkXrQfPpsu9jCL3xZ5ApdAYrWe/wHUILd8L210tUIGNrAnMr3lIREN3eaEqkLCHL+tg8JZbt+3rFNLPipJu4yFiqahlaNYoQE1Yqr2Fj8GGxjTdVS03zTAwNvNXogEueSZGa15eeS1yu9Qi5g+sHeQYA5gMusdybIpvo8SmGyg5u56wtOeprqSWr0hJV72AEGz8qrtV6ZvfCG38J0wfXf4FvqXpIIUIJe/T1cTCIx+bR7mtfh6xbj0nr3NnA6mYa1z8PQKU+EVJqX5GKODVPbCO11IilFm+2y7N19c0ZS1t0vp1xfmfG4WpOmu3pC88xx1Z7MwFAss7r+WcWIS3ODPKcKgCMbIxldYhOlPC7MYG2nSfgimRIq5SNtSuy4ip0POei0NYz3mH59/pXaV9OUJW/lglFW1hgho+w3C2N0Ot30j1AkQr+oQO3g8PbngDA9PDY4KEVziKcElXtTC+hTZo7pUMY2T6pmdPKnRrW455zP+GrFKW4udDksdyPd8yalQmT1bMi1LpwirTX6yOodMBv2Bu0zclrMdGuzZjXxFugUj4wpdlezG7bd5cfU/8oqoL2gOw1OH8kABzFJM8Yz1kBLfecXsbrnfLfhNe4XBLAE+XrWWvQC8PUsvDFDPKXfPEYmLT8qIIHNTKm3/YZJgMx4dTbES7VW02vLzYOYPdxkidYBmbU9ceP4HlWsEE7eF4mwlO+M8L+K12GhsBHBHjZpN0qhswx7V9PIYCL4kYUD/nkWiJEhdGzZiZ9/txAltIBjCGs6gBHlnQ34wr3cEztNXpI2PQgT6rP3GVbWqNOWpmQ4BsoliGTF22zF7hGkrcGVKdMUsBCQ+Mqng1mMVlcjjTkjuleBBtrA/KZ7R2PxDg65M4uztgKoRUnWGXdi2dD43D9Pr63mrthm6RgMvfDNRorig972OyNdM5TqkJAPz1+C52vS7pFRgHHsNC08b9VR+PU7IKOsNfknaUEWPnf0ZOGze00F0l2VtX+J5FppufvQVGqz48YrsyNB/cuD92U+7VBcwmY/S9yEi4kTVu0N7E+gl4VSYBaiBv/OfZDImK0I188fXkk1od7EFmbNbBFJs9senbHsK0hgSdVh9fRqJ941DnLmBfNyoFuf91F85hmkulH/jy2QF3IeyJ5aVcaErWIwcXD+oZFnBPpTr1NRSj9whVrIcYPFyP9YWuG3eyNqOwha21Y2gpqMT3LO559YOeX7+1OY9mArpvzIWKLBlF5u+tp1v4mZuPslqnsKDFrTcgAG8N4Tz+ToD/Mdb2DJMd6fsNfd1whsZTSt0nW1whH9yaUmw9ja7BwQuHR+3NwNuJhs5omZkQfgRjybCXW+1nVQ/lS1Ey7qgtH2RBL6B/STTVzqO5Xty8COi1FFrO1tHjTKPI778mjIRSqYhXSqm7PF5ZDXX4V8B7gN8hFGbUUcSnguwJ3TvFP+4hLJSGHeYMJqTfCBlbguBv6Fi53S6HCfNOGUthc4O71JDyMyhlINoHHy6xfffTBb+RtsSfLq6W2rJYeUhlkPlYY7PNlprol8+VIYJ5Dekgm8k5DvLf+bEg8KYibEB69gKcco0UvWvUTSKFce3sh/QGniSahz14U3pkr6pRFv8L1G16RwYx0tC3J0L3TaLehC8MBxwxQpi0AYCNYzgEAMoh3qQXVp3K022zzyvO1GLEOXYIl4fBp4C/TvsCutrqCLgvAR34+E/T490Kj+SJyDo2XrNiRMHBv25w1Zx9M473ya2qd+bhfJuLgnMomVLcypK7MD54Vi/0whxrGFMCdQZx1pkJuA0XOleliFWbBgYQC8dOgQ5bghSsL1yRW6jIkcBz5ciNd2E3rkEyYRZHLHAus7GzoKdcMABs/IsXpvYLzCg01BoCiJJS42UPB1npK9nipVgImeBdC17tY+7EG9JcKTVsB2zAuwPs8pmPvi3qKTJHPK8IhlPP0kBpDM7izSrR1XGtl/X5IdzV4r/nWGrplGl5bilXBg0klUDRIGUgN/5elCC8ZUszaQALbG1kLK0ZMugHWFMNjIrcaqpaC0BoMurgqr3y/gXnjhMiIOoHoVsJMioAFdNiKmoaE2N3id6BE+T3x4P3oVyzGPOIzzmzooewowAWmA8vNpLwUFv6SLmMtMzDZiORAyIEqHf0yR7TlYwCt7YVKFPUkEKipZnG4FnEwFFrvsI0Weits9l4fJodr1XbwU3yfmsp4vVb/0zB/bNbDITiCU3kwRvrM+EkXKtwLyIn53gZ6MM/0/Yvnt+q+6Vi+pkO4HUw+tJ1yq5dqp9lIub8RSlUrPmNrfRGL5kWeTco7ElUvpjwOi0sGxmvWlEL7lsK88OqlSjYQSv2g/iWC+eB+H8N5eln75OWSjHm5m1AICJ1d/5I355XoVB8KDemfK+6Ggn6nShoVPZasW06hIMe0BbyOYaCNAaH9Tw3fFX9sQGg01awMu36Mg99FJiN1uH4r2Te3iRYdiYuyfR3I13MmDObtkHgi+9K/tN2VYBB9ABaIk4swCkzx3T5G3aMpQDvWbPsrNGSSm1ck5zifg6UjSs+6/zCOM7Wh/l3y25j75SvUqAufq7kLYqhWMQ5fRHoUCeMW5kBogLb27WeYqKjYkkZP948dBYvNz3I3/qSlKBm3tpJyQ/KzyjPlBWN3Jm4tVxLEeIUDsucO6igqAkVOiHrdIQIEj8oMl9f196sslNaBHEmqF/PxhYN5LZfEvjGcp5gzZ9NjYx4uL1AWgzhZnD5a2FPl5hkxd52fGBbM6NipNBNLkQJBdKAER+N34afc2aPI/t+6ReIYM9po/ydcmfPiFcu2IO4nmR/ZG9sO43QCeY2RwUs9z2hewZHMp8WtgL1mF9Pbep1S3DiLEPSx0xUSGow+5EkWwH/QPyf2d+7gfgjXU1CVBMDRrA9Cwkis0RwSgC9AND9QRQKRFvC2s5qaw6l2n8em1I2QT60LgDhHEcwF0DI6fy3DqzLiLe7nD5rItncvUq4FPJJYloz/NN4fTi7FHlCEL9a7tCeZYTn+l7OPjNHqjHFeUevwJhDpyNRR/1M0TGMVM1aME/lM43+TqgGqY/G78YGKuv0Grkx5bsFVX1w0dZM8QGQr9z4YKldItyotOXs4R9LERRs/v1B5H+QLn2FJPj15vEV1pQvqYatLslS8ZkLn0bsSqgYsaiSYeaWEGt/npQJUTIm7osq9CLqs1m/UCy7hnu91HQT4fZKkYvuEZ7dBU9d7yEKjelH5/gkXoh+GuwlVQ0EIvBymQIxFwxHAyS26mH6kN5WgpjGos2WPn9XmfkmYb+9pMHSMyTbI/jox8ZZvD4Ucq0rZnyKdH7gVT5XLHDecpKQcEAlCP2crQFNgqPXmMaPoR78r2uoX2gYMeS/SCWaQ65wcNy7i/oVeIoUjYg72+XsqwwMSz/1VD3nA5ByemI+mVi//NEnUwjV2tkodijqGojXwUjUn1ds4/M00JymtCpyEpYglc+jD+vNDemvDfnFwcwzyGf9QnMEzyULQOQ7oxd7O6YaMNgZ36a7i7dbV6d1WlBL+IfbHGcHwUUrrPTNoYQay9Hksi6IbtKxpOdj2H8gMqnI8pIuKbrEfF/wyDD5IbL41eR+WC7rsHDorjpBSHrMVz+CNhASfRVfSfkUIMi8WAauC0F3dKE6jJg3tMZl9qoEPM7G6xhBI7R2hF4kcRp2Mkb+aA4YMcbZWqSj8tgfW377Wxfxm4/YFsuigIXUOAho5J6eiJ/OcemmWwQY5iDFT1puQFonlUitr7LFwgfVgLGGVtIG9vfwhn4O4+Mv/THqTDRyWyjzfNTwACA92rHDZXV8lhfjNYIb5ROgI2zbC/l8+b5wXUWx03Rv+KcjIwosMq+p8RSqig3Nr1yyTi2Tgzqnkle2yqQi3dgjHUPS9KfgBRLvBl3R51i9MfefEzEr76+KJ2isrcEDl0VZ/HEHlTXtywvAvH+x5V+uAi9S7avG3zUAiMeb9Opk0QA3JI1lS0koHMatl/DyYFeN2ooAcmtgALYP4+tKq3zlPeSgiduvN/w4p1dMYRVr9vO0BHDhAYnSFurdIB4uEYtagXXGMlgutRE1uOjG/95TT8NIy5IOXMXteCs8jNeFWce4wrsbZbMJqfKHSBsaTDgJIqY+jR6nfkgpZp71MrFcPwNUgjpES/fdHkzZXGVBkLLMpCXsrExKBV/Lh1tJjT1PRI7OPINddTly2BSmnYZ8YoQm3D2v90B6E7/hH0P0l/TNiRiBn08ioCuE5VcXFCqxpT1Tbd+6u89pZZTKnMrfghqH0CaxlaejIYZB0JYrJKEYfH8u5KQL93ngaaO045shu9tG0OTcD/bNJt5jwdViMr8+gi95viQ/s2GWsfKDiGlLfMxazjDgr7P9ySJIl5PPCeUQgSR8SyzsqWA2/eIKbO4B5oKHPdfeuLktz1MBg2jEQ/QuylSpQIQyutfuPpxybCZ1JyTRT1hGFXcsTILGgKQY3zXGMY2X6Dq9oZmIRLIEUmPG5Vs/65PeoqrY/pFzkbFklYDlSsBYMqdufFh5U/U0JmGi2TKSr8O974TYORY4N76C+QgbR3sAWsFd0X4Jc3ABo2bDdFFLUIf00wl0yeccNkKNb+EmWBzqqqZLs8ttbGh2bFmtk5pcORHYX696D8weX0f8viP6J1LvJ6PH3fiSY2VoS2fWAWLxJj6HQ4KAZQBV11iOvZnHYSCbHxy/7MP2GrvoCr3tMgKyYeH6Ng8fCj82PWBZGdxOXc75ABnDHY0a6t3O/HTRRTvSXYqSLWUDCs4zmd85pxm5zgkCNhKQluhgYswqF10HjWn4kFjpRUXJCtlDtmqV705MMBt0R74WTO2dKrDoVGqFlK8zlX2NcCqbCzhbGd4SM88xSsLtctXAfvHs2oYKwyBEXdnL8QccMRUT3obn1oZmN2sdCEO7M+Ke/2Ho406tOCH+j+tiirz++3SqXBjTdOaYdkWGHibu397KV/w0Db2JPVk+6ENOK+nLA5aB3AxSAoaxd9jp4lL2VjJgPBt8lobp+ekc4UCc49RN1tei+gJgRJ4rrTL014dl7O7di2HLExKeMx2gTkQa0mLW4vWlsLWjqjv02Si8+qKiHxYnanyzFMKYldUs8WO6dp3EcKtnrbZkxrzBkVxgbWGArDcQGW9XWldldzMi2lB9pmzc0T9hib+R3zqSVTIOqdReD7pYEQbRGHHLfxtdxQaxF9hxNXFg9psZ25UdDUULRd5juQz5ocJlI6R8e1f5F6rmz+uiz28MzLN/sPkIyL6/gDVo9srXVHqaNwqS0HbbQouSANY5+5Aud7/5m+VQKQx5OveKMA2quC7JnqwPORftSAJZlbrUYEWWbzzIXp3MWyU+gz6Vs8G3oLmDc1rQxRECVqqyM1T6yZcdpA1NpGzXAwda1Jd7dx8c4YDurkPPhQXBr1gUmZ4rBNKehd3Jaq7CLMNxNwDJfGU35qdLrl0wiqi6QG8JvKiIOsStp1iLAGAbsDih2/1fMwVly9w+VMUdewJDsNjh10GjPgYJZs7u9nYvtfDk1b79LINICHp7mE3Sf34F4yA1mC2ketj31AjYl6Oz/+nrKTJjbXPh0Y6KdpQ2a4hnU9czhNdG+fi9Vl9G2Hl1iNJhix3yFRWQhxs50qcMf7ysd5sBIdM3S6ebzD9Vkv90FGQhDqJjaYqt0kwYPv+SxhL2VeMxbH5nZG59g2kDtbMSKHEdQF07kiWLw6PwHu2GwkzSo9A8YscHWtPBwPCk+GIgXg4L1LIhNiFaduNprxcHrGQRno6l7Mi6UEMMfasmxDA9EKnTpT2Aud49V76W8ku+eoBr9GxmyBu3upVo6hD1lFfGX/kYfEZfC/YOX7LyoPtSoTlaOEX3ajNuWboDPMhfURs85o18dlOoASf5rDNWI/1v2u2lT4va6GEqF0XCSKcykKEtglj2bCAoEA8PE6aERqyllC99AtqOHZfU8DN8BDUAKouQ8oMVAPYBNleTnNENdOzQIFbV2//feg5zJStJKttwMlTfydX0Z3fPYeOw/VD/c4g6toLqBKrfOGwPo+8MpA1lpYQFRUT1BzgIxayuD5eh6bD7966AN/37ha2aGL6v6BpBEpYS5sEXtBt4CCgFb5MMJxtaOt+yT5YAJEEuewwuuZ5UZQHP6KCEFe5EfNQyVd9ysq/WNFpJ+goK1TVb1Iii2twn1tofnRRdk0R9dtqaj9xofg2sE+t4nIYwIWL6bKrbhFk7oExUBO/hExafsbMsE4n7eIcyaOwyAhH35V6kCJBVEcNFtFseHAMZ6zGr/VZQxWnehQ/OsaR2XmkFA09zrdyd6m0k+CYKDRCI5Te0DP8afkmlG2Ea8Mmh/rFdponjw+SY9LcTlMx5rSTn3cV3QjzCOGw0mogPrPqbGc/GftrtC1Otrtv0+hnr3oo1+1DmDdUSQ7hxqF+VMJbXbKEXCQodpaEY0Hgv9Tk1TssOWKlY0I1uVs/Cq7cVpKuYvFg8Wm1080W25Lyr8pHM0BB4InFw0nKLrFE8E9VZZ+1HCeqJROpNyzz3+CKaLcTspiZOKfuMp6Hb6PsNLLK9swZgNb0QuYnTxKlzRJfJz6b8aL4QmM4wf5tiPTcr0r2ULlDcG1ne3Emm9CMGPCEkHVP/4dMjVL780iQ3C6OLE60bhuZr6izYzweYDNU1B4xtKemHHSHrOKXMJySfjz9c6KW83ukx+Fpd4fvZnBXUCUS9Vyu2IUnEcjJZzHTqwwGHwE3keu7ccd1lPavUKip5WlzwRaJi8hxbePAbuWT8JNpEIi6nsOvT+guqA8fiFvGJQ31z1B7CNp6IXDw8NVTDJyP0/yTjnlr4+a/ifJBhT2jcRpU6zF/A+F400lzE3fM+EzsCVR21zH3PpRwZnxdBNMAke6xYboNhFi4CjnmFuhACXWdPIbdKcYAW/tXWFYt5y5QJ6afYiP5JuG3X0ZcvE8FmRcMNFr7UR07uWU0sbb68g9zBzmZYTBjLM2hGhG4xjW6lF+i/nYaEC5vbZAJMYzVvhoYuscq8v0/VWzB9/Gnm1he4kgl5LeNR1SSxisCpmtZG0H0Hi47BKKdjKf5g7FUXjx5BzGuGjbtPzWVAlO2pv/3efXp5D2dRsufXqwbzomV71ZlFaJLDGVvFMLX92nObtBqnDzuLobj1qdSd9yAUwOUTJQJcRt9xvzB45dgmaZfy2DIdgNxSrHYl/3nf7AQ7aHxMeplZAY2wMKnmb82fr3vMgDJJQW1btCaTXIcZVE6ifWJvyWOWRVd+5DwFzTPG1mJw9aZQhZS5dxWM/esEiNn9ore8KWknkWhiII2Bt8LAfhmAu3FcHMn82GBkKbrP6+8Hz81dt9gndL/mJ7qT27l8aJl5sifrdVPLzHwI/En7fyCVxU0M0LnsGpuGQi0Za7VZ2X/ga7rMiZ3F4qZ0VABS8dK9zOR4/tVbR/RatHqdtOCzC6z0W+MZA0LoQ7zzq6vkkE0Rl3yjru3x8ak/3ZSMkkMnNwfax07z9pSjJtHMSwgdtYxrQAshNOeGJVIo2WgD+TIJBw3kE3b2gOwBga4i1q7/APiZeycpMCOxVgNA6ozpLPfvY48PHgE9lwKClxQ/ll37fYHukew+DC/wbTDJ1ZY7S7ji7RRYIxm7xUQP8r3lLsI2A7mKUPUa6PxGCGoStVNnDzbd6PNrnCc7wg1wB9P4pvJzkL4zAyxtqMV1PYWaw2dKGPgADyR+4GlAWpkWtyOaC9HsVysgXeV0jnyCeZvFdz0Y6Z1l4CK2D1kdHOClzEl8HnnM3bwEfpivl6BvGAkqX/E+392EQ42Up/ByGBQes1ZcqKEcEluvQWhIjEA7t7T90MeBVLTI1zrh9bi5y5l79xq7JvCqSgwYEpi7f1JPpWGURLaIUyGip0AqLR0xO64c/tDWDMDOPynfGJzeVZ6ctcXBzt+HzrRSBBCbbhXadKat4ybZn1vnYL1/PO6fXOFrD3tmFkYyNNUT9TnBBvUexkwoK54Uv5oQ668JVxVtiDiygtCLw9rutanjzzA7nSt41SS+hrsp7gmkzI7HBrde/MB5ZXzPDGl4p4p1XJUqnj480rFdVWPUO/v5kjagbJRu2etHS6+Dp6hyicrRtJ4R4h+Bw6b8sPyThHxfdQlXk+M6kMfIkK/Jjgc5/KlPrgyS6u+TsYg5nIso1foiCtqDs5HdkcVX2onK5/7PSuFctCZdLBu7CPzpMtFMAYIc7FipGolvsJG3Z+gPP58dS71SncN9b4bhEaxeC7H5SuU48Xbwp9/m/JjoMXs/tLpjs8zjuX9OFxpwx37gb579yRtOxjoBkZEdbCEKRPz18HikMZYpVutYp8ZG8Vr95d3PNgdPLJXhpD9Zy15Yq0t5y5/UFtyjvQUsEjSHash45Vp1silsPEDX/nJXn6vvlv5pfh7KqvU+MDa3eYgSPwZ9JhPRoFCwU1TQ85BlOWOk7ySjpbWFZMhOxxyeH5yXyu5aoEAM9hFuW0fb6amf0kdsWBgFDxZAlDmujWv0GylZeDR9+Eh9XwcjNepxUWyznlxldK/H67LxJltolfHw4IN2LXGSKT7FhvhvcrUWgMcVkwpH/FAqDODseRKhbQbOaD7Az9IgYllpXs2FB23KIId9AN1lY6i9zmjgBYzQI1nozDTppNfYv03FJG85Vg62tzCv7bALAc3yFRgKDzl+47KLvVANhhg+C+lPaKpLo1RdDKmod1f5rT3BSY2Ze/UQ74h/nPAZzJGpaR45G3BBNDJNtII2hsWMnzmP08bPCW6WiMcb/Vs3YVJr9TFLS60o6GtYIO+enuUDDZvYxrjPgoxE/GYYIuseQluToI6h8SX7MxwN7Z2JjtC5Uoos2+wSHCuLH1qAnCxnsDCpfoFD7kcLIvu4uTRdu9SO9C9RtipCxoKzawbXptlADfrJM309MWWP7gex+whSINWEbkwYDDTkUejGtvNJjuaidJuA/IAXWpt2WANfUJdr18hwr59GjXlW2PsbsvDjxOle82ZuRV9j6WnTrKLtNB1z5qIqjWRiow2lbjlDu17nTZRWVUOT+nqg2uh9zQDdByRtxNY93nIxHurFtzwFoyi3Eyp7j3Xq6dwJRT3hLq0+d8fq7ICwIQt7NmmAYMMmCt6Zi5wfoky1IvwvpKnWiyMypABXc4PZs2sxfrjv7TvP8fIGttEW9kKBrRSNP6UoC7oEteN9tuXKKgG3XsAyFnnP4f4lKyz8tvu796P2pR0nlY0y9SdzODAhQ8aGRRGRcxR6ZJHEdX9yGzumISad81kTrKYPUp1e/1rMhkZxtdJig3mxDGuxxY7XuEZwZRAkHcgN/wXaqiZ/x3xpZFad38sPk+6L7efxU1dEsCFAFBhHiCjIhI3rcA7GxunOCeASNiwjZg1dJNc2a84nqBNPU74buMC4354mrfocJxcrSols5eTkAPeDOOxRdlBOS2yTNl8FdA310rX6PFjDF+LoTG7DLZJUNMzwVvZSioUBDYbj4VecuFciJrnhLiJskjesCejP6P3x+i+yk7pWW88g7ySD0qvlwz2dB2Sm9xgzFxJBeFrSfTYeZgCb6c2V8o9gesDR9DL5z33wuMcpmcqhsOsTDVv/7qW8Qwf/La7JVBo8sDU95m50DNzXjJ3NMwabEd+XVqa5PO1Ns4q32mqYDO8U7YwRtwqxv3I8Jdqc9C7mREMbTQqGPai//hnvO0mYNt6d+wuBLciRuDNpOFjsN7BKmVtdUWM9gguBozl29NZcVAjQ9uN0FWfg46NbdWT+7vQE5ChI9DWa44mx1mOuAcS8/nSzr4YfjJN2BInzein60r1FZFP9NwZLUkMjYIgr02HfkVW7zByLk6hgfX3LHEZK+fSw6EwjkxOcY6bUBXLEg242Q3s4EJc446Ttk2m1G0dBLcpdw2UHk/V8gzhVBItcZtvCz66hSBJWpXW/sC5kr5BGhajvZwH8mEvRY9fI3BZbm9ZTqiZdjVmmsdAc14G/G+ONtPf4hi0DDly34Ik4bNTiDMgk9L2zN+8TPzscZPB6UceipVhqWPkhStJIG/lXeCBII1Y9TrdCPysrHP1rpSMtVw5R9D2MYN+4gUOdFZjl4HCMImpPBbx22eXZ9qAz+kQ6KnE/ECx2uCzfr9TOTHP9zoPXJ8WSxqYJTkGpsKNrSwIVEdcPTy1OeNDvdwBKeAFXe/QmPQ1uWSrIzUTpvbZ6GLQwky19BGXKv8MQGqeIzRXWZQEBX1scWMgqlS++PTvG2pY68/yOBMCVOlWXR96Am6aDzoKLaSIEm2LGzem9PfIVtBQ4d1bqapW3+N1un3tDxzXNmq2Ujn0zXSqVY92C6Lg9m9pf4uhVFmI5BJkdLUAa2jct7fHuTxBt7PYGFBsV3EP8EVwKbDni4ocxQwZjhAI7bgdZ3caq5C5qAUFYstjMpI2i57Gdn0gEUWNP2r9KnB+UhAj5xgl0Tb9cnLXl4HADMM0/KPhSCqhOrrnUUQcCscwKNDjC3rqwOsK27S5Upu3UnkpCJmdp48biUwm6GU/W9yzY5URuo2OCuFDCyQNqK6mSCtAv5U/4XHR/LUrRjb3arGjf2mKHMcDguszDiMjlNXYoUEhZ+KAlUeD4w5WkZnn1vcF1wtQafGqmyf2dCk4EVnTKpTZpJ5oPP7yJfcThwGJgfLpnuCWVBKB+7WF+BKlciLADXNWgRY3yp2gzbfCZmM32FnIm+Kb+61/sSrgBvnQSaQKkqgYSzGCp7P9DC/UOTFQyNGdMD5YixlT4/j+WZYjxizzRG7/PntO6a1xg0SzgXin6wGoLzvJXt1TVcXDs3aCDNcTVPhDPO2BBHIoU9/tKvqKfe2+Mm+0MzRb6L5GnA+JDs6lw5TSSLTZtf2tvP6aH4BNwSGhuDVVSC9vebGACaeK8877WdS/uRILOxiq+Ll9GMwL1zmVwv4OmQXRTCvvKvV87RBRlnWLwTSw7quDVjn73OBmS4SAEnwVWCyJg/NnWvuTzXJ19U2vz3s5TY+WyE3r+67MgD/EAqWWLhfrnuD1/t8vPktHDYjw/Ft8MFMWEjDcubs/NqMyV8yKbEJFbmBb/463Dq/gLYme0f5kIhD0xwSoeKqTv4llx6rk9csO/md0kP33Ak8DBCg3M5MMA9+/itT93ZjLoN1VKwWzwYFp/TVSHvoJ9Vby/st4f2h1x2bBf4XdhgmIDDRBoscdWK6S+xljPuVZXp+CfC+32xdY7ugJXK0EjDSW2Bkj0g/O1ltICI98CCEUyqVWP2JFK0EYOg5DmB6KdDZEAtTJ9mAcT2hHPNqDtPSsm0DcJVfrGlnzhCSr5FLI3x4O18krvFKTXx3y6feelteeRFuS45pCTKxFSXVmS0d4/FauTRD8rDNjAwEz1lrHis2LqPT7A36TVj54KhroXXqWob2hu1UOrB0XQD8xtbLRFfDm5Ev30E79sfjT0hHRzY6pADJJQNGka9Z6ZRSrijPqnKHxDYjooL0YE/u5gFi7JYGYs9/CUxFgxjBnT97LxKaW6G4lmF/U9uExw2YVnb/8yR8kTXe+veKpIaMXhRBNH2sbs+Eh+Ofes9QXakCOrtwkUr9jThMd1KN22g2QjVS4lLJYa+hrqxqTGsviv/kU+FSWoWr52nqmXmDK95I8QHILf4Cxex0TdbG69/hWB2vTxzuWkGSF4vqwnsaq1S2dOv7sPzP+o9AVUkVWNWblLuf7r4rhMquiN6AzxOFMGbPc0/58IVfUTPwdVxeKgeVciWjYphMxFB0iqhZUJkIdVcYOPE4MudCGgGN2G/WMohidYB05TVrCOxWxFIgdaIdLf28v9JeykGo3Fu2ESO0zJ5yb4i6FKFBp3Bl1cZn8z8jrK0yU1TKYLOKQe7wI8RttnMJUtBFY9pZrDp8BKJHlIOevq1BIXuaG30wv01SxRosnJ6g7yCeOYvo/lHo3+zueY21Foup1AOrQ7NIbLFO0cOmM6e3u38U8i76EFF0TcWTegegFHbQKO8HcetxuYO4O38fMsT3fLyZLvC5t5cw9z8f6lz4kRc6yprUQFIDKrnW8qLorHqqWwKY/pYlmPqEWLDmLuU3o1YewlRpJdq5TrBATEw8eyhadPU7SOdTlw4cw1hEaMnUUpmB0Zj3lYqo7NUj5WgRKJ59OPtVeqZdtgPYemrchI9FjYV673rzQBbTxbcZfwv5z8v+Br/AKUqLS2bGw59rMyGnqp0jTbI6syBLMc5p6P+0n9FefmwSl/+CEAoxAAwL+QnJA+M2WZNXC0UmAuePKrOuX9nHiHxYYueRLezIrLH3enWhUnZaWoPoG4fhqTkQMbQ1fGFDV77TwuU6XibnK6RAH1NZL7foyqPYTqIU+BzjhGVs2MRZiiyavhLNPFVJCsvzpT7flWB4v0g/L+bJCX0QGKWpky4Z1Qg+96oIqnrVsABhUuVYjS6cIbljwvHA2ZiwoltQAEs12EdKS8Z/5Afo4ek+ZSEN2GmPUPrGj5VMuCZBtzbCWdUwbnRc+Buk0fXnNKQ7D1eJgKWlCdWZM66/Bsdtb1dNODHAJF8RpSixnP0Kr8Uk4G58dS140ePcym6VByIZ3ZP5t/LgBXSqChtUVE3C7WgsPB8VP0yRPA9NA4NdyCTOhiqlP780vzi1Ag3LMpDSBht8Bk1eF1sc9vYNnnobtyzGTYV5bfS3KGck8Jv8JPgHTtaU3sfID76w4r/00Jn/GNJ5RhMdaGxwJZLyTI261sp08DypzrHnFY0g7B4K2rTrQwP1WsgBBu5I01q0fyQXKSQ1o2+pkisVAJjdM3vQK6yvdcAf/MpCE5nS+LaZlqZkWDKy1hSTf2xLkRG8en0WOfXOVESp5FzeN8Oecxed3nCSGX0dBratj69U5Bw6vwRlSQHHHRnhJx0+1Wuwg+RygSV2yTP1EpuTf+gnchf2wMZu/Rsi499D/ENQQcvj0cYlXlOoTFQrvHtm7HPUfOCFynsaNcQGJRtqVPaNqxi2SdBsiddZ+xBQ+7GkxppvyT3gqg0FZP5rIcJhQqJB3FmzHeNkdtMyLeXnpyjoNh11ZYP7djwNC4jf0Sumrw8N5kMYa/rA2v3YKG51Is6Z0Bm9/2lXH200nbaPx8xJPLaOAa+hOfNCbZyg7kaGtwCDuf8A4Vmt70leBPAZoGTB29GTTirGVwXEOj9ozlJvEvOJg971nSJ+NUt62sc5FnHkHKxs4yfXF9BOUIsBtrbmrI+RBkuk7JcFCWxm/CicRt+IMxihsC0xDPGux4QihRMnijGrY60GiRnZjjeGekFWSniNjwXcQmPn73TrZyCyb58x7ZToYrSWCnS29B//Cib94kl5zdobDws4YRDy2vEcprqV2GHBeh6gmDtLLDczpnug+V0M4+zfYI9/KKBgYC+VmBtk9xscp67FKn2bV4U/bjuEbRHUxsZoK3SiEfqhawsB+DHe2S58ERDTq26IlI+qQMG6RhK/MMaDb5sSdzkWNFShT7uSLwphx9CmNgotbiHg75wOoZkSJYTdNXhvLXmt9z0es3cgJgr96nZjygp5tndDREU6XM9T2Ih3GswP4n1RAsuhb7n2C2FuLPDnkD9ayoiiR29SIDRASfdZKk/D+e9tzE2g7LTilQUyd7sKMBucB/623EOH2M9Fwgmu4p/NIN9cOKNML3efSp6jO7x12SUkaJIsTeW5plmVwoohhBhUxXeLmWZKBpwO8Nf/24nsFFlTDVe7Wl0d2avweGHsmQNRGyWPDAKJECCVTzKLFCoyInDrbbAYNxAnhIntciGd2BklKpDthl4dKcvYiW6CUHpecZ7K6JGeehsU/cz19oTqYxKfOc8qn4qeAsVTDcbHSl8Lk1zc19uJ+K61p75/YFxwyb0mIhQprjTOBPrdXRhnmYM38o1y+JJ2Obi6sXn4wBSBqAxByn22LeIFKXqWv2OAV02DDeOPzHPMSDeDDv1twRrpuAsHHCZeWF9cIWUrCi/vhNwKXZ+NTTrUK4cp4a+l5WlNWl4zV8LtUjQEPAiHxVQcnzpLFUoAg+K3rzg9ltPrGc9k1rAZ8l5xl4VGKq5gMlwpghPwqSHS4xP6cr9+SzQewO2wRqE6BGpwf9dt6z6qbc/axgA9/agaqTc++BF17FlBtX0cPyZk8My7YU2UE4E2HF2TCo3fytwB7uHFXsNFJi4n1yUh4gkMGWwJ87mACaY5KI6DofMFPyLrv7zrgNpowcwDsgkGhnFLIPBeoqgHJz5ibE8gY1JsRqrvj3Yq5XRpAf5vnnI/K8DIrwNxjepq8DTeXaEaBicz52SLqMdvbpfJggOpwJ/sgFt1wT96qaqArjuc7IMvI9regMlk5OisLBmWF61T8LYKdD1PEbd0bJbT53x4okzUSgixZ+N9bi9bpJ91SXPm5X/R7Ydcx2jYqpFEON07yNM1CTUgtH6FEzJMoL7QJwx6I2jeIAts4X2WRD2wTAZaAX/cIg1nx2By5PL4ngA2FG+wisZjFGKdMBCJXaysx9p/rCS7sCFhcyWRHDU0FTkreKHXAwReJn15IGvcWBwViOY1QWP5VPuKnKCRfWzVMXwL/W2UuMzgPSzLm3HzJxHYmoSikg2yx69yAydYA7lmE/t5nqbLWNVwGUR1SJL+v3Th2fycvLx/QchUJO3+J0soUtzOWHHOHWsOCES2xV93531TNIf3ytdvqOX4KJzDPblBqzoEV1E68FN/bQbX6wznqpeGP5uIm9BqmVNyOhb8GfeD9lZhR9QyXEIV5KMCr4Yss3PU0T4o/YD+LbqLAa+X0AKB5NCNJzupf4OUYCXsGI13SjpBcDOj/LOwi303bSEYPiqYwlQQKLp/9HFh3/bG33GUNLqMlSEOycBn9sWtoD0LrBppqrEiXl9xhI2aJHm+2LGVsq4URpFlxxY4zwypwaYoLzrWiCH4blG7e3NG09bBtE1yok8uT0o427HM6Nk8Md9MSoU8GaRayN5FYhxO17JgdZJhPqywmcZQTxy9r1h6862W1WdvTGjOidu4jBoMvGaA5243mrRUpmzh2aBNzac8lcFZ19Z7i02HC/MNSDp/pqo+EHeJS/Uk0brVKfPi666KPjGw5bek1mPiOksKs7pRkXwd6/pPM+IDPQIDyJ62xJzBNP76EDrQQg94uCNQrG7K7GKvmw7DHZlUjxBaH8rIAN57QRZBFBX1uG7T1kHcQiPYR2u0UQjjth7YpFS6M5u0rS6nPork3r55VEeS5QXKK+9gFp3AVNVo3QpD8w6yvEPZIP1mDr1Qu/Ymal0N82oLKrGRshtvlwEeAIYg+h4E0EoSSJEfcv1HKBY7uZWjpesyXVrxso6CImJgltDon+01DSfV5mSHcRhMC1YyYBKopkleoZI6vidJnj1beH48p6Jmi0e2FoFygqhmY7wBLv91+axlGwSWU5P15fUAahN2ON5g8yptsBh81uFmU/H8zLFztySQ7Dbb60IkyTegxqGFegxl9p/iuENFOGy+0B3CQeky2Nj6yC3nDHtnmsJt6kPkHYlS7gbOLp1OT54LFNx71V1R/tju59go/S9BqpsoC8yABT3WDprANiedaNISoeYVJiOlBs4pwpusGu7i53KwJx6Q9V0Wjg7DVf3/ZYNEyNaodw93Ahel5BGmK1+CYRevPe/d3lZttTrbVKeNiGy7KROsU+FTcVF5344VTRfX5s8dOg1VR2/FNZWQ3Zw6Yj86CUNQ+kAgew6XbwSqjaEg8Vk7CK+pK/YBRiyE2AbDoAgHYixUaCipOmzmxzATwJTfgBmccBy87KwYp519dBceUpGhUkRpeE1viWowO8sCuuWoYHgLD2MdyAiWssNEnz1ttuLL80DfarlzhfBo9WZ1zb/wYpwfIYPvjxSkRqwiXRFnGZjvTw2c+d7ZWbJizuNJvh0a2NNZhyuf0IiV3XLjVB7izcuJMUF6FL/fDp0eILNbcE8yZYiNQzaYJQlTynvEF8n2T5cVs1R39w0FVd9RcSGVpPHj8ZDDwbg6bM6/8rDhjW/I0nzZGYJyxg0GAGAh65D7esKgDXGI2VseKMcRCrwOzxpj5a6pwYOYU5MA+JcOygo0Eqzxt28kDzdkuP2hPHZRBBUrpfckVuAhf+V9CJjIlD30xj5uw9XYTWW/1rPDXCCSt2yjrw/QjSexKG2j7tFurAcB8PVQEgzCq0dsSjLlzeBh1XWsSXqhEovJQNFzL/8zDgQb25uf2F2R7/f820FLH/nUmoITJfoVGdaFQe8zECax9VPTlgLJuys2n6Otcy8MBqqg1764qf0oXZ81cBuOboyOJuNqqsg2m3FYR6bSRz8YDe4+hbpJKOuVELYSGHWrwEbDGhNGNPfd1NNEk2cyFXTYKL29YDjq/sQfbIYeuwBdvN/tePZr+vT/xyE1E0idWX4uGLoPz8UKd63W2O7YXkbwuKtda1Ry/t5W6X8zZ69mghy5y+sbfpqDT72CNlntTuTxj4XbeM6gPlvr30CSjcb0Tjq424LGaBVCzF6J28dumOl7LppsOg4QaRNOalDeHRsFpJFvML3YwBhQh/TNDZk64AT9GXJl+p0FWpuC3Yw8P26vgUO0jCrtURu8/lot4m77N/FrwZNkIuCaSTzqTO6qba1WGbq8c7Z8pvpHlCQsynJ7rwaZ1cIPVL0/TfBmS2NpFu0a/+LY5g1dmsN51XO+jC/6YAgjwk0UW9l3xDNfZwoF4rbLTCNW4rWlbKuwrbi7BTWJaYs7McgqYMgCl8wAnRLWXiQFI3UUAh7T0l9ckH8NQTP9s0mgtwxfMsHbIszyg6Wf0nnTa++ZHStdnPg9YMdZYEiMh7tekWMffzQHywtDlLEb7yKb2hbUOgidtHvOwbcCvKUYHZIZBUH1b722NrJ0aTqffV0o+e4I/9uHQHaAmsMsN7gTIiJqEHsTCOhtRfgxCw/38WB2lhrpbDEjw+oCRmdgDyqx0log6JZAKVdW4SI28C5+xc1YVW5l3gdjBbqFSZG/ym7muFTZH+vY7XzhvUYAI1TK884HENg3Iy4D0zNnFsPca9pwO/mwFSVIig/3npJ4+2fGijdjtxRKdPHRU79Z5LqQTTpthDboS1oBXpKqSKF7iV4hJrmgdZPldjvIJ6Vn24KacyR585U4NmxcTsfoKxrpJ1PJrK5Q1AJw91CLwAf+utpasLWMXrVHI0+dfw6Gi/srGrbYbc+XML5oMqxKrrU/jwoFtEdHHHHPE1mngA9Q0LGodtwujxXpXVRMgJOgNY5wPEbQ97Z/0jUKe1EO11KGkW14YIOAObQdNs7vYlYgBQLaOH3kvrpkWQ8gTefJ9zI8io5TdSklQudMzc0Y0VN7C+gkwoCOKYVVHBA7mFEm11Wd4X1gwG3OOtwwQiAfDpaRgonwbxuXAuxSkfTQ/KUSEdDHuGdOhMeVfIHwRHAdv+X1ilIP8HOIExWdCmrROsuCKwt8fcmqI44JcK7BLUTFlwFe7cdL3Ys6UTdJZeRa0PGeZ6yiUE2bBDd3dMi+1ctO+5aoSSDETinlKQIQIGGRsGEsyNWxOZQyzOQRswz/NFkJ8b9RGoIC/NZDc7fxkJ2qoXGg0pI0gxEUnYzlM+l1ZYycacWTDKy1+Hp8ViUro20uWUhxuTXnFLtf3akB0L3R/XZQZM0acmZWaUdpvZgVoxqQFYiHxU6wfssy6D2aBaGgXgncUb7pxY0bM8FxRMGkdza7ob5dm0KXqcKyrDhncQOHQo+mKmK5kYwo8p2aJm0QsNYHgykK+gQwizQQpSDfXg10Fb4WJ9zlSMytmK7dsapvfqsCBFj+oxOzi+7ixjAK9u+nmd+FCtZ9p+sdpap2Nug4bPfBBM8K7pS5+z3qUkaT9Z/3KmC/L6YSaDz90ek96MgwWXuJDGS1j+ju/wVw1SEObUQOKlSqYi+4JeyL8mtKknbcCObbPaE/OpnI3ce4cVCjR5OWej67hTMSSPu6eJtyS9G9034g6scJ+ciZ+zvxh0kuzQb+KOrgfb6Na07jSYKgkWvq+b4ZkWVIfY96XQkm42cqWpBPJdt4iDHTDn4diZZ6P979nA4rwZQ49LyNcGdIrLphDC4y1BoaM/vqTHxJeA+2NagrEV/U0uUgRJUIIQ3moFuDF/2ZsAkKyeCBh6a/7wR8RqsLOTGDtASr1izPw7smpE28LR3sW6pTsfzTwIRWxk2OIrxh7QNhSnRzvIpAgDhtL+hAUBWcrtr+CxF8oTJQ9j0Oy2mS9Tajh6GnKup5luc+F5pLXGGMqKLAoxk5KLfplyDhLeqnUBROQmWQm3C0yvljVQhQOjxnXZWdX6iRIuUa+IBwz3C+3IvXq+KpZVLEIG2XLEqlo+VcWQYHcN7XJmdFTVwtAd6/6msQX/tQqmTaTpuzCE+kw1VCgmA4mMxkxMFp46Kh2Eu7rUjZQWNpyBQeDsu8nYi9oFCQHXbkVu83hYxWhYMHtxea0AZNxlGjMB+7JAVZSGhCstgh77lTxBk+wUQ7Hl24ItQyJSo2TaODVc/5WnO/JAqQSRf4c5eCu45Q/25xmoRiXjxaq1FTplPMgowWVb9aLtVjU939cvCs9cHBOfI9Uph91FxfbhJFdZ/BhfD9MF3/Uiv5cfZSZ+QpHd/a1CUI5411nRQ/F4IjzKmGEIppRMlvyX+e2LNSVNQzSnkSJR4afHFO9filD1QjdBw8s2qqeIqvPd1oL8KIaNKndWARckkNjf0oM100sdLJj7165wZebN+UCCGi3QqIaJVMERu6qAVCZfOe70tOm0m8b9Nlyt7t9On8r31vK51/W/SlOOUGleQB9F+zm9gpXxLssqpwLYmdjindjje+YoK2k9n6GlEfkNa+BeQBR5Ho9gahzgzrJv5O/KmfcmwJ+xAjWJX+M7cjPTryP50WvQ9s+LcD7KEJHeTNZZ0hzpgBkaFliPkunvoj9Jw5/1o0f9j/eaQmh9aR7UB7G3hIjvB23w4M3ES7qJP8aap6Syo1rmD6uP07kaK+IGvidmuFoqxHbTj/b2+y3LqOMFBCv8ZxRJ4f+KBzeZaHcDQk7+aYQKTlDJzN+XXzHBR3h/ibdwdGgSJIu07Kv5gnbmW8hVCAhosj2It0K6iokHrBTq6YDDD9m3z+lYbiUpPBsUZavSEgeJBMSEjvkGvD5V7RKFHErIn4A+VCIvkuYq34Zu8DDJa3syjvP6OBz9Jgb4KVp9fFLAyS5L0HIOcO/SXBhTVI7PeG5b45m06u8sNXZ8xIQ3+JtF+FO51koG4a6opRb2/WW2aIU5liZwgTeZl4i5R3ZKucHwxsrCUEFhb64ZwJGXwWdrNYouEAdX3ySiL+44c3VNlA5hM/i5MjooC6m4u0RkwOVkEHwIV4ByJDpi1AxGPGMw9z2h6hrv82foS7kOV7gShcRPwj876ut17wceyJmYQSM3AwcVxPUCZC7vnUFq/6r0Sf9w+1sBEioj/VkARV3b0kbueQcurLAIkIt/uinTmlewM2ZwgJWpenOnsHGB9fL+aLdr8dY18VISo5HGYIFZlFGj0qxU8vTk6itgFu5YBSgES8bWTnlACe2RwBncm3g6stlacXSPEPggkGvAoG2j6QajfLjjkaQF3d+/lQBAzURxMY7bYCteEq/4m5QKhorxHLKbhDx8S+swtv7V64NecesaljIG0D7xv9lF1Z30QSWoz8563z+1oHzg6ocURNklg071EhPvgw1PM9pmVL9TBrXCazpvOlhsDrHTpojlu+Z0Kf7urijj+SQao7juRHvGiZ5dM5W/8TMQ7G8pMdfMXxfyLe/8NmPQObji87BeAMddl6jYl75njQ4tolmsaxVgE7k3XLiSJ31uiTJYueMXSDMbEMDuNxl2c/wG/3YP7u8be/eMDW/kPxNKt8POn5JN2n7DRitEi/vciXQuK1hG22z/r+sAcjPljr6FX0LgUzqaELUDA53GrQJqHC5fTRhnv8I2KmM5L0HRE/0QPIYTrQq2VrOo5z1vH++JtBli/0X/RXlDqDJYYq9IW45W2UQhdbD5Lr5/kceQy84SIjArXJX9qeO6BcLMInhFO+karVOsVE/vUebAnzPDIUpIAZ5srKyiKCwzFJvGJ8khhMWxlhQH+NMapDMffmUxyqZkl2ATOThrO8UOIfwss5Lc7Jxqk+M6tQI5RLiC40UbSYQQUl9ya+aW0LzMqOfhJQWn6aOtQRlBv3oJPY/iPEFJRezQkXzKr0eMsPRKZ1f+Eqy1+YK1gcpD67jl8530kXMrD7Hud+jPY2yAUIsVrSLw8CqX5K9xPpHTMreYGyx7/2MB/yzpCUYT5iuCC/AvVAGahDZ3TbicMw3yZmcaPuMhz531IvTgPsVxr2HBOKqtD4HRW5L9ughlVFcc8cYUUMYjjKINFq2IeTpwHpbPNpeJMPOlrc8GsLxKIXAEiYcOu3PSChSDGSXJfaptkML+FfizVVImHZxRTf34lUHjEGJHVIqVUDNSSDefxqtTE3M8DAi9fPtbSgqZ5p5yh0nMpxw75luG1liuMY3OkI41ka8nJyNSlwvoZJfKhBbZlQLTmxR1cYWhLvFkB/X30LPUUcmZdcN1YsQa8DAvA57Uy0/VwXxgXaIAn3WdqoBG2pofsVneC5f0gd93vo3+Wg5heDvxZZosWrnea79LeiHuIw2+Cd4n+lV8ZZJg1JQvf7kOj0PzS8H22Ks3q9BS7f4BRxgJU0vmEedfPyEidEDqzAw4mFtbgSqbaYHkobG2yC6WlLUIa7krtLtWR/5vj+bLbCfbGKaAi51SNIKMVx2CHo8qj1yrDY9b3geI4L42dlR5NohfNBjqq+qHWYbInH6YfaZEKlhaaXqmsA96kNLOv3j2PBK3J1kwYTY5ATCFm+MPjHbWxrEKwSUp5AwaPLaZTLyrYiBPPxo71fyeeU6CPyKN5Ncchj694ynJgRVe6dOMvbUWS2vW1UUEwYugyXtqIU+b3izcBJdJe42sIavNdzfc4+HrGoF8VvO9ki8G3K6sJco9k5ZCDGWEPZ//wMsephwNOhA7fBfEpyyWGk4KmKe22XtP1BVDMF19I6ogUEnLz58MjMwAT5W3VpIK/+r3xKiGg4QU0hAP1OOYP51RMHkEaRt52dSyzYLmpOHATZYoXpqLtzFNH2xBrb99o16fbWNg8gjDD5sv7dICKw1sZm9IiW7pWuWtNG68pRcdVhX4ftOaDosrIhlfllOzPr5IKPNJuN4Y2Aboe32FcxwkUTbFCQIsFxDh3bjJKbcg9py+GbLfCwit9Ko2jLqppq2Y60OVHugJMB8VhyKC6lM3e07m4aunSzqlXP4hXzjbcsJsWXaQ6QNOfWQ75l75DxJ8UZXO+211s2HKGwxXlJPfaEwRIsiLVFdWiFrh36Cmm/M6rhTysrxRLFVyyrYNrHBvfrRz7M3yloblMt208AjotFDxh59Rbl4HVuHVUgCcvRahyYsbSCo994yMJcBwBmcOHHSLIY/K1rpa4zdMVupiuXUvd6ZX62me44G7gIVwL/qbVL96OJkMa27BT20A8dAu56HvWtWBdlaeZJktzuExM6pgvr7OWGCzaIUARQUXerlVOqhTA+eI907tWFNpAJ2OAy/yrWVfA4CDd2car5h/A+cAXUUzFOB08K+vPu8nSjIsH1BiDfDTBZi6uLi7Mozlan6GfOIH1w/HZa7aQto7IZl2uzcpHM9Co6aXFEedYrQsX49ZTBgDvBev/Y+pvc0o3tHzFqjnPer2oNzzGFqnBaxao01j2wDo11jiC5AEFHQO3hVN778SEnxX2g2GtYtc4HlCZkNSTMDNXdyb/eGsVKnaOzAMIqxn90AYry+/ZUq/9OgUgRi/OXozsNkAGz0dU+RUFPfkP67pXYkJiVFHen+lkjG1usOY47iqCgEiHs0T976OPZ52CYxJbgCWEyjYRkurXUJAn6fb6v6K92rqZ0UQ7IT4A6BnWHGKZQUl61M178hQoYI4hwXyR6DuqB5D2Yxc7jjG5TxMnPKtkZYdWGq8gOw96ldVo/x1tCyrt4fRDdLrN4YnvE7VJnLQveyV/+JrbWJP7QJnknZEugv7s+lfERaR06ZRKQ5s1/w7DJoWoxZDbA7eNlM9IS2CodzGYTyO6t+nu3DSOl4z8848Nqhye41IQBsnJL5IFyIOrRW7jHd2X+aR1/J7b5m2xzZoHCdkBI91qaX3XHVIOdgvG4S/nf5cL0t4uxI15TIURD0Aa5eHvkmcD+/ZcT656//149KKe/UuJCP7JYqrxfTOa+AT25VWf9l4XfUby94Gr27Ut80AXNQMNNGKIodu+UliyKHI8y6NuvyIqK9BgSbtgZO/RYm2ijQTxzLBRFCjNoAUt7QBjBsFK5t/Ct4cJKACqQ14huo8z8xuNcBXjXGiosoEBoUmagveI0arIyNRGmpuyE/+h8vUbS0Xzh+dMAERb7jv6hYcYGVp18N/r13bTYx9fdR6uxBGUhBcoCj9SdIOKDqhHF+SLIqP4BOGYxPuTy96FxhFivgh+3gJm0UWws75rXMqp+eYgeQI4WrrUoRxKmFau2qzl6eGQtpauLrlt7F+s1NeLYfUlTUw1a69SxsgOWMQkXItSFGdD6tOrGK7D6tjemwijorxb+VN8W2e6CAkKlRkNCEzaCPaMkO0djEJsRDLBVnKl6e2qxz0taPqNp+bxnxUIyc59cELY5jY1PqGwpnCIJhV7G06pFDl2QrMGsNgTLjKVsjj9L/V2CcTeXZ1Z+fg3xG38/esfLECDJZ5uh4fNUVkVEcIyY3VVahmFhW9+CAYOnZCkfUogsrP79MzJMda4uqNsXnBexCsE8Cg+y4poUX+WiqLmF/F4MFDM6PcKPDKhfXnURzoyGsenGW3AWZPXKTDcwFgVkNttcNPmLcfhkwsQfAVZOTDvdIqbdjEnHLpB2ZSybk4TLNRc9TR35u5I+6MNSFpwztSAlS1mqn49jYhaU0aZAcF3D0RX7Ljb+3jbr58g3eGsIYqlqr0mRdOAd8DUglZVwWKsjQOOLvm0RPQmDlokKJkCjdjoiXL+r3Sd7cSYpiNh+Ug/3uBBduqtJ5FagyU2O7Ow6KbwEeZHZV3D0glqJWwY46x8FmnUfoabW7NH1ySARxWEwOEGUbyTYcaDQg12c5LadXLYYkd7TesEyCJAr57ou9vdi1w9Y3Ad92l84jE8WlJAOrx4z/kLTZFDL5VUaE/tArm0bEELFrfLc19S0MT1X5mjLroCzmSQqrCHHR+DSgOkwQjxNc41MTZbPQe/ThcMHqrO852gfRDOmZXQ7gQdWWzhVe/V3N645qP8rWWYLj/W/gOX4M54oAPkecKsxn8qddJjXsEGksJ05bdwub6mj6XrV/93t1MQq6ByxN83K/blh2uJT7Wp8Rs/cerkMsAU4nTbNyvkiCiULTu95YegznPzFeHlFlv/UpyJamm3zm9zi46O+4aHpRFZ4Njvghf7NcpW7qVMEeuMr1ZojNkGRDGnnIyWisS9PmkOXvevvBxzUUbymicAWZ5aYd9Dl9W0aWFjANrvq3/LyisAuTNK7oi6BKZARq6QhTW3sPXAqpIk67jWT2hyNaXrF+/L2+MIMhe+0knUR7SOed5Wk4X5GDLSC/jH+HBQ/s62IrKeTk5Vjnelmi4XFzO2eXHFCbBA0LEkg0p9ynN1NRAViFiXb1nAgLYpgd2EX5a5KuO3DGTsljPLx71jjQJ7zosxLJMG9TYZiUqu8oPONoPZwNNmEomwBamFUjOVBrNZaIeSNZkmgzCnMuvDS5NPWL3x2FXUvyTt7H56vF6jEVQK2M7xJJqfPze3rhoOZwRfKAjOi2jV2FQgh5b8JpDXW9WY9gbto5haXE9dWJAmqOmdpiiJj6w9RtmdUdSbfm6r1BzOn3hHhqJEQjdE0l4UiHix7SEh8Hz+/7G83G+6fsb+Tb+FSjrTaAl+W9pZKOLzLqNfT0uhfIIV+Yg/Cu3eXRaPpd2c07IKPwNHoNolTOmz0U3PRODjxb9nUyG+/8+5ntfR4yIEF9ypyccq7gjGuOfyNA+GQ9kBjphjC5PR3u3M1Tjfb3c57wbmhaBD2kJ1FLnyH8XSdJAEw3JEAhkMKOrIh/4G8zDga0zJKRfTceKsaIcx3G8WpGH6P/ybrWtM4jP2hGqxR3GB063Wz3fmo5apl7BzhQIsDdH+St8Dwm1tr4rqnD6ZRlIDs6d0ynBsnT+znNFZb74d+dS36imBgmkR4LyW/zT3xz00K8xv+yukS3GO7+pj0dT3B1kMem5N3w6JfousSwh0dJgIoOGD1UZRw5T4wLRnKOG98w2x683bb/SJRCRig1rvtBDrUHr20N2Dz7HtiNC65YyrPPzowUVymeOOVXPt8hz59ebnjLkBecj0SZcWG0Z26KysOD+bHxcBDqKbQVr8tWoWEhLxUsuWmGFV/qL/yqWUulv07BjVLRgzMjhsvLXXCeexUgsJl5tLPFzmgNIaFZrbPmJnTDKWUcJAMnWKbLukbeAX1+CZDziezW2OiMwCCTpHf7WrDERvm/WV2ExxomV03P46B0EO9YUFr7R0niP9xvsyPOdq0LUo2+eW8Iz2Q2zkKKHIwxqT4ceuVsrc/fXZ/tbqEpuNN9Wn073TYDE6y1yGklh5lVHgjenGKdhLRcY0x8bdcx5g7/40BJy6+sAr1ycKj6m9Hh3dPl5W7Y7B1NBGEvqlof6EWzFPDbCG4ESz44jpSIMYRRBP4XPk4GchOGxFaiBlB+95KYbfhZ59/p7NFiPgxkEMBrFyHq44FzM0sx5Gha+bStcQ48hDxUkcBCznV8MaoPriSSOZtDbDbPC87AOmXtGBjnKFGoEAYTIyZGSa6Ms7gJhoDLJJUwECPMTtJWKvGxLQsQObUhBd4oaunYbNVNPR+B3oU6XR3wG+3xAe8OoxSieN6mNkExI4JKScpoEH1Rww62SotyAhS0QJwtTqvDonPuE7A30ZoSpfvJpeHQcSiOTwdN40ExUbOdUy0M+pAmcLejpMONqOTDYBJ4SVYQj964losd6Ak5OWHRa3L9GYh80u5Wgco8wxvczk6n/ILLiCjcx5JgLjzWrC3uMNWr+YgvQo5aItyKPda5JRqk9CWhUQv3Esm3u9RWo5TM/0NdnYLPI/aG1LCaOb8d56cnmD46X3lsrtOJveUECpKZq/7Yq2Xsfv4em4YURo9UrI49h039rrNdmk3C+w3hZZ3eMnt1nUim63p54qcVP0/4hkXvesmjHA6ekOSeZiTbnUv9OYPIaJtSjYTsxndS6/bHggZA/bAatjyQsglPLkYfYuCW5OJ2L8LriIXoDLDbBp83Umy7PqdrFBioQR0pty6Hu/Kj8dl7wOrZDorugy12/wCdp5UkixPM23L35Hcm01CFjorpGCf4Kyt/foQ/Z9992tIqd6LRVQftWD3VzC8NCR6R/TXPWGAoylpUppcQnA8k1fuCzn5QSX3Nb4BAYO8q7tu7E4phRL6apLGfkXfrn14QiTuCJFHCmj9+81hvr6APOuVkds7eqPOxsrKZXBa2mGwe7R4gw2cYL5Q/171IxOuuJgPnufpf2wKq/CnVz6AjOntvb7f/w6rn6D3VPMXSfsaPG2JLa3S35F4EmyXx4pWEbVjWFvW+vpaShiKpP4RUIN/zJe3DV+Q/1KmwfuK243fv1w+VYLhpii9KlbSiHId8mYWcKEW3PbPsBpYad3O/tchY7ejfP/J5aqKbe+sEWKaRiEV+bYAOK11JEHW3TiATjVWJwQinl9rQ579r37KmJnwXBOVFqTrKo0CpSiNPpVgUPt3tv+xnQsIkbCzrK6wX9AGMwgUTQ2GvRSZWPwF83ME1NwQqO/oG9qtkdVpUwxZyFvV5WSh4ga69pBI2+OOa9QFj3JNazVkuES+4eFf+xkj8H5i6ZKnMEfn4BoLu5xtlToCqmuG2T1ip3AfakU0wPiQvUBLc6PJgKCSPS1hcVY/RAxCcJ/C4uj1cC3mosLCLaLyNIMeNx0CI1L3ZATfZ6Z0+WNWQTLX4FLyqmfVptCBOAMmmmj+5iIs9rAqK5O9AA1lselrWeSw3Jm8uMDIJbcTD9dMHM+fqEykumBBbUQW86V9f9nejcL6cRNy3eADLONjUWMzcsfskPGOQHbjnflBw/SLPEMSqN268F/Xrv3FAMDPjl0q/1qnjhUEyamsHWS3o0yvhpZZ/r/jA7Q7sQQZolZDfjRx/yTGapISaH3oSdywMK9Rs6CzUJmDW/x+YM8YgksnXCdyZgq5blGC1HXW8fgHBVM5W1UbTkp/w0Qjs7C639hnWTkLdGy9c0pCZ3qf5xeZ+EnFg2B4e/C0NKMawNuj5CzW0qMa+eA2WydhIm/x/2Zr6UOo8CDoV1jwEpgD/4TbMQkfuwOZCtujKm8IdP/AhFQakYjErbpMeS1mH4iM+DkdlUgHdZ02UepOTvvbsNVRSYFi8sXKVVEMHt2mXJdrsZAWzmwLEHkSrZGthrxXCT8h0NYW78UadQRdRMZVCOBkPUnEAhnKnbOv4fPNZdDqhaMrUqskcxaiD1Mz6w5j9dkpkoiRrU8fVYurVKWlyi2YBx07GqVGhfYFq4/Aa2RPUsz/il/hHmXRcOwlroNC0kh4GfLXqidfqbyJXYMIcQ4RGv/Qx0b+0mU/KjR2HqipEM9/CnbSJxDgOR11v78Zm5OmU+BQgk4pwnsJdf7QAPq+bULzdUOWQuU0E2hBZ2jwOuZTu8jltR21zuN35p6TY+ut0ZOd2NLBO852dhN1/YeUVQg7BC2oS0TJAUJZXd5toEZrWiNf/eY6St/9WrhMAD82QtlBHej5ftkWAe/YVZhFFS/CEzK7icTn5wwNniBW88ffszdJAPE/TGJiFSHIut0ZbsV//pDQqaTmWRAV61wBzeg7CRbEze3CPyeNxwJJlKeHMPJHoE/hqv1iu35ZxzCyIuSNXzS1VdPgBHKMAp8lYM5Frl0QzW2qUqKm6iW1ynZj4udIBbyOFOBUNE1PMXqxJquMZ1fwtaYrmdKwL7LbIkWogHW47jpq7mx8yOeD+6ztBGaiFJrCw4EFisnXGqOOuv4QjuszxXFhdusrrL+DbbAQudw9w+Ve8E0b/EQNnd4YQvxhDwSlr42GklxXlAMKy0lCMMcoUdpBC1il2JfiYQR0Vod7xfEDG504sKt7LrqaR/DDSd99X67lmmqkuZoBho204oIuqQZyiaTplfmZdfyZfiEY7F1SGzHruW8SSYHDvbKFT0jIOCXHz5NZXNRC59paD/Pq4OBCZPY8LwThyxSuuoh73wxRmoGSHvaAkc3iSh1uizOR6HXp9Lrd6L8Qh8LIie4DJKcxIB8mt74dk2bvVXase6Pk5xB65cPdEUeHAS00/flkEkeKr4J56/pHKduisudgU6Msi5nK2kBHCFXfA+dJnRHlW1Nz1oVK2iYr/N5/bcWW4d0QG7BrBKEGQKP2Hpl8/f4/WCo/Kpwfk9LtPcxi+kOiWcdi6hO5+EOF6rHv++FMMB9ppZ+36YLGe9NDTHkn/SVtQhUWGAHnJlXkLz9rGktFR0QewNItuaYzmx5fJdDZJiPbPYONV6JtPdeNtH+EpPdOaHcxvTvkoMxKTBieffA9ypXd9eCrIrtucwhmXin+WaqLMztlUmup2qSasSFJG4od36pqdDG0fGn5kihKt+Z8AmYmzvHg9gVwcJY9HeC+b2s5NWwy5ZibIjHl34zLdlhJMSJTqX/LHzisQ2NUt36qa3xvgtasDymC0XrlQkda0kYiW9+QgKFztH/r03BxwZ/MGQCFtRtD7mxvfKzzlkby/ijFLX9sYFMctAg8sJTSxyCuGzx2MVUbgl0w6RmE9pX87Mmg7sCQYhco0OAHQQP9xy4XaEFe1KIVsen4KY6+qJm1L3o/K7Tp56Hor1p0InDfBBHqB7dG81cYnlH6VqhEjtqXcmQ5EF6/0wHWNBbVDXabSy9i5Jmzvrr18YwbWGFvOVSFeXRiC667ZWM2e755QTdrZ5EU="/>
  <p:tag name="MEKKOXMLTAGS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64v8K+Vk+elgjx/NXvx9ZdSkoyrEzHmwx3KjGGLSwAvHwzrXMKOqoqRKKdn0Y30k/pc6Oqymx61nISC5HjXiwiSIxsMfnqTXbUJcXvZwlqKEJ7KjT851PqlFGbxeEZQ/d47JVs6A/IrwSUdgm1JJmylGOa3sTxIG3WHBZUl+7ouar0NedJ9QVqVAIhb2/lQg7fz5dTVpY+g0ztrgwZxfk38eOSnfGXf34bJCzvlTjBmedis97gbzO6TQ7q1TRYq8iUJ9/l9zzqMH3L0vRN0pt8oUdYZi8q+r+Bd+hOqUPtYiFdXRM1ijxQZBo6Ids1UH7XkuQ3NEcrFtC7lOV2p9TbLQX+7/g0V0C4497Y5QnkNyUFXqYgQjgbHKGBD8f1T1elnuJn9j4fkg1eyE5RqJDzIMXVxftaBYu+bRBmWC+auOFURSgy0F9TXX390FcV2N5O7ecrjCd69LDgacB7SjIx6cu2B52zB1y8rBFv2f5ktNDawhb6687wKaYuoVBicCwhWGndwQcadGuGwQf48BAZBl0LkVBRwib3mngp0IZJvV/AnXYEIgjDYYH16XU72Z4EBypDKSJf8cW+/uTSjdj6jeAtz2dhMALB77Yk0pZHlTI1tvfp1FIdiAXJWfulJ7gWR235Dv531Ego4lg/osZSrrihVXNd9FUzWoVmu2NASJJsO5ElCrVd1+/BqjxNFanifayBzIwJ8N4CvOTL2YcIaGZTHaFRb5cRc5CEyiHuudx2wmvcbR7O2xcGHLafARi8ufOAuzRfhWm14gcpJvaK+GFOpmYfnaJ85nOUV6eOkz+NDzxUFEWweA7dEwfl3cW8DLlK7C9S79+60j8OzICQjo9J/aE/7rlfwAhoFhpZ2kouyEurXrlIUBuYGlpqLT5X210TfoXFBD3iy7fsPQFf5DRSgO+h9spgsraTLQuQ6stHhqM5l5tKGWjMDdv7kNCPYn/R5BB2EYghfuWUJR7CiTj86Jozn4730P6dSNHVRhrSZW8hBJSj6U+n9HfYcrZgCn6imJCAEEvbv+Sv1V6/b03KBdQgcAmU1OvpfEtk00rIN6qZ3K8dl94Gyiw1sFyErDamOKi08xNj0lmo4uLepo18Mk5/ULQ47F4a2q+PG10b0LrVYhCNkJvEdWkp6lXM+qCMszqlaz+fMfN+bqihYPvnGM5DFnl4HqK9DV8wZrCqMqYScuVBbfvK7I/Xzzwr+6BLCLmeAno/V01a/yg521wLNTwX5BTNQIJXGhWz+ndW6jOOfNwn7kTmr6RfbXpddptYM+Q+zIw0BrkAte7Mu58Wc9DWfraZ5cLGOINLPHFqDrQrDEMijg7iw4TMtsVMY1RuhyApBv31ho3OYiHmd2lCLwGq0JR51HK+44u0/pofl9W6WvP2PZNzABZHNsrV3qiRqvzWuC4R6bIFfcQYPZquHV6WAxv2Smfd3qWN61p+JV/H1DrFNGUrs1Evf+eiSoYye134AhztgkDu/OGfq+oqE7iMp4w2dVxKO04p4qqgg7J8XwnFUgb3ioFJCI6dlY5W8ddqf5kuuJwWfl3MPVLYZsJvOSnR8QqZIC6lVg0kUUUDBrMAfCYoSeDwHxsKZI3LLwl1bC9/kTjIifgAOlnOhK9TXoy1hSY45ydwyFGSu+wK1zJ6Z4Il7KnCb+4cgghpgmlg3cPRhglQ3AJfNB6JnF6Z3vLjIUwpkXmMeioZtktir3VpDgygnma6iUXhYx+dCmKl2TYKQFINl6BoD2v/EaibcImm0zLeydMbPHyDj3e60YwfiGr7CyqM6bbHe6jt2nQZUzarST+GtUesGv6kyVAjJCpVI4Yn4WMHMwUN+r3DV4tJ9QMBrMXuqOgZW5VUEzqE2MickUytWPkJPHjUvQy93BVzY4qOaPeO3/+XgjpX015IM/hIIRwGrFxBUdSKZZkvju5yDGIilDQqEPmczo4ItsOTubG7RnBt2V5jP9q0G2xejDgcWrWaFAmriA6BgzkColzNZfdv693OXGNjBOAaVEK/kGqIn6i2J8Ttj08aCctdDHaeL4h2vSudpjNV+EL4Olal7fPCVEL1THRaOW7im6XUUHzONiSwJfFDGfusHzKVTc0GNMMAVZKfyPehtQDJXeRR301XdrYwUz5jhYjN0FmCnp3XE+kQmCUb5VouO86PZiFADxOioDlMedbcVweHpqMY0ZQMkfZVEjgqt/6xcyiu6D8XZZz699WrU2cWGHU9Denm+g3fztWBOIUsPVrcPJIw0c5j1/mB09Nc8IOw+YdxrT9Sz6aKYqZLMoyb8Rl5MREe0k7d2/dIDEvUAYPuK/Kvhqc0p41v1gKheoc6CMuxCvNISt/biqZvKMC12qbFvAI0tn40fmbyfm0ACqJ4JeHcbP9TogfCUnvTJKDWGhmbp6QsCbRPhuNzFmXJ0JCskZp00MIjiJ/KkNTzwFyadovFgVx95HAhmnvgXQi9TdnyBxG0NTEfeLO19KMnMlRiKd1GVfRy+R5a6FtmM3YrJnN0PnRTZdRoaYgHHA4nlKOKcLDt8Fv9m9tIB1vGmh7uUZaj9A9MBekv2Eph8pMaA3G+ljuKlIDbbFbeM7QH6Tp2ryUKUETeL5ELwFY9DlB413fP97uF5Iv7H6u+h5tfwb3kSc44kMGrIRHVGA23xjnPVHfFBJq1dsf7fPqUl6Iua3zMEsY50wP9h03hzelkJaFdottiUaTpDQP874TpiqAkBs+R6vNec3s2woiN88FN8z1bj5iZZhlouq+hdHCi+QFLa4kanHEJb87us5ZWKGRohSe0RHXNmBOWBVpgO49yuVAZ/6ETfojx4nszyztyac7bN1Z6lE//dYcPDICQ2yKgeLsnCULpfe3obTIaUa04APOqz1jpPFXF8EnBDOsfVAaqjciuRyRnZcDk65AS2ADlzHaTzU8OEuNnYiPhrWmtFagUQeHYGdzM2xZsC+DDndm3T+zd7WtD5cuSZRUdn54AEZoQYIAdYMyV7CGMStca5MO3rNj4pxCU/X8vQ8NxL3F4YPiM86t/417NHfVR6Gtb7CVZtfkT43OEOvcT7nYhIq6nCgCVO0+1EzLHTSixKZ5hxj6rWHiNvSw5x+LjRK+xOGWTwK9++H5a72T39qxNPqXrSPtnf3WJWipXYKPWg4IZfW3F4ActznQigUCWZt5ko6jdi4/8IzjwcNkKDoV2zZ3IpWmnyNMmiEHgw9UACt2Y7KA+d+Uw+zaqZiDwU16SsS3bdY/83gZneperVAxN3Mqo25PAy/+bx88EbdRuoB6Q22bdtOICewEZCpo3iMejqR+762ZOxPhCv8oTPk/4XqfUiU4geWFLh2gJU0F3j4/rktdTZutDlX+9wUHhv69Cc17TB7SHUO8oIZ+iCRxK9CWCvZDtaTNHEEGaQXoGEabYOH78V7PogpEQdckkZvv/bB6hUF0DBWpAbwx0h4w5Tl/TI2ejF72xL0nPUvSI1nYPleHR102iyvn7ECwGPgPn9ozmie7KSPlncDBpve7ZlDaBzuJHFAZ85L4eOHeGXoXOHzkIPgTT+tQbrDTP2IVmHTnw9y5lSFzIsWhzBKx1OLWbgDKoxvd4Jfs6ZaHRrXaxIPQLDt8v6wApw/e7ulU/zYl7XpbX8cfA7+bfbRrsRMqW0gD+2T3+df0vh2M3hD794UT5iYG/C67DDYx5MOU95RitVkD9akXKBfjx/QVo0amUnjRiByuqwvhz50+Ue6hmxH7XzUH8RwEEY9wODvdp4l9kx3jfmInCZ64X/LBYw9/ojuILHt/l2nIAkRIF3A4/g7jEwIYSxbJJ7Oub9nITW7Vq/+q1y2LaF5CI+rKwlNiQVNWVLBMJ4TKSDBbeF4ZGl92GiV/1q/tO+PlmSCI6XdXyY+thTCxwLsYXLDymcMHz8QLVAiJOtE+pHzcO356YcDlKu0160cRuS4kB0tmmjSAiAxM3wjEaIsPhg6xLigRyoVFzUXqFVMaY9x3TLkBgYzQZSGVqKHWvW1MIXOibo2EZ1C/dDTjQvgXIjJ6y+tipunC53FCm5fLI95WtZZhc3O7Y+xjOhn5o7zGXP5JhAm4CeP9rNrFV1JseUblhlWMtcJ2Qqwn+P5hwYEci82xvICk+dSacvkN+vCGHeGhuGwZljWxZY4PxjLJFmQGUfRAD4ZOtbzjl3MbpzC6OzWv/cNlEtYFKxoh7SLBW/Sr7LIv7S9jxA2LTXI7QZpDahFYMDjuQoDceisup+z8jjqNBifGoW04VxuJMy6lotPgQjzUL6OXyCvcIv3Ax1Hv2GXMVho800KheBp/6m0S8gBncEXFiaBDCBfeYFL4YrMcEvfNLesH6uAAv84gTxc6DlmYBecPzIwOThDshbEwHajGAhUfHYEp3TjA/cHSjWcOL55xjo5DvmFHLcpgQnH8JYRYtgaL+qMQKX7W/kIpxRMiuTSa1s+yPUCRIuGkOGVqzBZ05qZ872/0ZREdl0ghLYADUPjQtiJ6PYnhlIFrrr96a7uOFBTk7Crzm9toNHEgDul4D5bkfvFVUfn2MYTUmgqd6HOYB7sd5gr8jJcVyJEQaGwWBP4H/CGdafc78A6mB+C6a1xmtJIhjYV+teL8Xzd6Z5DqtzdsCjZN0j3mhXizXajHbRQugDIU8OplMF2Xiv9XN/7FxwArE7pDZ96E0YAJNAnYUB5PgG/dHr0T9RckK2qAPv5pHKButofTD+y82+cTuL9u/wZmprRrAb8QcNP/1ltLLmcn23fatCm9mkWJjl8d2SoFqL0RFaT/dP/Jok95DoyP90kelVSeOlwdpORTAL4PE8vt4YKT0at3le2HJZXiHfa+lrUguNDnIVRPlYRzQOO3uUFG6vuogAWffd5baCijhKm2wahPP24opfpta4yPN4+qlezNVHkILIT5psKQohmkOsofyJISr6hruEvtL6bqVtiL9gk7mA+no5Zoa2WF2yms24OedF4YWeuL8as2Mnwhdbz+xraAX+KqeKnzTMpJc/QZTvkQDXfwrE7jL1YghbPtOl07qHt/YpdVNN9exOMXNL7BLa4aLtxMRCJ6jKLOuSc8dGBZSYlycAz4MH14+fJm+yICP3ztMHhcuXgL9DrLooDGbcrM4tNNXb7FkO9H4Kbuz/moxnivuQ8K03uF6VGhVUa3rIRtYSuf9tfWHM0wc3M7xKYLgwIQXWKf/e7dg0iMR0OsWkwcInERByqkUwK9b3ubQHuWBo2CBuukwEPRAVV6RxOIVJMcx7wu3sqNJMjF7koOiU6WW+ZA1GYgUSNtsZWI7h5/4AZoLm71kLceZQauCy8Y9VgyNyEYGQalRWQQJiFz5wfgzCXGiDsyCdldWR9TEXHqWw345CL8v6CXdEyjOCg/X4C0p241C0WeP2p+YAioxGGbsn7BPeQ7JiSfAlnoFn00SCoE4pY/x6kCCZ9RmWpua0Ga4reoED6qQEGUCLlfz/o+KnUf5gxmh36MCHPfQkHhPtD6tb44xfqjfIoIu0XAOqOZO0IMqaWKaKJecOzjYvoDB8Dk3GC2JlsW19XGlfT0EW4WZhxTL7fU4a7z1+XU2sy/FKkwUF6l2j5UVbn2M/asfEpwWgxdgs1Mg/LIi3CZ2mcP2fnTlox2ZDOyYEBv9lAZvk4J2GWx2t/JaST/GwWExqm8x4hos9ZGK+4yKp54wSsHF+lPsszXok6nsIpOv2iVssAeiXArhZBVwvdEAWJf3XLuZk9eDsq5cqRBj7+PcBAsvTBw3syqhxH1Xpl8JqEBEwkUVaV4gthLMeSVkU4srSyYzZA4UMkZZmcZOUK7a8PVj9CFXjfzG3y/NGgj3E1nDzHWdAqIeGNuUkyMXObJeB9R48laYLCvEulweFqO27oUtnD0DLlYLfV4MtoIOHA5FqMq+5nzoDyjbiIzZ+s+9q1E8zoLd2A3Teb312P+HcOrwOdjGfSHZfmR8nNrSwWaaR0NmHcSt0A2qEM/Ut3jVS5Myu1rEbOdkSK2aVepATZHjGE4pZ9ld/SaaJ/gO5L1JiSqxrsYZdDnyvX/5S9NJfOTCCFqipKQTD+eYs7F+BoJTkTV7AMcWkf5onVgaCSVN8YbuHZD+VQ/uiaisTEJNYoVabnbsbEJrZpD9Jtmv0hEPvqVACjdclMoDJs+QRzOteRxxZf5UmhnxEYu/0FBRCILGoXz5bT0SXwtm3/p9080vY9AW4yfRYisJqpYL/G6Rn7pPxPrH4pnp6eKaj1qNceTQ6J56JMJx/tkryjsVU5EEuLtwx6NG+KlH1jjxon52znReSk5tIei9lKOn4Z/9YBT5a3IGgcXZDbIwhg9s19MC9bkMrCstB5TD/RhznCwjjrP3qnTCCuPdjfMNt87kuoQ02KtaHV/MtZz+i0ehCCMHL2bkRPSUvFQ1/FFrkczdMBYlzTXGA5B0q81oIrL2fZsLckzg7LvpFVArPlv2MATj9jXPlyOfCXhts5ESSkuIaU4hoYHozh1qLR3zF2zTtghU20d2fQb0Mlz/PF/wVOKcFkSKt3yqUmC3uHuBQK6/rz/zXo55px2v5j0wq/h3DWwWjzVJxABtAC48/z2eG770n+qyvs8qjjcn47Y0QuXOh1FsYPbwkHc79mul8QLLFz06uq7iA310JSpcLMJsHws93jPl9deUT+ao2ATzPdywqFEAVnFWQEjL2iNg5SgxB2Z0mcYezIZFLjdwUNK1cu24fEhUFhz+GbHiQc9XZTExSRxt9X1uKzYmWvuFN9WeX7ZYD+K/RXavnCYy1eD8wd21rqiYge9TvnEdyYCtD5H18BBvYZsbfWgEiCzA/fSuplYwdI8FiWvpCQk0hhX+JQBbPbwJHbl/kN//253pfuZermpR83ewgywMtpb/ENw0uD31EcwvmdLb+UfsI3ZGx2XWREY7DQoaoQ90ZkxA55555tZBfkrTHkhr3MLYheUVR/mf1IZ/L1QKNMduAOF/CgmmKyg5SmN+nNpULhRQE5B3HjYKDgkt9xBGMPnkvOoUMKtGf5rsBqkNvsbDjlkXH5T5V/yud0YN6cVJl7jxPIQkBgHs+QdOYYNkvLPn42GXpe5oy+1vA9+SnnnclFVAiraX5rT8AcPWSz7nOU+hNciXpOl3dRnAUMLERWTN71Ryyz+7DiB2bdQLTKwsKQswNdl7EUh4AvgmOtZ9fPjxYKdpuk7me5CDR7iXClfhOi0o6rIOM66BE3lJOGSYAS8EcJXZI4acSDz480d4+ZYsj2+o7zi0NtRVwW04Sp/GKzn6X7TtDY5/egKEak3HYkkjUeJ5Lx60m2+MHEwDZVJmqt9U2rCz4w7XbMZ9VM4XowSjREC6bn1nlG2rI8Eqr4baar6ZmeeAyF/+awhNLb4s4B1Jr58p4irRmXNmgvMW/TkeqzagFXq28LIfu9+UCeGTBI+QQs0llUWpO4abOSIe8B/QRvOcK0mQ35oSyX/IEsTFMv0tmy/o5/yYscmwdDtr1CaJdYwAJN324eCJ7T97dv3f4CD+p8JjfAOyd/+2pzRUf8n7UJcTsjX2JYABCBAVev0FKVNaAXkCFFONol+2L6kKY5xdjtNlOss9PFvAOTAbpXxo/wG3kuixi9e2UVqogtO7tlQNJwGYtFu0ttwLC4msZAGzGnL+v1OYAzQzyk4fGa8aTfEF5FbZbs3pFGRU82tQ/2bl7yJXaSw+240zfMqrU7ns+BwnnFIn2EOulZagbVPygiZ5ElkUtm/789bBJfcSNSxDVvGRms5MiX+bJJRph9kqNrHT2UczCoPpBC3V2ghvM+rk8UBKAFYE6YQdOMxtjoamsLpBEY7SIqthjDyzBdpQ0l5d7yLDbrhjalkPx2cfaeabzkHsFceaMDqCmO1bwU+dHzz8tF7tq/3HRimIrzpSJHlF6XpfyqZqjtUKMZMiSNBnIPO+C9i+nhKyxgCiQn21UnxaODus0Y9fBfCivIcuq6VfftMj45etr6ckdi+qLX88AapwSEN6lh7ZvSoQcjhoPjnQar2XiIu3cjumb6OKLwxsXfMu0RMUMWz5bFMXpRTOqwcrZM3hzASM87b9UDwHpKwt5bDZCh1PQgSoEZhzlQgP+mpeT8KlAHwHYtnYr0wS7XSIClykq3izKEqRjpiV3kSk9UpsPpOe4nNejteUcV3FQTpazwkqmlO/d5EFiyEbvKwE7cZEcZ2niorPh3tj7BYlJgg9Xpk/ofDY+zjofQfxca/8lt1ETOqpn0TWCSuL1IQNwoAoMiZHHDfKciiEiPOHGEYJ2E8zepoLr7oiBH6zwqw+UuPagaLPj+Wial6uciwJwuhzNFYYONWCVrvsPlD/wJi5lrGBmSZYc9C9mFpa4af4fzI+prArZfQHvfEYfdQnjs10Ala/m1wiFKhjVyB1Z+4YsZAA7nE4kqaNJcpfjK9zPUul+EXVdgiHDUVz/vD2BqGhNi4+HcL8Mq/nk+3ytvi2PBwEzTrmFD9yasin7wTGrV/WX+aLE7y+vCj3cNW7h2cJ/yxEa0JeRuXaphS2VIIDHy5FtlR2heuzKrYe2S185bW4zgUn1VyTJ8ezyl2JRdduN2PENKc9r4PKl/O61TQzW1l4jhbvHKr+BiwpXO+wsG2ilZpW/223TeXb0fee+PK3ba7UXqTwzfi5BC6K4DWORLi+16iUxs+UOszQXQt7N+NL4qWrqzYn9s9Ylonk7bLJf+z45pNU0yG/1XbAtF9JjB1EFz59yflplHDZSuhJTCvTIjVy3DjLGwHVhuJE2mh8pQSMxzySf+yi0UYGwDaXY4P8y5KZIIN+Tm3UGbdnVqi3+2IE+Oj5IE+bd1EwfcLqi8mmQFShNapEawLWuuagWpazRcsvGGVqOULum1pf6lFPc2y8ga1inem/OpqkLm/WI8Gz6iiHsvlirObDv12FOxvZb5t+8E4MZL/zOTBbDKfvXYdtKEJj8wKAgvghGgONZC50riIpY0mINKdH7ymbyMMpMTNNtAqFpJ++xyo8Fx3rgTunjIhXa/aHBvNsg8WaF/N1qMCp1mK2TMKRef/3RTAGWuZCe+zIMBP4ZAUsMemW6Uz7J/qU3m1gMh6MgvsczUoUco7EOb4riksX4fOmfZkaSSJNDm1Uxmpd84MYpBlUOn7+SlKgFfzXPZdZNQiGhCUCmR46hWB6l9X4pVrMiNmdsEBJDXy7yftErIRioE/bmsDHH/nHgYNG6h3+W+eNChV0o1T0P9FNUCDSA4sf8U5m4BwgU9Ox0TB9j+0a/4kQaCSkSrzCxIY63DfihXBDtEjg4Oh9n25g73X0ItAW9nPYrTSveT+xgbG6dCjTMq5IbBLR4o4k7dkt7/43Pp2sAHFTA3TKK8tRWcEGUxHXMaYqUmEB2PVTvArlx0oovPpkybXJPv8xSCvlkOJj55qT7vZBs0LUAdleJAIg7jAkflHwEuadvIrVDo8mG+FLolriGzPvs3Rii5xsKiZivhmpdXV4G69uHt28sSOXFaa0ELyiibYl1AF4nZsmIycsV+AMJxnYoUrBBOm1EzKJy7SllePmz77G64xukQZjcA1G/znpIa7aF07iOOq6tID6793UmTsvMNSK+6Ef/5wdO8ZtfhnRnLBbehC7StUBvgPT59t0eX9z1GTm4I05RcdLNcXVL2T/vxUKuBkD8iG4lbOoN8rytEQzI56WZkwL3Oezx0bCX/X+O3kt7NuZWAVljtyTkjCO3DIyltMnDQPU3EQDTR6kp9WDnsK/9qc8NBKva8By78YcDVxtmyqTqSHSlqHtMcXpsGKw9QCwdgkAeCdd3KwUpp5ULUJ5kXGKGY8ExWsnTgtm4Vr1fBKcfpyGmyyrzLQlXlTdQ6bADtTU2G1/Ca9LGXocp2dWCApxfVxc3/y/W9t5LbGbbqHU2yYvRWH6uJKlyV2EnoOtMOK4sptm0WntNCUE3nP36K7wM5k6KXbD3XrXre/FpIpmSKpFBv4gTr212x9wJJmK7jSQ1DSwQoqkTAgI/Lysr3RO5aKL/ZcuGXZqU+H3Yiyy5ANDAed0NSfwJesflRwfRMHOtmFSVU5uTnZoJDyMQA4xfMC83S/notxIMnYGuGtKI4mBQt2aeaxWWcyWBMReGxekKQ2ph74HZ+gWP78icSNhjTpGqMKaUL3zFdM5IlrlT363VIwlYQ7RowMAK5VW8RUKLjtJu7Ky77Fv0hYa4uJtG1NuzOnCxU4Ii9R8UIRmm3dt2McD63IMNb5DSKMfSHxvwJGo9IdIFm7ksWZWZxpYmz7FUJirODRq4NJ0sL6wBAOB5jdy+/GDR5HHFwfQI3lBMcXMSAk8w19zwkf3eID2mhnInf/n4QxHoG6PCaExsft+OaKLtYcayRdW651/50NPPfQcjoUwzg+0ydpmu5vUNS6D3cc7839QyOIbXO8ockhgzA7MekwWwmjsUhT6RNzl3uh8jr0KC4QTL+TS6rqrPdKAn8ECaH7XjkRQoY5aADegW/OjlkNV/tqn88TPWgz5z2mVZDk2JzCoxvxjY5OLJyjdGN/5ciF6Rxs40QPiibJ+Rtyh4TceWs3PqbHMYTHyft2Ke9bp36p1GHMKEdoXJ7AYC6++9V2bh0pmAeAdCjkWuMd9bp6pV3+9NY3RKQyCFEKpo/nXuER3iG68BU1EH7IhbDFIuEXDS+RkmI+9kwi8EsFFEhRlQ6MrFkXREhuX7+nWGFl5nyYRKgAMSinT8VwjlVFQbE7UqDwhglCf+N22jaZ/qERLSJsOK3Ui1Ww2pDCAPYTr10+tWhimamtv4wuFN6h5Tt0Ufgljg18Mx5HY29wQOW4SEsRJY6b3HcOBVBSiOYjO3hmdEyZOFTXgwvpXOFfdYvLP4sFkBkSzrPNcFPr0mUuAxAvj/nImrjJjmiGQKLvSH/lStDI+8yKoHmhEk7Ec4VuEDXLX092FywzSc5mKw4RouQxC3OI7oYfo72crwmVj+0EiI26MXBiaCx+ee7SFhITWVqsZRwpo3nn1wCHBT+F4Gd3c4Ab/vD1JXWpcAb5wFad8DDYzRJd4bRzziZfnrfVb5euECYOs89Z53j8xigBSp4+JCtAeH8Iv0LTF42xkzxdA4GNfGQ42F3lkOR8eMk4dg1UF2QbuFJzFRXhUHeIJ8DTV4A5XzR7Er9NUtRR0X4gmeBaUwUGcYcWSF3cUXuBD7KCR+3q+wcWeUv8+WUpN2efA7jggRieIxi0n+1zbJZNXKIcq8CTMhFUXgDY6kbu+v9x5mZ9HEGPubhwnMUMD3dUHYOy9I9eJNJvsYR1AWyW5KelITcAMbaplahW5FpHsiSaSavwAgYGLpsTX/bctz1CA5SfSliBKkjNUykNxCZXgGTeVZisFnEV2dDQAoD1ApAB7WTWdWuwvFwtgayqGEXkJYU2Hy8u46nD+8l1xITimymC4Fz7bqi9AppMRjPRu+AtM9asO1PedzS5Avp+fJ/m66IzWel484GzQLG941MSeG7my8z9Ug+UijkddHCosn/XdhK9Xk1zH+5mHIzf7PaO9Plc2Tmy34jxy7cDqJASRkbJ09SJg6PMIiNGt+33NhqJaW99CoF6AY5qgxzME90k7z0C+pTZFUzOI9PElu/pt/tRof+mZVO641spKRc9kAzL6iZM48HcuqDNn1kvRzZfSl3X3giWDfJ3A1crcPdhFn0Y5nB4OIS7ftxy911NEcACtAL14h4OnSJNIVt3A38IvshPd+xBXmZJEGdBYQDn2JSJpLCiyQ4rZNkvTmc6pVV2QFldbV6WUBPXVtdCivYsv5frjWnmlZAzc6PZUITbuxZ8lY6MEygmWokQxOLpE9pB8vBSrmIHruIgoZpb0g3JiVBInKUURwXqS7atrsAzKKxx8mJT+o3T6X2QnslWeKYz2jKkAeqGBzfnaxa0pHACN5bIMIbfOv8eywRwwBBXxpUZeDqA4+OGQ6/tmOybfv+2Q7fMlGDpSm8YVVrKqhIVzdkW+e6jN0tUqNiUL5gXMJj6SyLy9rkYaYnlqG6Ta9Vr0QVK1c3c4FHVPnZxEUlbpnD++zpmKIr6yGYkK+wKKoy5RpANnVMtTV8YpPPyVebmSB5b2j47pYbEH9kK4OTj2+tA/y6hOI+obWi/wmjY6ZPMXfJwjxd/QV8U9R9QMF5+3WHlhmfk6iFzLMSXSAOkka3Zgj0vfhkbjGOqKFnHXP7C2ZMwM1lMO7Wui13XIKOs0Mv7+vPduIn/bPFzkYpPwTs4da/1nUaE9T06oN69EWTXUYq9I7Gp7/7wVDq8qFK3kjx6HR8AZpYV4kRRpiYxCbsBU/cRbt8MllUMdUP8vH3xYXEX9rN5nSjtCEGxcbxDS5u6uWy5PuAVSZK/7+fe8clqvMqYz11V7XIOygyQue0tw0ncYeLnglgvPr9ZCsMJx1A8Yv1UIxSehVEbm5gknrwQjBZJ/YqL+f/zusL5sQJJ3IqJxWcSgK4Loj5BXkZechhaZnrtGqmP1htyTn+wTrEe3Ud1lBvXXY+CAg/zwMs9rTNLwMxQZ9XYSel8/F38jsRS4eyA7ffnZjy3bWPQF2/sZAVYK7UM2E9wOvP7ZFW1fLGiYySaugGs/VjbSB6Joqlse8vjeiwGCm3ZzfNRvyNykkzGC13YaitvcakfzClDwe2IpOC3HrYXFUUI8FnYrybqJ1OolOp2UnxDD2BRGYcAhQhovLIH8WzCZQQc9MQGrXVdcSsnLD3o/8AyH7CgJOZYch1an9v8ocv9T4Fkny+Nqy3PvL3yYa1kWhuhVc7nu1xt/NOlPgTfIfLmJ0GeXNDPn6ohygfLfY+kkoajPLgD4E4BzQhsleguZ7FClG611AUJ6h2ZTt8qbAvXv4wL2t782ngGrkzejoY+Ux2o3pcMkJcqY4tN2G3J2uBrtAzqQ7Jp+2UJnR+ECRMuAuDLCCKBSx0KSC7X/SYYxvB3j+OZR7muWDC9RZAmrfgUr42ZDFeHblBGxmm9KlFl4JCTsIuRMptgUKxHsoi9eCpb76JzMPfE7gZcIreyTY+uSGJfYjUWB1Wlf+sO6MVs247rpWdBloWC3vV9bZR2OFbvLMSWk2vx3ZZrxqvjH4i2kDXRLfXpYGlSyBHzHqSey+E0VVsKMte0LbgOID/q05DcAzwsRH3o+PqkIqD/TGmlC7+LXFpnHpjuE5yMlioR6J8mhkFTqdRBnLIAV9Va9iWPE3ki48zfkReukFuYbJN2LAncR/1wXPSnReR1oz0FixdUogK1Mn5omziiEHt5eSlflqZ87suFrkeVYUy/irv8Q4UL5B7Sv7em9mFR7mx/F80bohe9RazO8PU+4eDVQjJ9P4NStUhsuAK3iT4tMonkRwJOfD8Tjpo+UxjRJfnnfVuG6p2yI3flA6/kyO0r6vqRfk+TTZvJ4Xd1CfIg880GuDWcZ1tveAGLW6DVKgXIk+vRrQpiCcp/2g8257CRrhfGR2K2mwo08EP0X2Olb8/iTRKvq+Wad2g0Pbgbgc2d8Nj9npmIGKLZCv+6NRKzEuJnXq2x7rKE7mQUFMDDG45301pQUMXbaR5DWjs69twc3Hc4r9xv9wpaAvXyRFMs4n+A0I0xfhRCCPyFf6rxPTV/2dezBgZtmBTzVf+0xQqYd1tLpqM3FarvunM0NKfgq+Z9fwIrNAafaHTIYqxPHERAOaNl/dGGJh9kICm8HhE5k2tJlXdRvC+1o9/M2TAe2zEfa3TCJ9FGQ6akoWDjZm2ma6keFLUsPAOYbdclkIIq0IIn23yHYeTFWl3j+YueDJS+FATMu21VUu2by5KIkPsCJ221JiZsSlpFVq86RRx8+NrjOYpDXGatSxdfqTnLuFY5zZHjsZif0n4VzuLeWeFzDecXQbIpxhNVx6dHX+PjtLYxX8FYZdLY0MBC8KFduMuk4nMg4dcvb5K6CCsr7acJ4Gs+nry/H0scI80JchqMRnxHSZ3gCsR8qLrEtyXbwj1LLUKr6q7iXuGqv4eNn70Yi+V2/BCSU7LI9S6wmJ/kHuqBASpDZewNEQuU4fxjVZk4y8pe3jnS4Tlcb73H0KQagR3qWf1iu+PtzjiGBI82z/J8Do2JKOU5YNTgBJqIMs8b+f6HtnWUtmlZQ314VZU7gEt34APeWp7bVeduaGrcXX0IyhpnDUZXDliC9y9+BQvlpo0/9dpw07HDfbxomUNf+QvS0xPmNrDuukVL79LcqYkFA6HWzZdtmiQ473WftcnqP+tYKr3x+CD27XTxREIlTi7t6BpZOKVqgurT0OXC1u4tRDK3ojntn0+qylHOPESYKpFBfNxeANozqsV4BO5xHhQ2SY3ozMCYucJ/w9Pj8nrhAukdPWCNH76SndgVjkLJYpLptbRunUB89TMdzKZIzewFXKMSOByMna1zs83yQ7mRuf98ZVquqhiqYnRsEbEwpsWX/5uFLKRO1ZW/66OPg8oRA3VsFTW+aHc4Gf6k4ofmliCPpLId1kfxjtRHw+xLw04WfLwYfn8TMHXMzJR/8pLCbavS47fXUaLxyi59WspGIU/07HA5jCLDH0gvAzxe1mo72i4MrUa6IWVgzjNN4pnJDxHzrCQZ+PxI3B6f6X8ViJ1pm9YN5oB8tsk93ZngeyLWy8yPWVvWF2Z9j26A/83ufi00j3X6MMb5U4wrl55fT8D1YmFaa5b1WB2Y6pd4C43oHC3FOBTkirDp4280bloHePmeoFnPLW4x3MKc2knrmcltTNmLOpxvsjXkNejVGz7RkaTTLNAC/QeNtTpghzVrA+enS0wbV50EwWQz59CKzj26CEUrmHjDOSRMsg38PzSI/jIOOQPKBTJZeS0vp67Jc0AGazjNCDrtDCY/A6j++WXbZgS+Q0/zzMIhC4rq1SsDVbEPXMRpT+m1ayP/txIXt6pzR21plBh57INMe9DdXyzTDNimutAk519C89Jflp50xt2NTFfRViM7zUsvnyoP2KqxXQJ1pIVLcwDLB2p/2pMIe6f3tlddkuGtSnuxMQcnzRj3tz6sof6FouLdCnc8ZlbweRIMYPFjAV5+ilndX3irZO/++Kp5VH2p+87w7eV38aijnfb5wVhA4UVoFs2j9HtyfL9/myBAamYuEHgVwUt6lm18C5MeYfuV/md98zj8cZqgkE4AUzCnlKI8taCaTg/AMzKlmgs8bMnl8PPd22pJaFhiNwX/rYBejzReNF1DjEMtkI/woKByiWwpn7UfWwbN8+RutE+JbCTcF9GXdzwtjjmOAGQjELe0CBJo28N0E0mmx8m0hI+OMBBIFZ1PruCDnrf7EwIQ2ThqSBMU/Aqyop0T4pSWzCqvwv49yKlZPB5vvctt4ySxce1ibgLXjlOZOlICRPY8WHYiNBMOmldBikGBPWLN6g7L8/ln6uQMyv0WYoO8dE/Mpt+QoTj96ttV3axATQqwHpBiSM4M4pEE91Eez3zaNOVPcE3pB/q5rTteba1HM1Rc9l2yFFVjJc27BNOx3nDqNLaplsu6CUgg9aYbFkfi7KtV+l9HlqjMN1YXI3TeEHpF6K+QYlwnZ8ml9J/jZ3rB46+6WYMTr/tzK67KI4YLzr+bw0Jgxm5Nb1ggiDwJarmAyonQXV5mQRHFbF9+KtH0Q2/Oi2+Pj8V7Ln9zpiEuADhVQAVAYl7VkdYwzAAAnLtJA3pm1BBKVE8aAH7S8SFZnDwAar7xgNqpAb3WCMVxzQ25JIabDzf12Pjn7eYuRd/cmS1tio1nTo4CX0/ghVKVaPZpo4JZZE8KnsjzJYtNPqTQjH9aNra+F5vgq9zXQidmOWvMR0hqmf7hnctwe9LIIPSs2v68M6vvafLyBAEDc3ruGpyiuRdAP3MYS/Z3/J+SFwx7y8d8jN8dSXNiPa8zvvnmo6uFh0bZrNYJiaYcZksfnr5Jd/GwHmxGeU8785s5adEHkzPhQo/OHIt7EasiaKatVozTBLNqePs/eUS/VjQghpYXrXOWLMbf26C4hL/25MBjjzsVgvexcg0DN97OkRVtr5RHsd7vD4cOZZzPGIIhR9gN2yjZlUlXKEaza4ly5Wq8awRABwfCjm+MiKN/zHd7WOne4P3OTqayLfW6v+C/9gqq3qoQhT+MHfbrkTyZq1FrfTqJrRznTRAgbCMII/Lm+/fvmWhc6FsyHEUKTcBMXWpeM0be7SST81w3pRl/r1C7JjJF4rs2MG2X2qDvtk9E+S9/9VraJKWfgRz9xhNB0GZoIMeuZTAaiyPLpJ1scbPwweYvKNlAUi5t+rF6tGIZ4HxkOC8fEpOx2GzFXJg+YoJH0vVT5o7lKmg5uHZ/+FBMGwExFeT9/r/t/DQcqIqUtt8FnU5s42J7SnwO9TiQUN7aLiuSo/vbXh0cNTVSphr/ORXLAWyZTJj8gLb3DCUKjSph+oTnwvZ3T9r2W0BfmwdlRkrAQ/1zEVLILtMHMuh8T3NdCz8ODlI7TkKIpse1fwJWvvemWi6uvsK5+hE48BbE+cZ05rCPmreAe6VBAUqkvS1scL5RYF+VrgBuaxbQBUt4f4pzjDtgyflWskhfh40O74HUxVdiqamlJmyWwtO0He6fWU/ODZjmAqNZD2AHRiPp0ss1lTXHclqvdnwL9Xioh4ANWqMbwyKNS/BgvCl1cyywc+YOQ1Vso4hzUy1CU5tYRxT/rKuhvAuziXqcENqqtWMPpaLmny/jO6NPl/Xpfy00UIP0xep8KCGDi7byedzk3t2TAo9ZpdJr02O0F9r2vU9sydxlJlnxua0GhM/+Y4nRmjSPmKsbbb8oNLpYVYaYr8IwVA5t36IRiIeNRBzxs2izxRXGo/WM9+CCfTdpDOg8g+/cw03eU3t8eXZcqjUNTolyEtJeaM2aq2JZq2zjn+Ckv5p6mS29UENxtBei6w7xHa2XthxlAOC2E1mERjXJFygQNJKFj37LVL+66LHFDQADqG9B3MpQGi6YInbSkS1KwfHEHCsKfap28N4qCFY4xl89dxFMaNffQhGU4cq/VFg1UFZhvV6Ypgzl0RY91Zs7dCT8V5XUHSodwNhAn7Zt80h4pVT09/luu+B9v7IWp8zkWqqy6M4tsXdIMio0Y0Y1xvp/FHP3v3b9fTyyGZ4peg7AXaq+J/MjaM240C/zPQZnQcrY8UjhAR1Q2/tPncGC/3nswymqZZ4clCE5JyeJxqMOPnzDTHSNRjhqBJak7SbjdQNkW56Iy3/pnReSI32N16F2nqtlKgxo5F2o70k6SuOdScdTx2mvVxGhO4lqlHamV29pOhnvU8A+QlNiC8iaVyjWm2m++hmdOuDr5rJJX6+no+uSx4UxeIUdZK/94ggKRKG2d3oyAQL8XLdQa9Ycs1EWNyX9wy0DN8TNviEWQLd/hQK6NtzUF76YIFnH0Zqcn/R15zs6QDuyAzhangtGssKFO7XVdD9MDdjkmlWue57xKkUntDB1w2l3UH5r7tBOnpwSNLx3pBAnN9o4UyQvZjzNWHkbQ2wxI2DPmHlNyb9Elixfbq7y5NYSAAyKJCK27DCSottE4/6/yJxao48R/ojCYUOkMiNT9WE6b4gT6AuUFM74Rt2DQp395BSVfnjdSLCRXDHGp1IR6PYuO/V0bif4k5XujiJOW5aPj7tzZtkMV9wJzjAnZ2rz/EjBgTSVvFkq5bSg5KwkSF/o5SoUhJVHDbQaidXWSnRJ+zamHcsgCnIuXeGzH+YdKClGog/MAGnPxocTQ7Vzo7FPj8wMbpCeT9l5IOfEpOMHicplwxtmW/v4Rewk0G03kGdqICpv9OSahm2a3Dd0BF5iL8GTBMyuhe148x6Y8wHXGiJZ3+Xf+fGdwhsoXQhHuQETUH762FR8mumZ4mPx/p5zW4jw7FlWtjIEpSIjt8qSmmQG9P62p/bHlj0BCtIQNJbWO3ErfB2MaK0P3JY6BsM5tdSvqSoQu8EHD7eMZf01N+KbOlbyUXEhOJhUTKXz11sv4FRqR/7NI5nSKYBwAyZzUY11eQmhBjAeo/zGNA+8B3dFeIClunvnWCYY6iPlZIqC5G2AFguGCnwlfzwZkY/nrxe4sxAYY1GuYL0INdIM1ogdGIVNGYtamC+WBR74DPHqoQHrBV0kYBAQ4dCAzIrRKVLYafd9wHu5/L/eLteIdRbWJHIYZFA6pUFkaLg4NF51wvrYvTQ7m0Lqma4xu2r9qf+BhlteRXFwQSsH18Uj+tUafMPzR7ffVNWPYCo+xDdRmDHxMZiW/n2aQ+w5bApFHMY7z3Je+XhGhLEwC5DxoEkTrRCIXiBanQ2wjgWgiwEjnASA/HWXRwzjERneiW/qmZw4MIZGVuqou1z0OZCEnfRNTC2QV/PE8SkYt5C+4QSywtYhWUZDkbgSRHaNjJpKEKNj5ZWSjb80YNBfH8Z5ql8IH7yPW9qyNbKo9NX+IKRyiMKYTLW/LkYxdTSfXbae54vONPwJ3z2a8RUWrtQOqnTnjWImWej15EgNMqvgRnLDWcE3lta8ZNDbpx4gJ0sl8SZqatu/gKVI55eDg/SExNTPMf8cABNZ5ARzZiym7hCCSVoOaJoZv5gCBd3/ae4RORi1cZ8Zhwr+nFg3piZyYc+bntKMd9nMJ0dX/Rqu9bnbtuYRcfBTWF4h906fc926ItZePc5EXPDyLAz47rrQezNvkTJhJUoxYZcNNOjO20O7NeNEupZ5TIVrZUviOl3YWKlt8zQRnKsY9EiU6WotgvfF2+vKlby8QrVe2fW0wzTMIy9hbN93bUKieFzLYInmQetNlK42wCH73aVJSFlJ5xFrpFnuMFSOULFcecb2XVXeisIgo+DM8JB5XG2bcaIoKdGFB2RE52sAXk/QH+raSbXXjINrSAc5dWRb0giEseYLPXTvOxmRYUgXfA24sx4IbzGA9Byw8vdShYUjCeuGVu5PNtt1+iBvCN9EIIWf82PTN7qKO7Y0gbHD8YcBRZsxOpB90nw5MiJZqzElTKYc8be8iH7Uvnx7cOAe4dn+SGiEyOPxT01Yz5wqzEromoN5tbD2TY6OjyJel/ieKvBZtveCmkE3/HBfnH+MiU6cZpmXSqBpFB2HJ53lVs/h/wl0EWE41cH17GXiIhGGxBvqXafieEmg6aX2h/K4ltTLwhcygGNvE2x/SgEXf9nnAi+niNRp2e1oCQZ2oIA6Nr9cnlgI41bMg9ibUnm4u8IjinLipkV3O4tcnIRlxVBr9sJ9ERxJ0GgPVsUS7haJni+i7KgeEGOuhIthshLS/3FVhzKFb4ZzJqNb8q3me6A73hqrN3bmnbp5btLFmDmtTr258sugWNp06tBqdPDjbf9qPYNkZC/e51/Ovz86CVHdWizEr7YhElgsFa8aIMSKlQEtJ/G31BfHIA+kEGBJqDmj5U/rPZHBe+0KiLv2aL9UffE/FQtknJ8kahvALzjn39JImAPbA47of6NMEjyJBFzFZ/q1jqcPVMKOzhzvEjKIe6Km4pICQdO0YfGoStLeWv9h3byJfze6eiIGEXvCwTYOz5D+X3POIUte6sqLYRN7e5SgKN38CHm7r+4APOAiQhrxoa5yQJoWy/WGJJ3VaptequxGwV1VwJqvTMiehZImSfF1GU2270UPOYAXm0vLEZ0E84gcBltHgi+1cLA72l/AsY7EEEpknJzkCq++npIi6Zx+i17ALXC63SvadYHmZloKGR2UNrdc058mOTnuaMsTc06IadSQ9yh7qGpRfj30wSw9S9qe5Z8Y535K9FNhCt/ODDforYJFxOND+xdQPe5KrxTzerYKd0lvrtMzNFNqconRbJwE+E8C+jB5D5ZKAKNIos7RwNIar+kCUkoUyg576FWsv33/yLpn9yLek/oqQOSXj2KDBj7cO0ZI7/Wd5a0CDELXiz95y0ee4FaYF4a7Y9kmtc+zy00QUW9R3KDtgak+Iarj8PMEpHCLDfsjuET5o8IWz8R4hv0bhUvZMuMXzA2mD5MEExWKfsxx011bb9pI8QlmAjJSll7rpV1t3IC+dUTucd8b4jf2YGjK3eJUFKYrCpOgVPlUAbRDc+6OFCY9r+tx7qqCEWc8yzoJWf2PRBVD2ekUlMunhi+nYeEfypomNnyrq6NYs6TSgdzaCXssW5IVpx5xW/cBaFf/Sk1Fw8jGjho/zfnJqG9moI4yTIH2tFJNPm50jBwyRUloKiSin1/WJ2Kcn7Ea4VnEsUmaBCFuTS5MY5/TS2Cqf/N3Cu2f6HgwBg2luZPOPsN1yw0J2IBVW9ijTVNRzfwBk6llfyz+kPDasUK49sD5XVtIZJnuScWi5u2O+BbwpqcOWo/JXoc21+iUof3UvulOZMP1R+v96amkiHe9xh2ZMo+EQAne36o2Lfuj1NwRnVgzXP9SJYw46Ji8nOQ7rL+wZBGJ3cdRMiy2lUxWd9Sd+N44AfWhHFsZ2bbeUOfuEys9o1vyPSZ0LAR3LiVa3NrlHrgLYAyFCL3pq/+Ej7u7i2hTCHoYZCXk54B9Ti1kxTPDohOGvep201lAr4EkJHnjjAHCw85gA2nikNRVve1dq7d+oZfyhcAcOGACwTrydQcEYX25hsaPKUO9U0Pv85xrlnxZlscK2GQR3VgG3TaXVdk0Nk+4Ne3tEwy4r9GFdTF8jK8vaaJgtk29A5VKYaLeEH3B/IkU/MlqEwI5eAFviKDGbSg77OXjigumaekmdqERLhSLGWtclfMKN/c7jj+6rA/qZ6+3YFO+g44zJOWJyxRjW/7im5tamTwWOU3yMyAQvegIMvCt+JwAP6fSvzptz62v2mPLqc8X2A7FErUhYL/4D4+NO/hxEslW4og2oCBx3TUR/4/JPXQZITytZSZjJQgzdKOnOxYJIdNLtJryEEl5xc7ocJUXGvDEPFNSfqUEDqDHU1cacJNOIlK7izEEdppIqanPZqKEmvUKoGTtrSz5acPnPKcYkGWSmIaWfmQK+gH7WDiF7eW5Pg6YlvG18YKa6HQYewL1cT6kUT+TVbvNj01A3H8v1hBSQJUGS+A9ekQIKMcL5a1aX1t9HF/tijkRAuSEigMDBE+C6toAkyYhj5neMd6LXmpt4CyF6qn3Fw9MnZth1nZ1jXHsthXtRcVPXCUpacVgrOdU5FiCIwKusY1QA/TDY+O1BubOIRgmlwGphR+GrmuIaI1vPkQAl2yQKZL0m42A7heMcUbr7FRy06nhaEJJRqk2cDQwkfM+GUo8Ump7knR49CzeGz1m+fEgN4/4cIGvxutkCYaEDL2WX1cLJzqHyVowRYgig+OkhBN19Of2IQgVt4441rp2U1yAv+CvVDz5360X9pUwnxjA+UjuVfvHsOxxDXEy7fdnOD5Er/pOlimZyI7ipl+u6HdQ94XJQ/J1/rs9TaeKfjKyb5pbLUcNYBdzFqzPgf6E/wkW5BsBGqU9RfxVdKiLbqxYS9nJCaWN9BajZfXMUwJvrQGxOwc7P5JqJryyTMd4HyBHMb5OYuZjP3Te2i0H/LCKctc5tJqSdnvuAXJmWjHTL4H14JnbwxeBFhHVcHlCQolvlZFk5DMx+7PWXCGjNFvJ0mr7/LDyXkG+zzK8yOoMBJ5jKxkB1tjjLXezC+lkf9ol+/MEeafyW16xJNjcYx6aq/WPM+XuSZPKxmy5v0SW3NPT/aFhdDxH4PB/DtOKZPryO6piornQA2SkRq0tMbK6alRDwvhO06/woPE7iE50d3et/y05TjBqhHWjbFRAGv5wpMuJh92g38iBQW+hoZqpFwRe9WGQmrbzUbR8oNdHS+X6lotfPwEM7d/kkSb6CyRNyiC3/9B5ATAW7dyZw+DvIV+yDpOn8Z2/D7qK9K90cPvNkbW6uhhGOI0dcL0dCLCSvDYaAjRvE4MrQxtHEsu7gm/4GevC/tXuE4jiLlLdyc3sv15Br++BWOvCiAM1B07JV4ZXrY+wv2zJd2J4q9n9nVijavFmz8roBNLeNPmR6VCETte3B0uZI+nTyefbNEXMRUw9fgftL5YEmlza5k0vPS54Hcpz5chB8gP03BIFUf6vOnepGmR+s27j6GqX8bvJ8T+Sh5ek0GORZrd8LdxC4DubDp6P6O39+Ggo+rLyi56eVbgWBUVdtGllYHA2Nx8mtctDdkWcp68GVj/AphQU0isWfoXh2IONVAZBFe9Xrp5+hCp1FOFnCBITb9HrnrOm5l7ZuKxpgF88usKtNpYWLlzH1PWXAeq++Ieyn1roh3asGfFXoDh9HloKbZYKlhoysLQhIJVXVx8IF2vNiOiHWWxvJBaiMfWfZ6vXBXz/q44CZwXxJhNFVz/79nlFM/sd9mu+nH9NyXYzfcp7c7Nr2JbLbHzu8QSKuf/H3hCpRzfb0MR75NcWI88qIOTVRgMnDRcw/TzyMKYEPGzUHgtb+OLzQYhy3y/Lm6ambGUP3eqW61m2rMC5Sf8yFvOehWYmXFBDJpZ13BBKmhGGSzzsFVFiABnFn+pQBe+vrUq1mUtXD6GHGwUPsb+d3ussKmIJOtp9ESSwOtaNdm4IBkp+BOzTZsjq2EeYsIYSBiHLY3K2wF/lJp35b6Otxxkg0DWSa6Ke49gAcTM+T8UPjks4txPiWsHSZoUxmPKTf8dbr+nXgMqn4JQSwcNtF5BEykSiqw0E29VsJNMVTEiekzY/EruPh7qiCVGmVc4eDNYbOqhq8c3y7CH19aL+k8noUx9KiLl+nATogaygP7umo5hgzsVbGeKNaRcWNJnsq3l69vDvMkNpUD3GbmGa1z+/nGzyGEt0oentzVcvmSiT/i0CphCpvbp2FKaseAW2i/775tI8SysvnnN6IhDINCYDl5fAPN4GftL+P35ky8BVjJSwAOFUldWEgQQsZ3ec+JHB+AR7WB//K85+TEMTjrnaI4F5TSbHTa6BZks8ekSv3O4K663GgNf1Vc7SWniP8dVKXhLqFsPiwXeyBRLXGSkfh6i1SqakiZLekf6I3Vv6znTRO8mf3B497vfFoccyRKB/PZ3FVjpJWkC/YVKtTvWrG3XPh6U2Co/DvoadQIYa5sEojxLfwaSbkSbqpZTJNt7XMqzpovmbWWR6sEGZFbSG25Sx6q4LvYxJpTtGIC1dx1tPKhZDHy6UW4M2iDwW8p0tel0setqUcW1fr7U1f/ceFy9mJdH2dFd770vnfMKZJpxUKmR+SOiIWHWN/GmXqqZamhzoGPyZl8LnzpqtTmzyNVn61c7mLVEAhvE7WMsoIXCIYm8uQIZti4Tv5ByZLvq3sn5y7NrUhe8WTdPGtOa1/qzMQJMf3UaJ1xfB/HbDZDQ1pmgNaN8h9fUVuKwzYKCldPivADQLrVdtOn6Oo4GXqWQmCrbnBgWPYN4hy7nY+50Ir9fZ2yGua8KtHhr1VOvijSvIcsjX3sue5erXurbxk3DR7kDrygvntCH4nRx+UfVS6Z9ykyzaIyE1Z9mUhc8BRPTVKRwZVb4IWDovG5CH/7MG9XMrsflaWk0Hav+XlfnACdChDmRl+vwVAjoyDmMaYojQknfLErERoZfixN2qQeceRWdn/y5GhkvgtR+/GZvxCXGydwu9nVnlDZZukNxhuccZW/zSvZgQsKfdOpaoZHBXjPY9/O1ejYjb4XWZ+g5bE6Nto03R/rsbXXX/StuhiO9xikPRHaLUsXwuXRHiWEIFEmh0xTOfAizV3nZvHtticIUm6eHSWoPXa20h/n9DwKjxw+qr/4oE/EgmAg2zXXgBk3j5+JKIbswxfO6qhzhLpkJ9n4cdj/rnYR1Eiz6zr1LCthLW4uC9HeYecRL9gy8B2lutQq2zw10tqk4z9i1uhh90Js9f+yyLbkKksFebt9NKBIJqSF7/Lfkxy8ogF6vo7Xik7uu0i0Y9ZB5LfEVzmrComoz8pjIgLpMBlTWHcIiQUE659f0X8vdzrt2avQqhYtvozUwx87Mx4CvCeBHLdqaEGMofor+0WnGVRxKIs3Jxhr1EmgZUm9X6EM+DD2Is9zj5CxOaCmTNaX7vQ6rbUbox888a9bmgaK7/zwjNNS2mrnw6kIwr+BW+cCPEsrIvxuJ3b7SeOre/ud3LeebFbNbkGVw0g+mSDy70BWPpM1zvieRyN1uRNQlpoptz2M1DHev6s9wnkWQcLRSW8yXsPHJfvo2wugWnjykKtGHDXTqhHnPlsRAQCLT7YqCBSc+CpyWkieJXwlETd0JTL2GZ7ApaF7FquZ5wPAboX46vnbWWqU+UQlVp01tNq02MIOFgqX+gfP1071oqRrGdu1Ysb69EWZlduFuenkyvy5kABLP1y3jU2HkccQoMJTvuRmFPA42JAc6fFrWzHDuq4eO37JmIyMa0GjdKbmxC3SZXDdqTRWgkKAFZIrRKuYhGyiALls3t0SDSk0efGziDAEi91S4QQTd1xG5lo51D01aIrkP7pJcMF+LiiQG/8/l4HdC6AQcL+vJVRZaxQi7oqTSfHXUclnzEndArA+5Uumqmx5hn8f68ij9+bkvSRWbrLKpmXQCKOAUzebtY4YGhEfWWvFP7M3eYT54Q2bVOMTLjlHyzUykkR37qVnPbU43APyijDRJMFgQSX5wIbiLdUtr0I+OLa7Oh03iBCCieKogdOPU5hGZMslnMc2JMpMciNJ9lzF7ShFEzqheibHo4fpLS0lCuLGarhuOIKfKVPeIw0xm0zajtKvn/IyTbjTeEKH+Cq0TrKJE+WvpByeauJBd6AIo6etD+9T7rLVNHVLzHUCk/7PSI4M+bCU6rDZ+NyigYfF63izPl1ztq7Apuln64m82+G/ymDm8Ds0bjS0UjtR2K1IowgUAbUPQZMKo8yxdHwqQTu0nE0Bg3Ou7odUnIm4hVH1zAhlpmqnDNK/OKgY/SKwNN7DGziPAcnTWvda3BnEWqwZdKAThQzbKBb3OsxPee1cOzwk5CqPrWvR6HBFQFESSmfrXaBFaO6d5owDhsRP+iX61LXd6yRFICvKH8eNBT938QbBQFkU9d9VIU3CHLb/bu0JF8/Akc5upDTzNBB+XfqOpVYHLZ9oQsJqn8WLtYZvbO3nIrECaH2pLf9BmDW3vfMfxOvREKRubjGIiaEzQ/tY7m1ZhLkbXn0H4IEpJGzWTwQeoxY2D+3JFOuYUdpl2IZqmqZYFy9AA9V0WwxO8ZW1oL7kYYpvgSlxFTIVn6Tmn6LNLiENnwYssRoguk970cxER+IEmHiUY60BdF1Tl3NWaOd06nvFnJDCgktZzUOsZ51o39f1T7egoXZ7Nb0qISzXsPRekTJxg7suzfUjkohAExZ02Du51/eRvIX/L0w6CtvkubjOKTsON1eEGbH+AaC63mMHGsSIq/8US/3pdeWibDj3BD4romeAdDMN+qc4g45u4PD82Bk16MKQWXdXlWz1RYSiWWDzsVSkNto9pfLPXQTb812FmExhNdN40QxkkdtlYiwo+QSNWggPFbsYNltoPEzYEHMflsIECKcHus4XGovIELVFxcyhai4R1/aWx139BXQnp5yjGKYVek2eXwE6zd6dBto7MUvQERFOuN8vaBWlevaVZNTc6pxflE2nD4qV4WZkvNq5P7MFt9VWCNPsavGzy2W0H7ujpjfu2wzdLKj99oYFOS2v6bDp3zt0vDd7FCPxrfgLLR6cQ8aw2R+9898gWtCkCx5urcqJgjzFNgTwoynCwMNcqk5Hev4Lk1ViVXreU1bIiTjvU/kMiRRhnd6g1Gqgw5Cq28msNTcpobtJqtQ326p0JxJn8EOzGP1Zwywnmujyn9VpBLPWcnPX4LWfvUjtdfK4gcoEvYm5L+8Azr1Fe5SfXCbCqTaZcu0Vx85NPJ2/L4WmQxJR8oUZqGCGHIzy3mJW+wmjQ0VJrDj4b/ON38PVKAxAQDHggnqforvJIlDOVcvVNrDBDlqVK8KrOj9/p4HX4+bwGRd9jmGfY3FPxePcgeXZbq77xjdaOhGepr5W+semscT40h6e1mVYr+XdGNTIRTBm6ueiEfuLJE0VrLKAmz8RGBouDkI/8JJZ/8cwJUEEPHjegLwGwSktypn0vmeucoDFwyiA50fHf/y815EUkc1V2wh+Ojd+BR+R4mDbPaWlWfIRfKSajx5jCaTskVQGZNUqz/sjaHm5gDY/W+FizUScxMDcz1Y5EY6DU/GFtQTmIJilAVva60ianXwpbFE/WEbqCFSWysB1Ar3ICIVsZR/2ZGYs5rrZ/Hl/JL3sd3GGM+GA934KIqXZEvLoJ7laXQ+bskc5xr8VwQoZHyCXvudYJEVIb1aRmCFEC4pEvxOTJDV8huGpCWvlRJ3WDQ9rDbTaOSkOUAxK1deG/Jdy2v0ZXIMpJ1Zps89fgHGjRhQ+qf4ntnLVNT4NkAMXc6jBB2aVu9D4EyhM5VQNhADO6lv6Nme9NBYgzelBuYEogqzDaojCZAk1Qgm6sfCk4VFzDssGuA6v7yCVSFaUdYvWDo8tU0StQ2F1efuuK7JsbXygb2Tyackv0jGmuw6Ip4Bfg7LyQHISCMU8FAxjK+JjIBMJ/pBtzUN+QX4zIXLExIzFhR4BHJYOTreAnj+RWYm/aaaCUmVktuMzAqVtGBaowd0mHSp/EKDXEi2tUsG4X6fTi+owzQIKKmP2X98nLvFa69A8p3GLSaXrwYPZmjpbnJM255kJ7vMeMkN9UG0tViT2eRBFtTD6aoDLno36hL8XOZBAPB7MYL03s06PglqI2FafXu4thJSwO71gR80+RPhd7KwPoxT3Yi82/sG4tqD6Jv3pyKfWu9rzL43xQxDfGC8DDVi2ANuK6CSnbaXNBZ8KMmqAI+E/dEWwlkNjDBGC3iHNb9AwYpzCguZi9wZXjzPY1pArb2H1UAfvCJdC6671TJLioAonTmCoCP/d37sOJQpf2aDVGZECXD/i1slhgCNx5JdUra7nzuM/Zdra9uFrCpAhdT4f4ljzX3yEEn7AgTS2aEHfkpRG2YYQ3HugreOSVRQXwRLdggBCOuVE8mV2Vgk57sdZMOAnai0Drx1JWgt+TcPHLUcQBoj5Fk8OtGh83AoneOyfqpsTEYl+K6H1aU/07EKZpdBeKmF29jXotLnsQfZc1roHUK8NoHqcW4EQVC7rk7P8I/RsDM/YJPhILtKuvRuYKLMmzsAkgNGr7GaPNeOTHOq6V675R5P7sIF1NNDiCoOKaBWHOUJmzKRapSlWv4T8/ms/zhOdy9oL9ttUh0eSme8YcW4hupw+Pa1io1gEp5oFjgtTNMXMuu6f/MXu23qPLTB0GXBd4Mv4dUBdj+PgChp22jmZCOTxdwBUFfMNmIOpWEsHImEH0kffypN84vxydgtQbipqc/+efxLrVRogD6VPdxJQlygIWvD9RaShmM6V5VntlL4tyw09ckJJ47LcU8tRZ14Kv0zjfUyhCy+IrO+dDUK8D5jzTA/XFSTPBef9GLywWF/DZ6XYCEGiuWHHDC9lhe5g23AvhQpDlIJ2Z9IYhexYCjKORy8mgz4CqvxsvxFlt1xGgcrvSIEKOoVwYk7lh6zNTubbjPSExvxuUefo1F7dnAil+upAdYhq3dK49FjxklO0Xz/KDWSDI9u3MaJ6/1JF1x5Qy6oIazhLfhuYQps5kQK2CJlEhg2e9/toMSW/685l3PhLThOfRBx773WpB1/HBfQ/xYBlOWC+vkQe5QnJNTwiiLI/hnyjhL+YKZ3OhEWJmp1eiczo6jWk/wO096yJMBEi0/db9kZZDc4DQfq7UPw28ijEPQmCRm8X0yYW+zOFpt1Hn52R0TG8AUvX8iAvmbMSV/V3p7+tndhDQ35/K8xBBQbOoPul9//+hzjX9T6r19ZCqt1Qw5BWjMTApD1+ABaJ7Fk9L5qrzsUWmXjQkVQ+l0SPe7NkQNDS8HM+U5TM/HY3+B5GK9R2gmwZak8kVUn5Cd6jzRRnFzBViCF8MKAMxRiGmfEhOMqlo137lkiyVsX2YqPdOjscx+VRCF84vTtuZ85HVOORkDeO6ON/PFpDaLIosP4U5bscB9uq3oCvKxJ7NQnceCsljdLLkRNlKPLgFOA5hGHuqNmIBs1nv6mdqAM4zRvtFM03cuEWUc2/k3iXuFHmAu27+DuG0axqswdciT+4KDmBoM0WuGC7sbVzYD7aqIrezpoIH2vgiNprFGU5HUsO5DrsceObEu9hyheDhc8uC6IpuvzQkxhvm3LH5n/7gnNViE+ZYM+SdaZDdH7c6nPSDN3KmgBAzKsqHqc/44UnNOfPi/GQAVab1mSrpsWwp8xkk49k6dovpbV07/74yjxmugFPLDAZcVnvyO42bN9Kcg2bQovT1PpVcto6pS5KqwUbkkh2hY7TrOWYQbhboNlq472q8DZo2galkbflwmz968BL+dndqTA/6lfqD/WUB7IMB/uV+kkT6liK8Vfz3RvS84paSW8OEutnZolO40XYLdkQuUP0MIRv2uAPbe8udov7aRNrB+OADcegAq2imPna0L190HHBEFiYtypDqWY+nLqPENd/nzEA6osKuDFvuq0k85iuLKykbnXraQO49mnYDv98jZlylIR9n6PV/e0HoEXleJh6cb/beu7H+7GskCn8uDIBziNsvHqRaIbb7kqVNIi4FWCnsgvEGv/f1smIiPkC4DDTm3MdL3+L9Wlx4iovAAOsggX0LTQf4KisrHIS/Eu6t82gW45xUtNJnwoBsEipG4aEaUqk7uIpJ5RujLJEJXrYBN9MKTK7Fi6MDwVc0ssb1azlfVX1aJfTLuK0zLk2cO1LFadq+lW4xPhQXeD+RZB4sQ0zKFxh9LI4dZ0cA0Q8ydEFPeApjM4CjkHhWHaTcjTsw9LKj5paE9Hy6vvNjsKS3++txSvFaA1KlXlocZ6U//R04OF4vVKlW8kucwhJD5j1H/i2anvSv5rgnd2uoNV2r1hzcHIdHAyGpL/uQiFAg44Et0bX2/v9oDWMS3DlkZHKdVLqBsUBjSFwjn3JmfrZD6mfqjPf2DVih/sndSkZhMqOvjPFTmwZAv39VJfu/z81s/e93K9E9rLHuW5DLYgcV4iRV1xaNFMbFnBfFnnB8N9YnrVjATs+f/vNOYn0gVow="/>
  <p:tag name="MEKKOXMLTAGS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/LSbJ4H5vXjkNGfwJVS8I64v8K+Vk+elgjx/NXvx9ZdSkoyrEzHmwx3KjGGLSwAvHwzrXMKOqoqRKKdn0Y30k/pc6Oqymx61nISC5HjXiwgCznYdC5eNG9Ny0PcknV4n5S8zCu1cnp0tBZOsIHqHEL4MWlhOuqBeUaflbABb2rcjxTt5nFQKrDbfVRP3lVzRn6g1iUzZKgmZ7LophUhCsdXaV3a9gtF+LwzZTmJjPwsjAi2/3gDMfZ8wUgbkNU9BNh57F1cvF3Ao2A3QHBA0v+TQVJS6xDI69GCLdIjWcrpyDJHhSEGJLiNn8E26mENjtUP0J2ZIRLVA5WKIJ9/huTfHqJeN02NNmZuX90W6jkRbg16pHgDXcbkr6t7UpPmXrfcC2K6+GaznfZvxHoyrKDjJAS273sb2GaHolzimnAtPeZj0VWEkwb+LmmaPKPIEF+z5W+5b7Rpn3kg84eZkYByzhjtzd9UTfM9FnTrwZ4hlQZcPtknKv7cl0TpBlBCNQ2N60jATBoEz1Tu5X3SibM+7JjYhI8A8N2pOcGEZzwFK6neJnQosy1nom6WowBifaPG3GsBGnClR21ADoEz7fKZH/VDTE9eMQNlGDV//gggK6Hyh1DnbTKIufmmjo5X8IcKIjMnDcpQt4J02EKGNiPDnNieXEueP14Cb6br7FOo9cWeCwAJxzphSc8KVwlwC5eODua++/CyYkMnfghKBUA32tH6l4oVO57o6fsjQtoG4yet79d9wSxTanSDwmuOAjJsehE4NlA7fpEp0Ll54uWvg6g2B5gsNLrdLNfvtO/TdtaAjB5yiHTZB8bQVP15JLAJZaJ1Xx5P8pbfoHJiAe1npYv+OkVp+mYCW6VqgkcugdSNERUDPFc+Av6rLEKgvDG8FQpVYOfLQH4J2wWXJrWDEmRT/6JkYBv2x5gX7WhKk1CjOOwpWdWFOpkDXPcmkaObNqAQ08v/ajMMqbs5EhFCNxfOmbEuTHeUnxNOMkpBGtId/0+lEdOm5RfgXVkhvxuo3PyFwoNKkRmEPmIjov3BL96Pmfw1PWw54STJsLDFDwD8FIHlDbFEamlyj1CYARW2Ov8cHmsTrE/Q8hOxZJJpzrbHgVruc+PgOANjYT/7WZ7ZvzCF3Gtebt2UT3uftORQlatPhnR6NbW4Ub48iF5C761m8swXGVgX5dsE9h5c8IKTTX0cpb+H2lr0K7k2EQQVOERrawlp5aa2tYXh4gvHpfia0SPW8zN4CwoaPoi9GyGk32y6JcSbGYmBiaQZPXlZX0RI0HWsP8szMDQQewZvLJEKMds1FnYiOuF8mNDPZ5zpTUiF5g5MQ41NdvVoJCa2NamHqxFs2J30MsGp4Y2i7QewgPJnJ2wZ2jheNiEbCCgqQwf5+pg3h3CGgOlJ5w9cRwj7pdkQHTCu4PY1pIV8Usfa1RfVKlLkObYI7Sbzg303TIgokpgnrsMK24r0Pn+513FaHIrrVn3Q7tTwkNvLmC4hdSXGsbQHnJsxtoWO/tt65VcDMPBlQizFyEOdMj4n/ntXjfLnM8PdhvxyN3D87ZMkrJpLqT4Gcp7A/P4NOgmwKvuNnPl9sf3n4nFqBMHmPSw4dwfT5N9lXgzmR9YC1jT3mXhIDIItGE7vA+BE4fyWZe17PSXtm91abQqAoUYhdI7EYh5xmA0L/90vOw+uRMMqEsqTrUd7g0jp8YRIJGor2VWptMlbEuoVWuaT/YuxUK8j+HBVq6QwSeF/hWUZ6RvUQZqK0ofoOU3SvqDmfJOyKJxrPW3+bl3qwVIBN+Ro3XqhLyjBWFYlZ8CeYslzSds2Q9z3HpjbEU3fQateGeVJ+cGDfKYPQQ0rs3bI+XcOEvR7uwKJxEVZrY8ku2A5Oa1OzfBTfEaacylOub9LMvh152Ea4V1H/v16X5mzQitRE3MNbcLOCgetzu6yNsFa1rFB/9OzkR6Wxg5ssehFaRXwsZlYCQBYroLB5EZk6fbWXviWBqn8eGOAER+BRjV6Dm856VQ1pSzxsJ1X00j3G5+4M5135c20HZu7O1+nZAt0E+qP2jyjNZLbiME8IEUFUfLPXQEhE80tGMNWCa0s6O06zzdUolO+CiGBjlsIPXpXv/bs0Rdkj7XpWr+OpIyPraFTD10rZD5OenBmK8W9dQUeN8hVDNDcm9Fs09/9UyYV73DEmYSODzGHw6MfT0IIGsG1sqQKwHTZ3IgnEVp2nff4YUf4O/X2cX3fojuR7oZQilqEDtE3jvZACO1fMhX8543dqp7EzD4nSCmRwqlpoZTBf58O78eDyuZ9+Ei56ufHL34y27IGddHmtHK8iNJUhr4hjoVQQLbzgPWGxLLLDPLE9LslsSXCnjzeCaHXYmnM0aABWgNiu7OH3maK6EtvcV2ql1fF0DpqjNxSTAqYTbte2dfHU+4ofrz52VNyPe9wwHOTdXU7dhlY/j3TbWObg4p+sXOc889r2ywx2zn4KQQxWzdLBcYnqD5rbWDQfKFszTrd0F47HPB6FuD0ay8TtnhLI616DptGyKFOQv5KNKM9QF3Zxp+No+ImOwh0MQTtFKB1fnayPpuhnQ+efd/Ima/ieENUriEPShoTkBQqpSWhXqH8hKVZYD0gXhUbIVQrNnhvBeGucUDO7lOzSxc9uGb2IbCKLNF+0lC7bGvvHT9x7QGkduZBp0tv1gv6AE0cQk67+LIqwGTuKVOlxVEtf+GSByinWb2by34OWIPzLhbMywwCkqm08xARBfQ/yPPBY+VVamDgvfsuC58D25LgsSi52eNJs307MXP1diqzUdw8ruXBWV4SfRoFFTGzWpphyCdjXemgrzm7w74roS4iAKpDSauDb/AQb84c+U7zU94B7q8bj87B41nxTSc0194T2VxEE6rJ5r+Lfp2syNFRzpF8ltBYHn/RyZy6oADoHZsE5/m9wJCOphDjiye6bEROG8L1uersyhDqmBGEmWx9VwPRMrVF3iKzXXxfWcVNQcMXtSk5bLrT3K9AyihB5nJepjmjGEa0Z9H61Y2jP3dC7ctfWFymoYLXIpX37aWYqJlEqPhcIXhlwxm++epOGFIUWnmWOqKmfX4nn+p3jprE9abGHY2WDIPyqIc1A953AQ0BNeop73RagMfMf+pLuwGgE7acaNK/J4H1nuVfV6T0XWYQDwv9eVqJfWFffr2e5t1mw9aSX+PUl6UcSsSej1QHybPyIg8R5cQ8YuSE7cXE6Nj0YkbuJa907anSqCCREPbW9pk2J1Z64d4vtaq9mrkrLrhuuiZ/4n99VPXyu6aQHVKVo1OB2dz/n63IgdZjII4LyZOx68AnbaviJfpfHpC9E71G9FOYK3c4/LpfwzaKnbH9rR6Ixxsr4aPwRoqlXygxW+Sxlukfc8HbUtPBd1felX5j3cCj7NCkNGcNOeZlfLBXAMLtTjRNX9mw+zDIX7tqBYbDULoG/60cfnr6E+sbIDqpOAqRLmTI1B8kK9yU8jlXlhgOgLEYRcxGhdChgXZ/U9tq6HbyihH1n6+hqfaFkgKVh1pZbWJPJf7JXu6ozFOiZ24p3ZZdWkATtmDPyDTPhOjjdUQoDXmgavHhNW2yagW5uw2ixh3OM2U0oq2ZCtKsm84u3cPEuKT8zAD/8CaYp0MTXWHilcCSthdn5Ww6TKXE72skinvC7SnjV6tuw0m3BqAl7npMcY+0kqyU3L1OsJfTMCWP+5+3cy1u54Z162CZ1gDnfFnBi8zBnxlYjmS+YUF/2yZwS9Y4QR6z47Ol5vfZ4E5XVMAk1dMTZ5DfZlcMeRrtrgqAPU+unhLewlRA5yHwCPgR37mBbdRliiiSVYY7LkE2Z91BouL7srr+TghjEFmfdB+yiDRCGRkfvpGLA78eKtANLXhtS1LJ92ay2+U5a8R1nvbIrTYdfokxWdWpD2Uxy6tChKxZHrtIHUXklqSqqa1qfKlzqWNLq+MA4/jY1j2idO1hHgRoq6VOp4wwtqjyh7YFaMjQfnsq64CaQjkqhQT/ZcjyFkhKLQykGATwRL6UOjHwKH6FDIhxqRctpOvmqqIh8FcoTzI9IkN5sbVaIrJ8iRgO2j0p9NWMM3aS7NyAWY9FPgYA3ww6RVmebTEScQL2y8hgBPOOe00N+V3OyfCliALotjeJxHsMfHrw16tNFjnItSibsuiMV591LWLmp7quXmXo9fUHfq173yZd6tGWqRYKgMI4ZXxLD2ugiIIv3u8KqCHLMW8+qNjNzL5mMoAvYnJPEgZVpti3kPSAHvOebXUrjaVLS7SnCO9/LYJwP/PsOg2E5GMTRroZIuIJW18klhMqC6ImcOSyXCWSnills+TyEMScbV7QUr3fCuAvfkgUwGW97UJJVpeb3gvNeocXbsHdse6ESUAOowv8caYxY7CxWvROS3+doAx+cVtt5iDo8rOEtc+xIpIXer98+0AhdsOeCxjoFPniKjOq4RKRmIgPblPaiXtT1TksAGGQOXkscaCPyp6rGIQKSGs5jhRTTMQmLO4+ERfO0LrIgeYXvu50DvyehytWN89Lsy/cUxKAXxHYJOWMvg59tTv5eYM302oaN98jHU2cknBADtDa1EPmoqkLKlHP00D8iUPi7yaWuQ6M1IAY/s7nxZ0vEyOqwU0EIt+TiSIhM15bTopVbOIwq5dqKVzytDcr2gJVvhIEqdYcRvR6wX1/DCLZtoEeRSpdHIoOVXDvDKeZczWUv/9IzGySoyY7LmE2OHvxZC1R85ChfnD7vSfVa6kkJHnwJIzU05a1GTvi6CZBEUtnMr7r/2dRMLbwNM3Qq0gMj4zgV/9daeSf5nTxz/q637lYrqlVuUjOrKNHuA5M4gYzEq+sFHNp91GO2AEgeh0Dm23uxO9wr+ytkVzCZ0shNX0Tu1ZLo7RpkaebX/Vaq1VTj44z8yijUrk3rYOeWvjlp5mUVdu+VTgSjmvXN8vvIt6WjysdhslB7l6s+PgGwi2dqRAg9kgtVjOObHHVALyumfZOhYDvZUkF7LpvrK+VcMcHicixLkSWSeQkUxqR/CBa+iZ7eNSr91wi//0YyOSaIhVkvzPNTWrM60tjOibSG3f4+hRZ8MQg5Ag8bSCNC2a+6lpy5kXvT0KNW3DoZONLEeyx8UyPwzphSN7TK87MIKLW3/DDzNsMnPb+fE5xo4CTJoSsNuhl4ZjzcfQCzLJsB2xZ8l1FNar24H7nmgYbgonmH/+O7ZrheKNSusAcXgj9K71dFGtOJVCluaD6h6WdOlv0sW+dsMfqvgBjtzGcMEL5NSQdM1KvO8se8Pe2HFGlKljHloz3wckuggkUC/RAsikLAFyxClbA48Ai1dbEdX31ZkR9BRaLZlfx+LdquQtTqA35QhqEeKmVZVuFfp2m7786CO1lkkGiKBZVSOfqfycEyOhMKYns9lCsnFx0Vv3JvO2b3hsPMvj/SsWmt4USmVUzV+ADNbfursGvFaL9zeOMIRzYSUKbr4JF/hbODCiJHL+MA4ddrTNms7idlOo/Y+oyU9+j50iHSrdO65gSkCaJleThqtqvmMTMOlA4eSMbXUt9UxJk6t82MIoyjJjFZuwHbOKVBibROp8n2xWGIHR5r8sAd/T2FY045f0IXTPkieVStoQVyP8PhCUleiSGcg11qEWZ6SJJ9RMV3T9GqJAVoZSqTaFOeF7vCKa3TDfN2vEfcdR3j1S57hC90tt5lw39a5Hah2paqk1ijRQWih8mq7xoWI67zDvUL1h0kNqQQVpeqgJfWRD3KH9nsox+8JTMpB5aKDkqBRpRYUihTApj1WuD+4E2E16IfVumx0qR3CB4GCImOTdPARRemhB1/uEQUItSG1fXNbVkWbodliqk+YJxRondJGh8HWNYCwbKyfAzxZga7IftqMI4RJr3pxF1YM2VQn3k61AVE3pagZi5IpJv+azTM59XNE+yKGLXEhyOCxmwudN62GN1y6CIrah8o/sH7sz1ym8zpuO13TsvRP1tz4h6y5iBp0rEInOqCvc/mgpARUdWAjWhZBzZ7qypEmWjWRZAWhR8hVihWvFAjeJSNx85KM3I7axcAiHiadXPK3LssjUK8JiydxMJiX2UVyIGdBSVQHmc6LhMZ9vH5ysTX+2kWuGOlNlf7/YMBJeDJdvH+b2gY1X3PGAxfNFb5PD01z9T/1WEGHusFRErfo3dxWoquO4cl8ZrdrgQHRBVEsHdZQKIOH6jHM+xR1esXFIikW9kjDwZK50kLX+K1ayhcH/ZE+Ik9liArvWx86a1gJLFDuO4AQhAnP5vFM6ZPbTFJ8iNgjlKkw67HmtIguuylwRfHHWml58ACFLFSH+3kxbTwczE6e7QOdmm2neIHqtHWNIlF+zai3vhVg3WFP6g+KCawIkO3U56QtXnFiczJCsknH4/ISguO8mQj452FmpXZDD3kq5PB4v/pHFM1lZyYovawIQ2mhz/PC8XY8x4t+lVWJcQ6KJnT4D1KFR7d7V/lMpZJV2ZtxhMbD6vGlSg2nvTgOHq2mnzvTxdV/gqUZjw1mO+ZXOp1xUP3HLshIMxkiiXF7W7+xGAykxinpODUEOt6qI1YA75QKJrhiom5t9quGyBVyX9ivunmdPolPSDJ8G6L8Ez8b3hXJRIXQ8k6lNU+4iYjlciicPFpyZQcGdbEV7wAbVOtLQ1/as2iLlG85zC0xkuflMg1cOmIQtnmYXh+wqlhelQI+FTvByxuwr0EKwNToX1GTVJ9GWqOY/I2KMRz3KvveQKEGFPRVu4m4yJL1PUeDDVVVHr7rTV/6J5czooNHNjHsxYwo1/l4Re41lgDVY96GYPuYeqd9xtwXr5/f0MT0/PNQe1WHOmafvNfnyvCLWs/8S1aO6ycHM4U+LVTWYHf48p+nDU1IoA4QBJ7QoIBrWcGv4P9Gxb4md9drSc/KD5n3zDIxoRfdCP3HZlFWqJn1tdg5PDxfqoZMrnltZRsmqt/jF+MsL2TBuqcYCGYEf+hAej7m6IwsRu+cS1vKYaG37GGu8W585PzVM8fE2Lt0IsMyXqukTD62gke8Xw5g6BDnWbhLEx4Q7PqEr8kKrOy8xk7gPi76FK/NQryGkZmGdlkXH0+zHlJzxbJCahWbFsBaUCA1POWW4nr9rvFWK6nun/xb8/umW/+jprF631gERsYmtwoEN45MUhLU68dhoqROH7+QAF1g9n7EB3CA1Rgdz3OMgIOI7sAwHjTbHSqhpbXn5PW1H6IgDOR/HgUAApDJad8/Hw+/khvw73YCcm2uMyVxickHaUE8by98BxkEEgP/3UiTtfatkp5FsOnV+OWfKAoot3s/I4JUpUHSpaL1uWdyw/2Q4pNsrVAr06iYiPVVaK0YQRpc/oXUe/SLu5E9hhDMt16yGrWjignnujoaZ5nKgGOLjlF/3L9wcmhv7Kjb+mqmGay26WmUAI9N9GmZis//r/9tZSnbuh8HA+fQc96zZgyEco94clFmcxbY2Uc94pWJmtVbm7fhS5zNT17fmt4mKICjb5tanXFJ5ArnF/HRCm+PRNwgtaOwz5LEtPXGRpP3MyaaCv1JZuZY99WLUYTfAmpf3wfezxsry8twkhuF0klKmzw2UZNpmmLHdradZlktkynlsB2jKYERdU3iyiLVXdACQCiE40r1xp0+2JBQqsAR6RDhoCAbXXzdONw/9q/sdAC8k5Io17kbpVOkWqpkBFBf2ryd78FUwC+nZJfDWSRkbdkgX/+oaPgYYsBi+O8wvdub+BXRRrlLcSV0KmQAvwiBwsPeBWxyPMsxLnyDiwVp5P40qVk2LfloVdFT5Duj6IwRNRjYivssy6yEI0EhYiWpKabp527SPgjNwFKil1HfDtmAllFRvPtykRCwnBXcJ8ezWS465SiiUEabsejM/xZzMBruK9vDDi1MpDPZfEHFg69sfL94jOldx5bP21dobcmnIORtxzNl/W2QWanRPscuolpHUiQms5jGc5WC6qATfTSTsrbgm2fZbnCYQ+zIAd35Q87WMUZ+3whlzwzkQJd07AqaQ0O33bAnS0wsMCFGx3eFA3dIXnTtWi/k0gUzj93vklPMGuJ/iYgvieGOpSB4eW64w8PzO0waMnGX9uaej0xyG6eO0gl9RYjc5NlyOIwmgGQN2WAFYEnIRxxREWtAFzUyaiYY+aKs4jxTiTJdCp5fCs8XORlnGSgUwWUe39o/GwB0TZIsM7BiarhPWvHbuLD0+jdFjczQS508xFuKeejYxljBNdFmbQ9Ksyz/8Pn10aQt2UhgbwexMu16zsaFxDEYx81EHZZ2NidVOCZP66UWzl8x7z07gKGU5EkDi4MbE9oiygwFiMwEiOkTnHSCRr+TzQ9wyRVOZtT/CeQsZmANpZpUR1LITfjCZ4w6Qq0TG1pMkkpwCkQLf4gSCR7ZI2eACh0Gt5oNkgMRyRE2jZyhxEI6QGPgTSXQlh/gY5YaKt15oXzzyNdBM7I/LXriz9+u+PfDgh7mDTnvcad5Q3mPtmcKiJxoU+oZmmGD0AtXy8zDn+whL7nrVFoKM9LYh0rKG9jkfSpEc3dPrCb6EzPZ8GpOcEpTCQRKL2M5AX/HtIzCFwb/v5hOZ7BuOLI7DTSgCmf/Ue/EldluuMcqoDIjvk9eJrUeiy91SALB2j2ATiuBfxXlI5X4fvJiXtCP8q4oNZ0sYd4CjPMLdYCTp4kX2pFanbMV34qo/lFriP2qbkl9trd3F7WMHnLxFSK/s/mjdvDLGA380UirpSc8zEekw2rsBwloR23d7QqNljNR3Tcd3sNWP38bCpL4erxLAnmzbfnAmXf14QLc25gYvNcODGuPLTjQa9f6EEdOLQ/u7ctdbMz/9JwGX2rl7pEsj/mri6RVOLFZWJlgI2LDz1aQZevLL42qQJeYGh296+8dzFDiPh/hrXhK9Zodbg8c+YoJafVqkWgYyodoUAod0F4ExSo52CYHz+kS/47aBUM/wgm4WBMcjPpo28XoWF7Y8Okb5prpzsiRu9IDRF5lRalj9P5ErCFfH5m9J806vTQL1JgQ1WqIKx0frwNxCQP7Fg8efiiVuc8jrKbqSo4IJNUlUQULd/x/1/czxwrfBCKP1s3Sgn1mCG8ZfzSf8D8AsK+P7OHKR1u/pOMcRQLB5RY/V/uaUJPpG5XSUf2XBtRuO81mA7IlXudn/OlPO2MeTrlkKVGUJ5yv8nhy5U7/wPsZo15WR1INYwrURr8CQgaDQfaRIxSxeWgSYsVVfmhfU4Oc3s1H9UzHSIc4C09VpBZY47KcoLUWIo5CsevMwh/f774uB4KRdX9XNRRqeXaLLpc4A93FpWaLpPL+jW8R9iYaXqJGKW0ZAQzGE5BExgH3A0qOe8m0jjQnZ+qoeLh4dtVu1znx2B/pn7Xxnc/aoHbOgCuBb/G5n0tDof7N0BnAJx6xeiKDpVzT0QKZ2LaoETdinZCY+CfNTHMNupqtxooUvwTnyPldzVWPmEwM62qlqd68lE8Rb4jR7q0pFZcqVtQLfe39xoHW+AQgE40TEeIm0QwliunAHokJ/40pdp6J+HOg3bBf7AeNqtW8ltUzNDdkW9lwcP31oxh7UlKMVhJr5fPaXLKLDdJSVGnJ/MThG0DPlb8gJucJ47ggKrlwKdNSf0W23kofEY33MVNnELHfQ9vqCJeRX9VZig/TyquIdd+yQepI+EGbTwRl2UGf4HBZ7FUQyNvDoLGwkZd2ZxQ8xMl2NDzOfDxuub0xIk4+oxIUHRz2HNQ5KtaIsxlRjkJxwAPj4uIWL3sy41kHgWPpzhcbqJyqwt0tjVvwkoFLqqZCll5cmQzOkC0JNJwmd6KB46YQLVEOr6QxD5FWlG+S2qMc6jzzfTBlUeCITtysI0pdlOaeYKv//F7ls6reMU5vF7z+eBl+aLBR4cY4XnemStLbA2eI4gFbteOiHhwTiGkYLW1DE6+VMkWGhvafNbiJx+XcmBl1N1H8+M6hOCt0RaLlWyYikaIXlXfNl6GIppNWchvzGQrnVsPgCOAivUBfT2zpzxuwJOkSdizOhuzy5nqVE5Z+SCCmUe8BrTKoeJ2LuIQcfq8qPbyW2zCpxrLBj9KtFcgDqhoRpb0BWGopIRcnnorfohzfSugxEXbj/8oDhFkhbeDbkg1u13NsFicqw5RLKQEbTLjZBwkpa29PweXmltWRiW6H1ouNKLtacPwf8fU5kYOFt2TZqfBTxiBuMDuhpr8ZNs5CvAeHq1elvXgrbaTn0hjdIjjBpb+NLNEqb/HAgfFigAywVrEnYSvh/SdsJicqZ925bVFfRtZNADf4Do45vjnzu2Wixde2ApO/Au7/7evHOebzTJ2NowiT1VrvjStTHPm3brehmh9nv+KYFyBU8VBbs+9KBev6FPfEyk/LWZ3xX5v20pcpoyS/5UNK1yogXcJZujtbyA3kvCkffz8Dkrf6Q4tsrOOsfY53jYZVFFxfnuWjj5X+rmxBr4sbNuygJeqpo5lvIT6DoGeN3gzG4Adb5bQEl2CjtpY29qBFkNb2lIljgOi9YxS1kWJQ2XZNI+dsmEqz1AAyelnH4kisvHWzY4IoAxHKh1ZliEOxg+OoKwaQN1J0SqVxrBrj1meiEJ4TWWi/rkY8Tb3Q8L+WpZqvrIj3CHsR6XeoqjzXh7BRsr/d/janMBF5O/UmrcsDt9X/s96BBXBne9xc/opFZsSA+xOAH7w8BVvnFDfMZZqyhBK3o/EQ9jk0CKUg6vVFM2G9twOJW9FCDTdicX8Y/d0E92HOUA7jo/xkmnJHu9CJAIYWv4jyOiLNCFvZTHcodlZGUfL97uOxsOtp5jEE9i52s2oD1OfDol8+leOQmZlbM/V0kc+EofGnLWAImg2Blwt9SOkCgtGPDd+OZy1eHV+Y8wuhvUUJEvbD/AJXjqgqmAclI8JWoUqbEk7rH9u+bKO3Gizzb7ZV47yWPcyhx01r43CbPxDalzh3BkIDM+M74rSx+LA8POg24GEM3kTx66P7BWP2tGwfE/r33GeFZVkwhMYsCEm9zub0OPWiRdpOj3xvPItCyrHHp3Uok3s9WajNnG7UU8X/dhj6Ibs/1QmNfGo+qWDy3WWc0TKkyQnRl3XS93ehZhSJK3fOpS2Bg0gt9AUQbMPjNDvzGpOhQvbQtZ4Yvcc80d864onFeAyiE5OAlZ+vXdW7UditvanQu4qTjeRwa261Alc85nf07Bd8nhAx4lWaTkusN6X/E33qpHSbO+gazXGPARdmQ2j+7MO+SGExCZ4QZbsnoK97ftqflpIj+3hDGF+v95UTQ1I/u/WpfjwOPH6CIhH271UsKf11f8ViQ03B4CAxgYVFuE5x0Z509LqkNwtwtITEeDVD12G748bkYHqLLAlVHFQmVUOz9YKF/7zaDw+6WklzT8kESzImMtBhqUldrwk5Yhmr6hJBiIJuuMzqsPR6Hoed2hduJcNmn46Z33FmbAHMYpflT9bYbAcZhGG/vrM9mqFGNds3XYZOsUJlKmxJwbkyfa8kq+bYboeURnwY9srgJ6Hy3Y7Gclq4KosFDnpaDWgFZBwmHR3KBucUu74y/qocLRAuUdIco0TExLRY+SVAuIMJqgtmszr2p6QhygX3PfyJ4EOi9xyNIiXm+gP5RHcs8lFCDSWLu2eKWgMTBVHE5BKbY1Xr3Yx0LljvM7Sobzng8psuPl9Kd+k/+IohNHtCXqhBwVJmQLaSSqduMY978jofJFk5J2f0nMM14VqgGkC6Of5I1vygOJo6J7y0z7GZdrmcEyCMVSPi9rlWp0LnC6ItZnpiHKPXw/sqDhYgLLfJ748agO+ded48M8t42FkajfuLLJpkIAw7YAkCe4ck8fbig1VZ+p7Pn9aYJf4G27jQSrxpK0auT77Obwtzh176LTxlQ0pNBHz529LhLRHOU/B22mzvlhFCuFxTKCWDiUXTBtLj7V5L8GxAiksqb+M/wGns80+uZnHipMW5QamvZJKQdAc3rCGNBZGQ9DMO7twKemovhszckdfTOB20sUeSVwj6mAK13yZnPgf92wWbem3l5lEP5tr8sLj0rpOn+be7nWpJvxvzBKPtZKGYraIQLfGRFMkXFMUz8G4z++l6oGRRO/yPkQHmIOyWxRhi4mHbFzIPP7yiH8Q8/idL//O+tmrg5kIXEZ2ctkEeexfsjgajJpV6F14CgW06Jjo/dHp/zRr3RjuM2oCxkdbHyDOXL0lxfGwjzL/vBkZ394bblJ1f7nZxbIv38qt/KDa7KOLXMiKSGmGlgXk6Utv3zMj9fn64fGndCPY2iIwSuAMSgDdEJuBnCO1OvLBzxO5eU4WHLGWtqUOaMLGIDerCsyn6KFCgL7hc2GW/+IDItH9qFabXKISTKV7U01r5j7ceZEeviHH3M+XAi1U4RDVTWBsFb6zhbmVrGRJMv6oFvnefXuY5EQ55MD2V7rIfYu0DoYLImL8EW0tptJfigN0WM+7lTPS+uc43jkAtviMfM+lbLhzVSH9ycQLkkxUvrVrShtXi1R73H78/7Z5BF95Cr4WhxJu0bKvqReYw8lcUwwz+zXrmp4sgcUC5Gvu4Eebii+6BzNK7oZQYcV9dpYXQaEZUMo5qW61mtJp1nin/bSxef07KjXqSry+1I2hcYv09pvLT0hNmuzT5hbITz/zFGzBpBpIe7JrRDgoIexaBfMJmJ/Yqqc3traNOBoia7rrvjW1cU4QswrO4pSJbqkLwQst6o8g4Wj5PGTKKwg/0yU+saEJvPMuBwJpw9wRmg+jkxDAfS69BzOcW4I7xFhP70nzHWY6bACdUA992JOsuTsWGwyTFLcyHh5WdAr5dcZM8X5Sa82MhdgSDZK8UQ3ysKt8o6q7XgDTBqIbckdsyQSp/BeGaCTOYSSV/68Qe7cYcX/jiWclegoHZpRugUJ5Z64g27rs/SdRY6zSstLFs7E1sDS1GcUjFBYyPPfWDkbmIfDaoDyt9ZsebZ7j2lpkR97qSsAK+dRKjEHwERD+SuOdYLEDEbvKgbEpiwvLGFD/2zH9J5HdEOBXg0iHRKKP11fQ0+J8BPnJLrvRhB+jeulYcZLOkwcPXDi59cM0RAmMnioniSbXkbZStw6XFtT07o86MsFka1FBs3cePHlq0w/gY0YJfilP0NkCLFA2LkBv1YM4ZASYy0EkDLQpvebXOMX++EII/w6gCd22ehfO7MJpGygYKnT47PR/BFOqwZ7UBamol2aXJ07MBT1sLhy7yhzMGaqn/roMcq5riBZ0pSDy0LffPLzGrOGjZsXLF3Do8hADXBXUmTpAr5D1TrEXWkc5Vs7erhAYQprRhTX6fo0HqMZQkKiRGe0XwFQHMbyCI34McT4nhD6K4W4YVWNa/O59kBO7a8B0zK7DjUt8L+pTCKf0vrEUGniHmRnf+2lAXwd5zGucpcqTUJ8D4vDi6ESPU1tQu2sNxOh+n2+v/etPCCX/0CVU8rEiA8BAIxbw+N6LF9x6XG1gAqhXsOQgyFfpT40Id29jHrMAFHlUoUF63kyO3GbBd6vEV05Wc+mUBQ1nkQHsFnAVplxaoFTT4ppqS6Gpd6FtzngDRy+IGzQ0Mk3GtybK3ukK52NSFyWGpsK7cBjefNU5c2FxK1qxTrmEZskabckOHLU5nBtt/I+Fa8wIqhTasPp1Ubuz2qUn9KqW0Y3pT/5OtDyG/IvojKGFcwT1j2Xx4Q7HKcL6fOnxiuNEnMh2subvv9hG+Y7V4ParSSuu9NrTr1qsKm7orzQUuxWcU06umzGJ8hB34zmtzuwwlBNxPD26TA646kMG4wFirBAtR7Pl+u+jouWOvaqXGKQPatpD0rVHA+Y70dOZR496ZYH4agv0biqmYNzLE+UVjt1IaUqV1R0/8YtQVGMZ8KnSqtgHGtB4cV1A7sqfwR5WL/PJItuzlA+Cf/+UQiRhnZXI2KmC4YEgPK0fTFo98V/iBhuuqedX7zJm6rLaHwZ+wlncYHZCDIJHYTMprQyQNCqYsz0DlQqPSlmGXS9puISLFDTevk5A/zwLM9JrlU9XqTDJ6lwtxJiUBslhnqinZ/QeKrYsb99opugHsT9doJ5/05uJ8R30XU5GPl0wz2IRVTgyV2G/3nVHNh6FHOVwKHwMEmlleLKRIRocwpH1BKiHtOYduz0H0/p0p+JQVEixTS3LOEja6h+jSfFhS4C0PIv/V9B4bsUJf/jjFB2m5Yr7ZtbrmM+zuyyQLSzoBAeQtcFkNRKYiRcv1kI7k6e33X/ufbvOQG4t/IdSdV2ZKwHR0hDXOHwk7z8PVYQZy7lJCQTI7xwUqD+XCYbwlyUZANIHNSAhn10POpAmxcys+VkDvXHgbUK7ftYBLPM54GQG8lAttXtDO1JpDAyjOd9ZUzDfDa2dW8C1gjfH4LwfOLgAJYbzX4N1cCbLLNi180lbniiFadmat8x9JiuPrfUwEXon3s1tR5LPPIFVmsWb5HzrHhSWRopQzEesga7ENooHNlSL9JS6Chqf8xbebr43Bn4GvKNhl3lxfbjrg/5+Eps+3eeT5C+FQYBRmiR/oYFs99Lw/A2/h8bzxhvr5zcpbG9PHklGeo421QBAK0wK9KxTwsL+wD1pCMBJ3PULd+/HR6pUsoTwf0Gi0vct/hl/mH8na09eSuVF1/Zfc0+yhE4bIUT88WwgSmp7kT+DXwNJbw72aw7HnIJxAaj66dnaEG+QF6sWVnTP5Rr/1J/8H4sXyM87TgIl4gD758N2zFnXjN9eGkbqy06FXrgXUK3B6VVYQNkwjiVhJoK4ik+XEY1afe59S9AAiPROLppMeTbSCAJHpsBt0dXMN/R+ItUAwVvwA6ErXBjA/jgvV2yB4z4U8x3MCTIlJaeo5BO4XRw+TOQYfuSpfRJ36oG50RKNIC7mEikkyprHsyTFN6UElWfhI/6A5vZEillZF3p/sdQ7uRqT5bHPFOjDdd9q1tUHBoNkAJFtLGeuQWsZC590Z4V4jqI5TF53kXjuNDrSSGAyQgkEo4vqAk5ieS3IhsCWkMWxSGZKoIRXXINg/l9yabceM0pGN1Ff3yNcst59AXP/7p51OjAQdOnawDWuSwAVdNQaU4JN3p92c1wKZP7pYz8XcxMJL0rmLyJXr2XJLBCIAmNNPOMTygU8buZg0M4+AUsuHKKcG61G9vWSihVs6+InoTP434vFm60W5a+adDO2JfIXqTiAtHtDDQHRMVwCKM3z1VL1XMNz9KFsOCtbV7IFVREc+LUK065n7k9X2DNRSW00lzYf6fAK282rI4pKWFk9gp99cs5nPOwCjxG8nQbloL/56YNikbM0TmxvvaT6n9o/jJRM3vghlSs/aSk+vtCBADSykaK0F4ECn78Z2x49f5LwXGC83R4HUMsBii56V98OWa2cJy/Et4Vwvci0W0xF+i/gMpj+mfrkFotBvXJN8m3wJrtnskp0I2F3arJCU5sSC6zUiWlYU8tL2FXG/YHqA3R/e5olVwIoEI/UyuQ4sepyIA2K84YoAvPlv5TLomwgJoGDkFkz5HNgn0rX6X5594hv1XaZZ1/iNBTQMmsJUEAA4O4hi+HiDqI4+IW5mccC1ACSaMkSe20up62loQm7zqT6jY+C/ZHIvp03pr/5uJVA7RAQ8Ym941CixL2sKgJLhVP4ThYDHJp2bfvT0Ann0p4cJ119IDt+Wd3J6L3i0Q/q8RxlGG7GHgtlnUnofwEoBjf8gIDGxpcmEDeAXn+JbwVMVusjwB9xj3faWhPbYL04Ly+S7w9XwkqU931/esDrEEcpYa/OQvuvh91EYVFvNpaWXLGAiOqpQqmDvO0WaSdrMUmvJL66m0oOsEmS1vaK2mRIeVhf4rk71H4hliFBR5lhi2/hoBUIlPHf1U/lerrg3/uYaqBPEyqH8wsu0eKd4WuZxUUz4mYGX7WC0Bjd6EXzeZhPA+AN91DAy1bDpp2knBbMSp8lTnOQ/343TyuyJUJ36+dSX+7L9zfZmqjpPh1A3CD3kw3OcrJCMjuX8JpWn0Y38Tu4TSrQphALVpnbL+/ZY44akUwh3an/jLBuf2jNDxOnnjgVLn2tAyCCLAjYdh5C0QnFjfJd8O7S8DdlC1i4779P2kqyDyEgfyVNI/wi9pPyGD+gU7xOLxgdo3nmA7mxetowJEfLr4NyWJkZemq3GSfcHxqcTu0Zd+rwBuNNEfcs0HiJNcNrOpF1ivmUxaEBsEBBJrKfk/ZCpTO27HX5tpIjbadpWXrDnRj560M+4hFAkjPbXQDg2UYsxIIJ/TuWjKAvZEsxp0y/po5Bp2nabGvyuyWF/wmSGWV7RI2L2ZxYnCxJsm5nuHqWu/urrvUYYpJFlKOwI6Dv2dQCjGEqerZsj1KhyfQCDowjYRgckoUuhkmZF2wWaHOXrKfBpTN8Z8Rc1LX2utlz+Cy9P26qWsBHQOcK1UU+DGlM6kV0Mm8f/X36Fq5VGOJoJeV57N7yh8FC/kJvYd7ktb3hYkluuIZ4VPPJRF6Sk5oFYoLP5KyoopulFiRs03KL0BrpFi6CzROHJ+rJZKA7UVpD0RfXbrSY6pRr1XilqgaystyJNI2CyRai2dCfM0Oh0NXbXbXRyUHS+yvApufoC2r/E+wI+7xVIhxb+UAcLaSkocoWPSqlWXMSk7h0vrtQrvQPguOJAxHVasKrNuxynUUlcc62EBq9V5xVohsy8FjkldPgtnqhtb3Os1L0wqhs8pMhXiBhE7ADx/2Esq4lMRhNR+e8un8QIAaR/ipGEknKraKDRLQr3WOLCJJ+8LxJLNOr5un7tilmZPbA6ZMNRbaJfyKyukaRdjcYNBCzxg2jZrCFpH9SHMXqPeTGC3ClmwfUzJ5Au4zqhm+L65whzSOT3qj5P8NOTmEMXK2yENfR71pKrNxM4jZjdiK7BgXuPVjeUKd8pcLgjtF4/WNfTPWvUtZ0LP7Ygjdd6dAjer6AkBqpMT9ARHGyL6zarT/l8gH1PebEv+RhNl5YKo4ITNawqIDxSfIit7cWncYp/TU9tYvB9VQamYVLaKHPG82k4WkKTepGfih7xmr78AHu9/DyhJ8nQH8SUC6Qzp7h5Q3HWI770vgmYSaAJd+FZxw2ObYMuuQVdxl7W94fxVT00PP+Bud/dcFZb8QfA0GI9UIL+kGbQrBVQi+Ghlk+dEOtOqgtJJ7jNTH9/UjE5B4xK9msHPKGa7dXrcjIA2mowvmJeDyJBKXyuZ/tFaamkna/gPSqHv6NVc/GA0rDMLHkiXw2RNAE3H9kIOayNgEk6S3CpYUoXbXa2RGXVjlSLZZ5aU5EgFpB+MQpcnBw75xbi+Hwl75Vxe34EZ0fGNliUdszN07j6ZR6PkYDseA4Ez0lI7XeFSgErEwnqlDsbI3uTtepv+qqcVIfXaQj5H0mdW+qDbfytrCbt78BJYExYmb7VS+5Z/HNNKESp+4/RcLP5bm+tShH2BknXTVCfC1HfxatS9i0yOkDl1asA5AM2W4wrtsR5RKPsWOSfU0NDRa29NBuPcBdzFxVUMAQ6quY0QVPVemt4qvGLmOcytXgl6dTlQC+PWuED40egmFNJVyn0Ezi5F8JOJWLFUVwzrcPwssW3g58vRhbjDCfEIf9jh4XeKJ897Fc2+2Jz/wH7l9l/tZRR2jjLKGaGSaQeBzf48Jm0Dwdo5i+PZhh2q0zlXB2vy4WyZ4m3dHVIeoJmf8IwJsYdVAOUn1/5YYSqQ3P5KSmUw9xNnideZVGttfTLGk0KDcoS85sMquUNpf7cZQV1H1q8a8+CFHArR8LnEat4GBEgrQTR6eO9+sTQLZltmmUH36XKW3SlvkdYsRQ4uEH4b8Mhan0KqfAVeVsIb9jxk2YcsRVlH4pVeWe5NBZGFw36vLu7NDVS9Amadk6J7tAyKkNOoRYYm5Gpx53CY2QjDu1A72KLAjMYw1vPZ9b+s+G3dktnTnFQQxU43TElUqybcYOqYXciBqUvlh8b7EqVhMjc9grj5dvqPCjzpf3yCmJbdtPGHtAvU+PqGxYmRhr4ATleX8AlLeEPdLdM40MsCOxNC2oe1fqNmxDk/Lw9YXMvUXBkLUokF/y2tkJD/Fz8tKeWXk5ACq3WF0BMI4qAVLIlVbquDI4ToAGLgFz0gPUb8yizJj/FOr0do1J9CD6HduFVUUW0fM629OfkEhFdhPfwA382yFxjuZ/ZAiV92lSRS6tYdYYd4DlGAlXicFuqu6OQYQnzaR78xxigi7E4/wQ4acGQ2uHpKXYYv0FO/AKraSgfwxkw+c+riRn21IbZ/a6Ky7I3iKJep00kggs7wutYwTB0xkvXzFiOyIEd/Y/OduFeNnLBnuU5zvRtbdU3qHV8mx22pdrOp/SRHJIu9Bb7MAXWvafDEV3ymqaMnYzVVYnn2Xp7k0TEUL/VXQlmqaoBrGJS4Pha6ldXqshmrrkCWAApWFOsmA7gGZnJsF9NcK6GWLCFmMApGhjXWp+fW9ljrAkPT0/NZVwfM8Omc9fdcm9H0C97n9+4jCqhbqRU1o9vjRkrG8s0TSzrHw1d9bnZBddqgYE9cJ2wyUITzQl/7Nb+yCnwx9eatDlgegZrN3537lnRTrZuLKDGjK1XZn5MpZ2nHhL2ovg82DCgYsqhpkeI5QXWa6twq+fSKt2btf3LiFuntnxeM1/pict0rr+fxGJhJdclG4W7Fyf9znwdSWIrDaqj/cXeJG0Jb+6wtyyIEtdLmRj5WQj2wX4mS4ACBw9syyHjLgmNY8jZapIYgMbdaIrlMHRHX9b4VpkTermldCtNHIeNZxd4Q1jzgvOU/aMwc0XodZj+GN+EB77Zh4NpXrzmKg5z+MJnxlFdYVPmVCXPJafnCALEx/OJi+EqQ1X9748t/ROPUW6Ln8QjpxUAuGjLDDP+YhRM/kxTqfBh1yu/BzqVmVcrMajPhAKdU11+/4BoIv96/MbwHcFw6XKA+emVSSE1p/Pu/i/IPmJQUJOg3h9VJXWrR0DhnAuG+QdefLAHd+agJC2JFjr0dW05cntX7lE67s+wZacTdcJwQMw7dYQd4gCIQEbRotT5BUC7ROfxlStftOl9IAvISMj9fifOKRoJMNZllT4GOkcHZ7Pqmq6dDm5T3LOnzujgG5JFIpOKd2n/xsBtMFmgt2SSvUEmd5Sqk6R3ycmBIHSIAxrbH1nEjcEgcH45luJ6ib/jSR0bwFgtwBCNS7bnbJbWiOgKbx00tEsuM4YxESR4DcRbfIx5VKGFUD+hbkrCtHUKEktolwF1WZveyHX8VnSFxh8S0eVXKLHh/KOvr/oo7I4GuR95rtWGwhdPc+mFIgba2YUxgU6cRAIPcvNYb5dAbcPtG0RLvOOk00OCEHa63CzBU7gcqtEG7cB5LfmNFpD5jp8p9Rj9np0u0iWq3c6ZH8eL0QrgmCFvjElYV7futls7Ne8f2ziDxEnN3f9YeCB8NKFRN/QYCj1iq5W/c09VGk+xRC4rmCDYXN1tb5X2u+JbRT60W0yTwZMn4UtGD04Ra6U8NeN5cgMUZ84kzdRypqC2nZFc1wL+4+q5R1MkivfA5AznlbKnueB+kqpYbl9Y3D2oqAKNDO2q0IO46j0zTE1aFdFvQr9+nWizeLgJIbLtimK5wMrkyVzMyf0Gkthe3EPVe4zbMoFguqIUAR4BUklnq9E+BjoUx2mEYVsguBOCgPmSpmCOIUTmK3sIUaEGWvb4cciHRBzp5DyiRo5u5yKvg230InrxT4EZZ247xmwX3kuwVdoThRjh7akv0MI7ZcEh7wFM0bHrMMeuH/TPRu+wOwKYoQS/Zwqs2vYhbWPJT1TYya3TbEOr7CpqZIPcOaoY0bVWjvtIs5qdVWmt1nNni695y4OPpIcOytQhFpjAFto8d3icE08x8B294r4WjSxfnKLHl9PHVlyKpHCmf9Ba+7RykTj0rbPFR5SJrWtyRS+MZIou++7lzuifYiRvo90nzBffZR7ojUeRj1CVXwwlnRP3lgdOspcNYkZl94y1+KNn2jyVoUXojYpZDYTi3ye/alVa6i9U17BLdsoUBHf4gH++rLOjMcQbMQ1XzGbK4DcC6fxk0Rx56fHePUp49hpP/r6Uj96tMq7ZzvN6bQtJrDRsXvU9dNNax8EyZffr2Z6nf4zaWL4ueqDfFcFq5Ih54IuCWEzxPkgTOww+VmvI/5dSiBubMT4U0pXoeiQ5+dv3uwfJiPcwyILuioiVf41WuuWQ7ZynuKGHKBAQRd2IzqLu5sgFxiDyp0HDqO+Z36XaeTzrN9gDTGvON4O6qh5rCsE5tfQjMMyzFqhqTvKeNVxugZP5asptub5WtrhN4d0ZKBZcHxR2ofPD1eKkHSGTUJ9SojT06afCr2aBno7tBrJ9WlP6wkFi6ry5bJIbpR/GqLJMPNY55f7xhxKVnAgCZe7XQETPTVX1vq4RuHtRjx9BKPbs26yxU2rvQahjgMDNRPbmtrRf6oCWramb1TVgmNSmc9h0gLq6eatw0u6V8sthZ1uXUEVS9WANlMazxCSvxTqEMCzBoOZr618xXFo4psxrEZcPrQj6e9LfCfU73WVBGMk7nPr8dwEMTBdHTNzG6EfyjnMqmaT99OvYypIrH0z300qyghEZURVBCTorlGPwzyIiVcu5QNYYRlDBYolX/9CmOzyRl5p90bfVvwjk+pxlPOKrR5JH4Rl3AiAgtdVV9M9kbUgkXHfRtii6NOO1kmr76lUA3k3aNQDWYtmBidMXAycRfuU8uOXVelojFsL1hupZTDaSPWKEsiIm/L5qQSIw7fuifqbKHErAfXKzwKW4QmV/E675jqTioWpQEJibh6rPQX+i2OJnePf1R/+5ur8zDs3Dzf6imowMl1zD7W0Y5y0x9Fma38AzGF5KOUhSYo4C0NzQQEM/uXsD20ggmLXbYttZLRWR/48qhQjXVN3yg2eE3+NWXk4aG250Oij4JVWLU9sjV/OQLTLa8lCn0MF+lQW26dFn94TrhQ71/DlJboyyPumfkj9I6MoJS1/qV97P/4c9nU9ciHFOR9o/9G0EYb+9wjZKuQ/Cn85pbImZwgGy2qLUCJVTk7PowvtkFWrvHKH0DV1CXXLdkoJBN4hZQkDEKUqWCVASU55AdB9qtUa+lBKf6+oEM/OMBXEilsUGqltKv0sxWFDwxAp3UBYfjP2sZayUSy2QQ+trzZjoiFXdmz7L+QsytLSQRiWiVeL3WLt0wnaWs9E0reo3Dl/IV0fzH0kBwixk5IKj2oot0/9VTp11WASxbQibTNGz/46cLV7HFG9JNcyuotSJHMOj0Ra0wDxPcXLPg/ztHBj38oX9ntDk8rfbu81C+yUYyN22c8hdsQnVTq9/8ul+mzl5raB4q9zAO4qH2F/td3CWf5m7rvPpHWzt8Wuk6u2NAi2TBsIH7xd2thN0a++IaQG2XADFPXCrrgQ9KTjzRz0rlDkQj/80zsuLv8XZoY7g9QInsdnj2O2kUG7i50GmYPP9LcVTlgTAQ3p3JpROS/OwcDCWMQR4j/uYBCvrRbGn0OYVKqDoCAbUne6np0hDLnQTByz99qGuxNekz6Kh16nkYSoKczF9PWAyJQohw5vnefG21VwU5RBh9Wus/d8dHQUriYuFQb2R7rQsmO/hF4wKxqd/wAdPhaxSMmh9TNlx1iNQWW/06InzQYjGow/dqgZ0LTfOx9Dp0k9ERGHs8IkEOSMSf8/7N7exRoYAjV7TF1RAJxclLX6sjWBYly56BDxFGwDWbAdjuDk5C+fmlN0+hGOWFbDWjdGCxv8V9JqfmYmzapZM4PPBrIrgAxipPycBgkKbKDZcIpX/Bqmmxnn9JZWf+sTk7FCvCQtSbUAPStWLb/oLiriFXme8AslZhgIajmd8hvIt+0BOZ28VSN12iX14mKaw/jZyOYUurnIE78+kzgUBFZbfPHbFAESBQgvzlc2uBgEx4z6DhaI3146OJEmu7rHef5mp9pBILVpS9ZUUOVttEz/vvvCVtxL/c6bSJXsvGYdr4UAwEKuRzPd555RZRV9yjFO77S8RHlkxOwbZIvDbAb/DXInN6/H/+6SETbhzNcmyLVeEJZRXp3AhaRz+wjpSNbCtekF0mF+yCANk4JFzq8PXo7Ian0ybeePhZD7PR06SPoY5/tAGrtnpsIqsddbygEvnUu7OYjgClhW7B51xlckJt7+nIbNKubqtywxzwULojt2dAag9JG01ramnZAl+6ARPbiOBYndo9uELAnh3vUoU/bi41HFYr7aG4jQrzSQMc4w1XPN0GX4ORHSwMZCCXFfuWM4RWz/Zv+h4dvH+b+i0NXnje0XdkChlFdZ/4dmFGTjBHNZ+Lg52QcSlmpFfPa8kdPMA5mqdP9aGZXCvLmA0kiclbWnc8rSbExX6rJ636zyUY/2NW12nw+SPk4p7USh2Oe0+JrNyR+48PTf8yyD730lI9EdcalCCk+cb2cZgqAOF5yJSfVYhdreo+oQQsfqVIMHGc4tfwNG0OBJQB4itP1iAwFjPVU2f3yVvfKfQunVeXf5YiTc4xle5cyfVV9nD3f5WMToKik4oseZfd+3EfWJQaRIzcfxHglHlaLVe+AE7UbAuwFLvW+xAMDkMfUrQ2+JbRWc2rZei9XMw4qyNS44pgLwC7utf/77d7wQkQt1I6zm+XdOV8rkEx/6nk/HL9tYkCt0JifzydS5kJtYBClG3gDOLN8RUnUtj9een1+s07jAErjP0ZfvDt2nJOkv+aOaj6xFu0jp/Ojeu99fsmu87owcc3WF1yfpWeWXePvnnhYl3WFcV74IWKIkL/dJL3vl9HNCDbjAeBs+THSO3ZyIeP0xdnheCCkMVJEiNg2BjWyba0QUqJNxIG5zYNpIDDj8mYUt0tBMj1bj0s3ks/FNzv6K45YVj4yizbZEnvbqP/Tm6ydOuUS1cHwE8OC0prCOfl2wZBsEXzxOagt318DcLbbxnYghBmWaf2ravKBJw98PQjAEJxD41ULYTSHUDae72yxSxP8/zgQEDBR3C/gCipVys3bIU5J/NgPSY3n5OOVkXyPvzW+/M73vsiV2pBFk+268MCQ0U2NR3Gw498qQ0qXeeEzlqu9v6gcfjrBBrT4v7KYa5u7Uf6XXgJRYN6BcJ89+mwBHtCfp+gpWbboxgEsOm+hYPXUZPmA5FPqKNa0Enl8fuvmyGzhXZjgs9Yb//ruwa5kOnwBbbQXJBSA3QJXRw5Bpy7FjEIOvY9NI/ToT9itkmsGTKfNEuA0oa8wPNkzIpexv/GiOhbEoiyd0xOT13JykSRBsqZNaas03R+5VQM5a1DlbCmrJ+VHRGF2R9QiSEol2S0QHGrwGAYS8y+KBHRZJsPr2gysptnL+WTD2VZ8xG5NNBm4YYM9MF7NtaLQOZg8X3j2cS2XmOP8FIRedtno7T24igSa31Dc7UsZGbgOvHBO4xpZ8uQsNEdq9LMbeY/AAYlmSkAegzWZ+EEZBUZzMyVkz+g7qXe4XAOg6v9LLVFJza2/vlK1s3taYzUAgb9MyEx/xvSMk/zIQH0m1siSw/prVN/USRp/QuShMBDmu9X0vVMIsH0M2xaM41PP2tRX79Pc058wMcTw9OhqDISrh405A9ZsbNk1rlenVaQncf4kRMVchgFdOJs93dZfpYEl5A1AT3SgjnkytIp8pD57iKQTpisRUp948u830nWW3Uxkjbv1DZlXhxngWxsPwhHLDPWFjTXjKL/XKTqHLtc/POa/H3Utn7FM7MjjaWX5k/WyWCPnudCWmWB39CKDZAsxQPngfSAP9GXCHF39q2v4Vo7qLPeFKKixZaSvSWH5uYbTg5igqTn+lWwrwCENo4fIYDY/5r02v9a+/c/7jEaE7U6HU8bDqb2YMlNaGhwC4opupaoRDvuHhdR45eZmLf7aUO48oOckeqCT/K0/TlD7RE9ajEXX4Cf5Fnc9WSVLTZHnpoisVyDiiZRxNBvkC+CXon5yhse+OjVqHdJn6o2l2lDrB1E23zK3JdAkVZ8B4uXTgKEIpDlWXRYp2LZOpZfQLu2VDrX2vGEk84+oB+wMq+YUiS769kjtgq6csg3RMQ40/MPZkoXlIABUFWAV1QlLaUC9S7YvxN9Sw8ZAVuD3jKZl5/Xbi18P98QKiE6kRpWWhYdDdHV+emuGoNIS5lYcB41BOhRg0t7yqgklrs+9alNUxyNJujlrsFgod9s9YZqVuXvC/aIej+0llolqry5IoDjXyamkysb1RTvxpHxHJLQZi9G+rEQe8JozbZJfTwkx4nTt8gIyABh8o60pVh4Fw/lMrBt5GgFbSjq6cJ2UouLo10g7RkTe8lYMlBx5yNIvarMYtqUnj8HO2ty0cyLcBpSD27sFEwJ1XASXLy0GgdxNAsJo/8sX+TNwulWnrC4C3PiqrUMsR9TclSaPJSX+msSnxa+C7iwxNB0Z1/3AaLycYHvCy3YudlVaCnba38KMOhQmM7w4JS1mc0w7l/g1+TNwvWuoIqbChoXprJBFFLnMHGCqMIUX9GWC9a5ZXo8mC3iXxqzbpJEAUrZ6A/y/djTu98Zt1NAvOJbPEgX1/8McHjkXyuTQPkBGdrqi5cceFnsBZ/noxse5NHwQ+Wt5XvrDdcBZC1gTEL7uDGZCFIWl1ZBRoV9jQhdbQo6QdiuLupjhAsDsE9sEXwjM3m4VyxyS80uK/0KcKM550RiT7/UBg943B7vBXTL8YqfNDbYMHBJXFTqIAlQMreyITTp5hojggDVBXQPqEppy/z/HoeHuXu0NIALgjDaOpfmo7hjsDQm6cEtHmkyXC4tF+6VLmf8jdJYikKHYRbtYpH1tgbX43H8cwtNlhNyhL0AMavtBV8UPO7R8AXZdomyT9yUt5XA7vsYJLumOFqizfavqVD67BsoxXC/r/xwzblLWTtowmnFEiRpAB2vZ9ULTaygi6NP898DiCk79bUeCnShV2xvbsuba2wjMPncpd4cXSdk/wt4qCTaIB+BU7zmmlPChsGElSBRncr9GhW4bPmqD6VFEHbUnj8Gfqjdjdz1b+WOCkE/b0a7rv700YMxvyjS4Gn3DPGmp9MO+j4JiDdxlEyWLO5ZmfWrel9SDFZgs26KsUXSDJTtKYg75hNuTDTYefy8xJlPr+jYUMGuu1w1AjOJKLIendC2fngId3OjDBCTTdf3ZKu94ZPbolqBanRCaef1dui1Yn7eWn1AFJkAUbaa7D/04rNW5y1YC3uH9EoSBFHmP6nOC1ExjVIS8PviKmA2mp+LJYLJryNdgdpYuYLf0HJtLW/JSgGGftdcsJ1WEs60QtMNtaqS6GgMFHvL54EUp5tw4i85Lf2CABVodpkdFjgbcDzKj2ZQjehUnpGFqwzDCr7x04mTGPQsHSnpFCUwGteHSqgXcVswoW1oYsnQYs0RYNNcap2vxK+sUxUY6cjGtRbL72GOBcmHqdFyqJ48yv8sNloOQ0bpglO60ZCD35TFs4iBafDXL1g4vcMcg5fLe+Ah0MBU7+obcnWgw9pi/dS4K+f5r6tPCKXu3BwXoYRssN3zHskXcDFFc6tSR404vAQxDzY/9NsNSe/LshsS3moe0kqLN+kcwYsKs8LWR/KMVhsw+MBuR1I3lxMwDueVRb23i+GPdd3JegRg3jT5JvINN6i/UGefNF4Orz9BTYKTba8S8LqDjqmsntFgqJiPEAav3EzmEw1dihrTgfk5RT+Iz20IYvUtQzhw0bN/PhoPFnQ7H7NfuTcfORuaCi+UBcBOpixYDvGZtK8ibFO7M+Zatf0VuAgEP8svp0h9Ya6HO9nIMQrqAXTZgcXMUVTHcz8Ar9LwnsvjFqSExi1GYZKo5ChlIWjk0UuKi590aCF/3OviP4ODsGRCf6qcEmcJCWLicpWmIgcKp5mdryTEjseWE3S1h7hS300JjY+w57vJC1pIQhI1oaTkUqG39mxF1FYgvTryERU2QL8byBQt2ffPIRlZiCkZ13+W87btQPNu1NvVvrbZQeMi8V3dICMbuUQIAzjB98Au+iMc+hjB2b+j9XHNu8fvqtiuROC15gMd5vCppYOeBspW0tvul3C0smLtwyAuYr0+WSsntiVghICAW0sorjgZYeQnuQ5Jo17HGLRmpJZZwB9o8dADfkFqGuNqp2mJ5w0Dp8TxwAX3EHqobDL7dyFkiEl/Gmv5xAdSEpRjK+oQpMUhVc/NcLOoSkqnWmzsGoE31WyDg1GDT2zmlex82um8BxQP2g1tIKm/wyWmDJZqJuFxletla4FqNBRj0Oup+wUHPMtNcH9RLgWglkW5rLBba06lnbX4d96KEPKjeHLXcV36b/DGXPZtnJvzCQ5GRuwGz9USGPIspqH8exZmvKTPW3E9EEzB9M1fWhRupBlCD9hxQPJ6zJMPpq5qo7CTIEkd0QTaEPmNaWDgmHO1TRVjttcUxW4rnEudl92czzN6zgXDLitsEUcJ2vxTxZCRmjiOhMt0a2C7tXgMygqHifhDuZIv1WQRoEJgMN5GvcmUNW4Fbsf7k56gOHxp4SRRmdVJYuq0LvQYcOBy+lGlq37NJCjOjvNMJz6+W6VX49FZxMLfyF9O4fYCxixHFBmlCgMHiGU11wdW0+g+WngKvFX/efGdIJg34Ptu9dBs922B+kHEFDiLEV9S0ZgZXn00OWG1LDnZNbvavNXNWjqEYj4P2Qf19Fss+284s8zDh4Wa5D1mYnK3pEETa62hHSv0iSktUMlpVHPfa8P6/f1B2h65GRaeVthwnK3GNXHzRItLEVyqqAriVONLVwGfPJwJa7PXmamz8jAfKZZ438jBhDcSqdFglqBvd3wgsana2twjPmZk0GHDtc+QNQIeKtqzOt7Du1vHO5KGl7OFLH3uP+jx0ulnfGtullgRP9YQ6ZZmU3UG39G8vrPhSNgIFRlJGz8/THBoLPFMoTR1I1c0x5b8jq3mRH6HWXX7KZhwStdT6Fq/H5C2ExWZnWV6OR64Q1gonVzE/kcQOlD672efIZdab3gcksx6VWcGAouMc8U9NdM9Nbjo5NCngginShi7JeP/pYhLqVGDTe+mmUNcnVpUB2qFkodulR0hw7Np088xc38ZVztd4vROazz8QSTHBhE0AB/BFEwQdEQlJRdBQ10BaM8fFSFBOnsjPVFhwV5wq66sBzxqxR3L7z3rfNAKA7HK0DPR2lRDsIzcepOAxmijJlzJtONrGeOBcMgGBlse2TQ91S6KBkvhw8wy2jPb2ECwzBoeWgXdRqRCgwSUEWaRb5z1tDdSqa6eoLhQ/h0Nj/VgNm3unWGNHpYedOTg9nSTxbW9egHha6KfHPtooMBPwpxj8xl8Z52JUB6l8ZWlchV8MHVjqKq7FdkEbh27osOv/e5mmrrKTE+LlXTU5fxvIM7MG5GYMOdMna6+vtgRjGM/Mk3taquPYW8Zgtuhufba52BJdci1ZhmKYv0SxjwTmj7phqcjJ57FEkCQF5CBKGl6HHhnUL/1hyDfEoubmg76t2SyVIyVN/ZxxNcgcijzc6GXQ5bR6GrpaDB33SPo6l4xhXM2QBpjkdYEmZg/rDiHVsrsX7m8Bn7JbbEy+I3MIpF5CxHJsEW3v5cvtPFP/TDWyRccyNJOQuJSqhK6RTCk6dE25huASirl1hr+eKVJCVHnpv6Bt8zvNor0Qjfxjz2kVj0uF37s2OAdAJHUXT2GfCEP4MpIwgze/FHzVf6QTvOOx8ZUK0tg7JmbBA6p+of0bnXRfdITfOVMT1RfWT8Rjr5hQkTc5lmyHtTNJAwL/yhz+AFKd17gzLtLt98ZACsh0IvJ7CYT58yG1vG9GrF611522g7Kynmb5DAdm76Dr4ztp6zoIp90uc7mlz9tK2xoFRMK2rg2E32z/bjabmAmC0jeCgfdBJRQMb+4zEcH1Y2+3vyh9Vu7rGXH9Az+qRshBhVEXAgB4VkKg2T8eCFLBEY2T3b1hjHx7U6/rS3bfvMFp+LMosOmDwpQ49dI76KqdzON+5+OO9P+vBHgXxW+r5huDnJ+vGtejbOF6kpea56uDTjURAq8Cfcg04KcjmyPntLECgQeQuru8F2Tzr++sjktSSZAvtDlgwfFkDUVPWDyiXeGKstNX+u+695EiEVeLUolLbNNsope2ag8RVIdT/DSsP60zTuXSq1iDxs+xZtWqR0i0/DaU8/rxOHLTQR1+h9ziwMs1ugfSLJyEk4xDxVQxha6P7CHgMsvEnqi0ruHpFPq9GzheGP6GdEBPeSYHjbMucJUpLMgLF/Q6bZNkroUujK7OW5yllImC/rdnghfN59W8Y1JNhE/zMrlwG7cg8goPnGHvU9ZVt/bmGyWT5ZTzVh9bY7jha5HnRxO2dhCEqyp9wj8GHPfjAvK1988777qf8sxXH06CMeJLyP2dHTZaPVPQwKuY1Q2MCUHM07CYqYWSHAYgWvE1VYd6VS4EDeO7DT6uGj3xtkaYRg50EUQ9xIerCNAPXBlwRNVDyRj6FVVjpcnywIoGht38UzzpKqGow0kovfg9BqoUcscGxYyyEL05+5G/iLLyfxU6x/J1Z20YvS8c3UzDUd48Gks/McLQjEO7MYLVVawU3Nw3YM7qg/TnaWXSsmT6mc0aHuJVJQXSAXo2KO6ZJi139Y44sEnDy4Lr+crCTfC5n3UnUgo2/3np7aCCxGzamT6k03B5qacMbF1+lt+viXuC4qMeeNT3E2T3w2maNKikLvNRwvwG4qA5+CFqnwK0h5Fo0Y7z/CloHWIZAYA9Io+qQ1gaY6ktd1EkBw/pWMp1u7xlEu7bq9GukdE1b+9ks2NRRVQYyjA1wDkGo9nwcxtITDNFRGlMupCG9wJ0aaGu0RebdnV9TXehMZUIS+L/IVM7alL/28Fkwve4Xlgo6JM4SBLzzqMzefLwB2RsQZ1huERqLCcTvokneLEn2xo/EXKrMGDmE5QHAOS44iyR8usru6N3NkIYmiynOHsNAoFNaXSL15Ow2vZ/TdFAZ2lsgAZW2Wq8hEGYiHFPWRN6bEw6yppqHkoY9Nb88VlDIQX/KXSk4xfiiUAC4ek6TzW+3a8nrVMGXE7shjdClmlgwjbVFtFkhNHK1ijuCpFry05BPsn0UFsS0U6wpy4tSn2dlzLzKy0nfuNHAKVLMhhTtD+RgyDPS5TMnZkr3OymZEGairrgejJLRpcj8EJYuJ7Ee45YVQEhTEip0c+LT5vxQcJmz2p/NnhR/yY/UaEbt6R96b4jjhPdwqq6yvGMTnZgnYpmo0YVcqQgWPYuposy+CfAr/k6gw54Xt1MFsD8oSyDwbSlEDm26wh8gK9ffXEQt+KEpKSt9P9+ZCcFwTvn+barDU4TikfzTvOFoQpT7yU1v1hzxNmb8mBv4tiqhQBNkx9gyy48+97aeXJtnec7dJOrOBsy3KCUX7VVRFifHtqbSS3LfonftayUsv8NObrub/ePxAGIzhfuN07izZlnk1yxQnGbLSwipjki9+yXZBcUSsdtjoKTNTQQjJg0iJLtzPoxmQS7y65OPNqH44AVFErIoP7ZA5//ODuJXqBhgadBhwAfDe2zKNCOkP5MUqyeJPLsCRRYVbxd13EiYblLYts+b1lz7ZTws33cbbUEnk/kyhDIyKf2DCQAKlz/BsMPUiL0MJV8i2EsQAEvqZr6pwl8zSI7mNo3xj1UDSDwxQEkZtO45D30B5OKuiBH7LcddV/sbCA9Pt/VG+zqEzxJUtLLSWK6MlJ22GVzL85+JfMn1xMyK27uH1HShpriD4ceEVXirWO4F3BpAjC+9Vg/3sRwGnNn1W3mhIyl3ZH97lKTV2g2HO9f225U8Ot6qsPd8N9INIxQ3zjXw0oJHyzXc4sl83AH8g0fGRpVugt83xceV8qqCm0XEHx8qWiM1fAXX4mGYbYhj35FYh0mzRWHrYN9RxjS1eK04di3kPltuq5uPZZNmgfUsUt/wQVEiPIOc6HcBXcGvZv1vAHzBNB+ERWx/xDyNhDwCtqeKD0D2MvWbLsiC/cwkO4VaDZqzNBM15x6Mp9hb+s7pm4rh2ufgMQrXQbsJXWq9QypvT4KItAUDdkKVTFQMJhDrLzsQVXIUJolbsEjCP7laQy8mWJ6LD5/J5eKWzYUxeE9vxstEpXhUnJePoyAbb8d5vB0fKy3GwxR3T1Bt68KuNEdGNq0XkHK7WDrYv8Dyv4F5+DoYdokBKQg44gQep0KbuH9SgX0ydNBcOvaJo5cpMIeVWQ1birSsoFTMA6szHa7vhmblQum5zCmJKTzIppUhnQyzs7rsTRZiOlUqVJa73Fts+MogzvmcOT29bOxZwAUENwmbaK1VBv23pHV2/ktLVqACp0UFSP+EAXhiS+qGxUqRJ5Vw+yThu4m5Cra1VYRONtIFokgg0dF/TUCgWf1J3rY6MbHjPSSZTeNlCjCmQwYUwH5XPzjJqCR8XXvWGIalRPHNx73fjsE6779yzDBBdboj9wbgAgKLSCvu0VJrL9s7lwkEVOS8KQqJCPWyq/elfeqqCfAncPfsd4uPhYXub4yERwJaflAc4KAUm5WdaOp1FJIAFt+ziZIG0SiiwPaxP9ymzlrUfWFJCF1hAGNn923rR6h3NG9sK1uy+0qKAK1uVnNjV01H7JeJdD+yQp2GZvaa6SgdGf5aeDLtRrZ9v0SIueRzVpkhhTKVMoki+z6CAd/W8Z/I0qxHDgB0/X9hp6Kr1d9iiufleeBwKQ7S7o8ynelJeNoDbPPtFxLRXU/EPeSKngGqUuwcjMpAraW5V0RrdKOqBcwUGgG7JmdVcpOckV0+fCNiCCfQmDQXzS+vqE07qJlyNviOvBejZnF5x6/xlFxb1ksBr2GSWih7sR+fEmYxLydO6JiuxnCae2p4GJin6j5n6zyKCnh991ESgvdc78E/dYSxMzB++HUyx6LqB7b/AdLnFQyZSZ+rHOnyt4/rwVrTssXLbkxiDx6ny2W6gS3xUinSHzMbA3cvc/Qqwgn95VxsFRjBVc5WNAAeuK7+qd0B1P01dcyMIeZpTAUCbVaXhbRF97HIbuq6z4VyeLNWcQb/1BYbv2qtS2qr+0EWgI6XEzEO/+2LHprPU1g/hFERcgDrxZSI4ZNdyUvOHF8R6D92GePNnhRsdY7XHCmVnIngzgdDo9EnD6oZmTe0Zvnk1V/EFZ8elt0xt4ZQfDInRN9/LcBSG9zrkg/n7V+Oh75di6x5Njeijn+dBQ0zVhXGSeXmYVuM9/vNYzIoKvjiJ8hGrT5IE6hfYwu6akXQou15kqwJrzl4MNx/CzBjbI5qITOIBcN+O4eaQoqUrFFipPLZAiG/WXC8zP7jhfUJx8XE6b4pVRXen6qRjTAOFSb9ne2DHjwzhvAwQSUvqkC9fU49pTogXFGoTryqLwOesHf1Ag3czpUvrOWDdnxVU9Mi6ge843HIq0k5OY81KNVWgiCQc51YWmItV2ojv3zTEDY6cP7v0JhCKFKSqyC05Vr0ybrq5fdd3JDrYHeekjZz9AEvq22Y8Zts6hjRwH1hPmi+WccbTRP+MMG/Gp/vo5NwLObNkXMAVsP3v5QrUx2WHorXgIea3yPqkcqfw+XKlLaRmxdIGGSiG/vUbgiKmVpJnOhKyoUvnuYPRhB6AlgJlhdV+POhRFdwe764F9Uq9e3RLsuXq8i7Vn0y9LLrCO36orvxxQq8/9YudcF7UsK9YTE/iH7EVbLQlkq+WLuvKoiRLJXvP382G37lavYO/Pc53nNqtH0UP7f/jc4ps/hz4e3PYnxFOf7LN0WGrXHpb0Z5obP1M1E38KuspB4gIrZX8zwpf/0TMYuxy6Kyk9zjKKl6w6ISH8eJotHuQXeFOdazrW2faHNI0MpKRZtfCWKR+mrc3hTvz4ENlmVjuoXYAuNR+ETr60Nc9w7JNrS6WOLaim30QUHt3F3j9xQ/P06yNtOKSSVR12mwMWuCKm8dw7TEuyo/upxTKDVIFCK3qR5KgSGmGNDiYWLLiouPjxcliWodiQ+jJ9FqmKeQ5/Cw6bYzqm0T1akCRyCk+pz5PZFzCXfiNGVj2cRnV6thpXPXRyECpfowR1g9Avb62PP264vlq6/KDn+dn8ipuDP/PF6NrPfsp9kw2AQkuoLp7s9de244qkwdjK5MMUjr1wQo91xmquKZ3tgNXI6ARSPr/sjvZ2MhIUMhkHgC6+nYKjVFi0E9+mdQ6n0JHyvF4KAzbg3nti+Qn3uRgqwo5p21HO8Sg/+vuVZ4rnyk1DERHgRQDaK4J+Bm4sbc5Tq1npXYrwNEVUp18/NKF0lhgxDGeIV+JfpGaCp4UEAQUBpfwqRhGxahyFzUcPCpZJP3hx3O3chOyvTR+5okmY8G9AVd+PZnPxZBL99E2n/Cs95RF5bYaS7d1ZxDb0d0wxxFcn9bKDueyw8WntznD/LNagf/ImiFznmy5cJh7dC7PaiWQmhbaGNqVTGD+FELd4RtCcPLitdOv1byHTtWFEvKREp/tVTM3E8UOfBYNwzypXgN+5S4LDYQfMelqfttpnu1L46h64upmGyhSyTfOYLMYB3XAFXxwjvuPaFzZS7e1J87Q1QIh1Ti9OKy4huCYtrXfGpg9YqtdRz4tW/SmN4cqtdvPUVIzM2KwUnA0WgKmwD7/2LQvjXo+YsOG+730HxMMyI2PNgV+Y/8JVglVHS2yjVvjbHl+dEaNsBaSMjPAE1PHKqtkQB4e0zrO8OSF0EG2YsKfTRbOcUK7y8hhqY1htbv9ARTA3z/heIOPDp+5qOHLIUUA7myPg/5d72MLYOcgTgazxGcJ8tUzq2lOwO0PDJALZQS51Fsicffe771rknUgENxbLnbHhdwA68TUa4P4Ko6czHBWp96Q4k2P2CTfheC3IKhCpIif51g4BTSaTc8sfkNsVoMVqu3Ub2WCNrHFqqZ2PLhyFvVBI/Qu9WDUbZg6VLvIqTV4Gqf5HqJCGTmECFMTQACdCmG0AyYqs+kv4By61N2h6bzN0bzCPq0O0tfijEIzB9qRaNjWYhaXTZ2eNm1g3Qzomuj6pBEuylYWg50+WbVwZCELD3n9ZLotN5N0/VGFOAeomYxJOeVJOrFrZ8mI+juMLYBAXls9gvFl81UCmWPHW4nzMS0tcA7cgsYekPWGp6BL2kuAsEZBkIYjQQSm84gcsDDwHraBfBECTvKpMu+YkPaUOasaI6eO8F5uaFAViEmzlKfQEUZFYVxWLMTHU3/vcHsPpzK4at6RpJ+OhDn4yUX806lc1VsFls+mJlJOcnwd238W0gcxO8YgTlXr3o4Xk8zKB/5Ts6aVviNOB4DBvZ3ED4SOOWp3hpAAWpHMHYYjKNgxp6S3xqecMHAhSlfdLS1FQvmaBNAn5xRxV7ATFsOoFA0dwdZRKangEZycugh69XlxxKuBLuvplv5JPi0u3RU1CHsL19IOHlNUdJEokfDMx7ejXyg2Ki2CFj58i9GSXmRi6CG5bsPjmc43R/l0hNFkox4vuwY/yUx0ILw7Wj+pSWPq/RcEpS6p3QH7WXXc8T0/R/RgP/aeDTjpby4UH4MyT/OswL4+u9S+Q5/HBc7mZ1hMfPMtlbEIkW+twYAq0kMb5FrI6pDozf8H3Mc2zT4S3L6EVXI/M0aSVeSQyS+Ozo9HZrWrUfUO9wG+KfI/BEFRMer26ihSRHAszLOc7qOg7B0CoigVTlC0/N4+kMw5R5Nu1A1n1ANrK6L6buIcoROukifW+JKWrVfn/EYnlGf6eHPEq2SqkXkoBCmf5NRg9f5Gg+Q46lPXgVdrTxnQFn72sF78hOarjwl+qtcmD3Ew5sbERnjmQhYA/WKW8kAy56Rz5UMqMYw1KJyrerH/BrZa95+9VvhaTPzWPAWV2+RC/I3X5yByNFIExFAXrN0TGo13HapjGrqdKtvHk7vvCfkWoUYiSm/fR9znmSxwYFrFbsSfoQZMko8dRA3RwFJk8urod5AMJc22WpYnJsUnM6QvmIE4vUNITcgCm9LyYDOoHpR6NF4VXkmtRWFC2OWLRItW2AuWBMNeEtlYmMqk3WPzyApfYzE3SQnuSI9tyyGkRrwLEjz50LljnpUBTab7VmFbjP48ltPpOOxB2IUKP410jLdu1fIu5mxJaia++4cEVjjWExwjUHCqVRRhBcGAxDlvXX9UGoG3P0AvlSNqtyfpP4vjArq5xjwYpAG/lKfZp8F93MdbVWOWBosp2sLMdRBDvE+VAleb7tVHVN4XEAaYhD/ziIIYpJJjbXV57RQWxyyQ1f5SupyWciAvAWmyOzcqoEu/iBFTD3Jpk4HTi4MQwYIjJYZZ40eSwkfdB9O8Sm81p13vLwi4PwvNBj4rs4Lwdgssx0NEY6XdrS6jlVHuRYI06XluyHX50aeRHM9I260KMDkJwNm+ZoGVG7b2tsSRNWC4l/b8mR3r9AyabIAYPXxeD77icVlqnhGRAvp/5+95x7/Pbg1vvcaSqnoZl5S0yJGmvKSu/OPornS9kMq/Je+p/VZSTZwHVqpox71HS0okftNRIz9si0MFiugkNbtWFClSPIRE3EGsM71PEZftq/ngIb/IoogJ339wlP+gx9VzKJTvlMGmFsLoFcxxXkjsGQV96obVC4CNv8fZHO++gtbNizDylC2As+703Nf3RYO3C108Zd1ZnyOiPtGfwWOcuRscaCA1W/C1soXdSH+nk2sq3OI+TpqZDVICHRuzq5v0x9JWfR6qGYAUhbV7fo/sWcsHKBRFSdeyUik6aORt+sH9TwOkAvIrAA79kHiv/INVf4dMUXv9wDHZn57D4uG9zwArcnYw978vyICV8wDdQs+Bl+ucqYSAtzBhdhduvXHT2CBwkxB56VNTRpRekhYUUOeKLayuNhkU01CJxQmxteNkAqwl3SssfjBz5sStDBd4FXRHevZIEs+xGa5VB/v+zmJ+GnSLee6ewAAO/bKIFCCpIpg2yVL3dFhYr4wxvUATSUtoDbKSPoHWaz58PPPAAi2zoOi+Uum0Z/CKelDBaLmQDx9/00GcoXZ354AbraQ71Zc8GFq4YSixdC3K2VpP/XXdtUbnqj3/iI/r1m6cvKrp8vF3PbFewDdxlBAeF9Bz/xp55cQ4Bi/E7X6zu/0V8kVR/boVkrNvWE9oDxWisAHf4FKq3Dxdl5oS5f96WNRGxtWYpOd4QHVlpIrClj03zcE18e9T7BdCojci7QFx2iLtJu6Qe7fpOeUL4q7hzMW47vOYMxtYlj2/l+ww/pykRJZaOBpVEvjZpZ+MfO41uLz3WcQsDj8rpYKxL0LIfgD90djUl6HbH2MRje8HyBlO1iPg8q6jjZ2TCu1yGQLC7X5pR/3bwr9LGAwJYZUhFzU77z8H8PdyNFTEpcFXbLZjRY3ZmypJcvgVOrVPEMhkkqpz6eroTUny9gkqgYkbMwdpd1uEMU1hv67arf25vmkKsVT5B58vkGfB87zJcvvG90bwbaDetsGiEG+DYW3qW5XrjaEQCfqqhwIVgLEpaZfDO2MPWaAAWfPgZrpTQy+T33XlRuI4X1hOtALFRnsYCeEFXHSz0VvuymTXMDQ2F6riU3rlBM6sRBdLprVog+skTOWvdmE/AHHARzrGqIccknRuLZRCAPrntxx7NgX2NKmR5BAVXJzaojorjP0DiNUGGqobt34bpo+Eo+/9rzLqV+HFOL1mAx/qRDgzsMYsTL7i9uORthtnQz40j1jSeQWi8jCTsZbIKe05/t/LZlU/PEhK3W/HWDWLpIGCRUYclvC2ekzCeEWgtvXwcvy/mutfzD5k3y1x7dd0H7SQyv1Kz6iLJ655vFm2mU1L302Yh17DAVQI3llA12SEbi408dvYdjMTJv4q7dbEMUDdMscPM1iFTTQBVwjRtoFDh+kNi4tFVtCgRqwt4izuvKvII1oEGkQLpOxRPIgohD82SaHE8UWx1bwxFTRJcYBx9ksyXQRMXFZLQRVU8jfrtJRbDJRYyTj4/KOAXLQzd+V/C9KjCGh7FBfblCdJVb5e2iFSSPs2fb/v6PyrAGNp+ezyFZDoByg+aS3G5Ap+Pmk/rjW/X2J5nZtuLNN3rE2X69O2+Hczch7pzcIcqKSHGU0kPnPsBIJ9rEbxCcT1RiS8Jigkq2OLkSo0AUHxtfxIct0Wk2vprFJph6SWbxvYeLF/F+ypweAqP+MHFDHLpAridwmdJVRxs1E0M7X++WhMgWf5MQSd3wPuzsqsw2IdQuOM76LESLsxn+5KVMabMVpvXr7cnzz3MwBfjjNtdiFpbiBXU8QhfJ4t2Kn2jQ/WAqhsP32P1soW1Qt63qOas27mDbfvsO0YFIr22EZpajnoyYOZE1ZtwC6+HLoeqkI+SQZd/Ts1ufmFvsomQQKDnLuUA3X7f1mu+RNgshfUGksK16kyUgF4bp4Px2Adu5mv01WMTYC2zTdUStAOO7EyKtZSxYjljXjwd0gaKZuabMaKM7gVYEqZgaIh5SD3mtmBzXrCQSDMvDTDoH61et6bYbiwUmqMZQ9WdoizHHE09+sKOPP/60hoXwyqVVD3Khjqs4TD3pMQpygbxD6v7YjTfh7NKtj3A84qbTVtNwynIlnJph7+Z4NbHakbnjO1mS5+odsPDCCwwuAJPrl01dG9NVUngbFWO0Ga5E6Cw+uhmv2d8E7sq4xBfZEPaKiT3ZNBJ1q2S3RFIPn9sPgk5/DbFcboQrzIz+0YjhV48a92yCQuaZ+IbyGnnczGR4E4JHEdznkIzLST2iCMfzWSWvijO4iugI+p9zWZMpDlrQgSx6lpmchjpKYH2Sj9p3pq2m/5NBJVpMit/m/gldUxwhfIERycpWxFSJOKZDoh7915CZKGJf5eeLo8YNd6J3GFNu2GBquFxolcdyJ9ItHCUoX1ZDMPEqFwVhv6m/glx6n6bBi8vLVMvJjVSfADmbO1YyxnZJbR8TcNTe8X1mt+RtiisOpvhd26lyzINabD9I6qFbhDu+5jUKnVN3oA950PfY2LJ/T7ZbTo+PqcFAni2+O14KjvsTK4bBjLb/G3rVAwz+oA2FmcuvBi654FJZhqBSv9cWc6uc43pdqYhs/JxIcqyavp2bY2R46YUvMuJqltiM4+uwjtmZhlBdK4/SLY6frCPa7ysO+ZmTWCXAm81nFBcFjgS4XwvPF99PiWWe9PwzYXCOvrrkM6WlSik7SJJAZmcfVidAYfVWZOlFpLIANdJQepIkqKkXJ7ip458dDB0EWdnf5k/RVLT1p3p0Ojlf0UeO1q9rF/iKSiXfOsDSoW6dPrOq+Tx5d42s6oGuideKYSU2oM9/HqshGmzM4GXpUqMUwtamrnFdsrejEVvSr0J1DEZ+uMLaiW6AxGDnuRh9AAI3tUBJJm07ed1fLoV/ORATxzJtyVHGvqV03pboxDfl1KU0MHiyh3c9i+2SIoApDXDqhgGOBHSLuDnF/NxE0w7HMsfqYfoHACvUrMM0l+wHSmzwILYWUT4vESytgyhZmatUkXNIvKwY03xsDEYMq/DPfYOh+7XPrw++Oc5XyQPleskEaQp0Konfiuw25gVgfobXY4r6RPlMSUS8Qm9JbKweRFK+7gKiLD+friyssCMNE0+S9FgYDewg7zTk5jRsKMwwpQvqapiCruJpMZl3Vdic456Ye6VD8xW+K5GHMVzuBHBFv2YYQU0bB8k1jK8Nu+iBWaZR78VKaMno9OC2uVRBnkHhlB9M+HyqH7SgxuzmNik+bU9smhbokYd7q+zmgynRNqteFsmY2+eW+TZ2YZ4faoOIW//DdA/jdOcjW94p2NW9wsjncoYY/U36p8DVa0uCJO8/wfYppKVJ+cStflrvubkUjLfMKZGkD55uw758UmEwRKuz+t30vt3siMs5C+tJsk8qvcxWTkDipy/KeWH36UKBvB/bptgzdP6Va/j4CnYyO6OZ6zu4e/fS3ns1UyyXWYHsvTzkiLESWymA56CI/SqFqomPSFbX7Vll/4gb3PKs889ovJaQV2KswU4TpMbJD+YQPIkehoTIHlv/LYYhCN0C9LtKIuTLrIoEu16b4Tvr/Rf0CokYGgDlY9WEAqF8g5k7iP7ZsM+7yVfVEfyM2CMpCNdEyD7n4jCbIY9Nle7ss0kub41O/s1OdTDYggOPiZoueLVCYP2OYtIW4/XyOg/U/3FawtKqEDRWoJP/Oxk2pfMHwHSyP/B8SPUqe+Qz8jO666tRMPijjJOeWTSR8UZuxJxBLbSnwjZANN0b5a3z2wGBe5BLghlDKorPbPYpKvfe0DGF75AyP8DGj36w7xunlhSmmkVx6LFBxsx4tQw354+Nl5N5lUI5dNXy34YwP6/89ZSUvipilkpRm3zPFD6BOtyvpQLMB87QARzUsdR2dzCnFV/usQu9aGKYLL8FexhhHsaGmPyvnqCmR5VNsnhxGBtOJiwWTXvQyAWXJKGb7Omy/uNwQyYlDY9QcV935hbwTT3Rn2+M62sTE+OJjkpBHEEOHMuOiN44BfS4qWcOehUGHvvFXeJBxgdbSP3vA8Y8f9UJqi4iTjK2l2tYSnC3ykXGISB7/LhQZcHo0PyhZ/eGpwDbDuF5/uvscEaiy7EwL9SEbk0DMYwb6B6W4M8SBuNbWucCxnTi/P/Dgq47V1hZKpTFNZokbLOBXsKNj5hhuWGeHz1vLWaH8jUcN0TUE8rLv0KMnbEBIW+GFXAnYnbXUB7mcglw40fxD3CIuLYiuqPl0+or2Z5OZsiA22oSdBpKhKmwQ06g1+Jal5eevbxBKFIGt3taCJGeILmX1i9eeZBbUizHOuKx6K2KyLUnXwhyJfZuVJnfMJMatR+vU7JRhLu9Dqlt2iw1Ci39zDPn9qkKgg2Va65CIKOLgCI50Vbcl49ynpWbWg3EPCKHKdqCFr51TQ78vL3ycsjD/AwLBgahitWhs5ZPxSB50fWX0P7PdfP1hT3WPPcMdnFoHOi+ffROhkiScRu79U5mNdotZixP9HuruxQEmbhSt0RikbsMNyYfo1BpQ1nVhq0gHo42ErAhzik+jObKZQMMdd24Q62E5cxlqJ/vuWMVpbSw4evHlAF7B1fKABqAwcmJzi4oUzIxmy08kLQJMNX6Hu8CpwJ48vwyF0lzRsZT7TRVJwiS8sbON3yNIe3cFmqi84oPLnxGdeHfk8yEVTwmJsfTgQsHAVf70vg/MO0RSR0jHSo0y4mBldGvm/51wQxaU5GQGhN9i1rEuDwKoA+5pQLOQVU3i0gG7ASL8LPY695ZKZWD2KOsefEaEEcOmBRWNrSLFykq7b3iplOuyB8k5q9GvYxNCiLx8geVzdEuRNrndAVgcqjMkgti5nJ6xMWm+9z2Ug+R2WtQvgb9kbrOWoNnX3aE0hYm9p2h7c/sl4SAbrhSMfCNvitoU9u03vvGKuJVT4eIcqP88Z551WR2OKlZ4iTne6n9z3kueGK5xg4duajI7HvnrOGyIs2Ry1RjZ5KnQKbIsxYnXxzdzFn9t5VLVevE5cqhgz0mHvAeFrj0ZBj38BdSRJz68cM8X/UA4VmiLNawx86QUzQZY6Pv9QAnWAznTMN16EAbPBToJLM1GCyilp7oD0dTf6ywUripLC2c9nWQR4I3vIisBQ9Q229qQAPLvJMMcTkVt6XxnqKevOq2eKspi/a9YZbwHrQoEi1WBp+7Nr0ogPJP8RW6l97Fq2tZ3ojYe8DDHDx161zGYTUwHbOiHR78EA7/VDBgCFhWXzJwQUqDlWDgVfsn+ok+J16Wb0KU93r/9zT3ylTUlnF4XAh5eaNMJdcMxHU6eX5xefa0OBuXfHeU3RcgTZvGI5w1Y7P8Vc/mcNEfwjFI0P/VUkUtiEh2LzxmnXm9YgckhlszdcB0x2OSt+IguQ0+dywPezsUn1lj7sACsviZWUMfJHL5dQ2P0Z/aC6sguA5JqSJxT9yqFshpkkTyTLsBUe4ta73pGQxa142I9baMPLVx0t8NaIaK5yAmC4e+qRBrkXgBNMX+sws8T3NCGaZW+JiemcE5YchY96SP6nsiV0/nWqqAK5ZJHrRss0EPpZMj6IvqJD4KRHLzuaBn0ldNsCiC+FBVta7Rz2iMsoP+vRlTs2ni9eexE6sZR9rpgXObkEPcRn3ud30HknbSnNykN5bLmIfht74+2eU5WNxI74iJr2J8FrvRz3IHVFD4r0nIjGyJ01RUbIlDHuqbp4uz/YfxNpFqtQ/a7ZrARa25KdPYOP4gKrIORucEb3mN7qhUnUWg7XdGuTpZTLJg9HWOTXT9qw0637uA1vjV1ufmwURk+lrgQIMY85DP0h9U1RAA0+5S5AnV3GTtOGbJWchK+UCs5HExsvmSG4F3JYyOZZJx1pjNHwaSZY38cSsgb0/XkZTabcVWNWyOb90iNCVnYpLDgkwA3FD2NqkUE5Ets3Krf8R/1DVeJYKsFII2hDN6Wf2Wb6kezN5xPWe5JND75kpbV/NBf568exySRamKajuZi9p1txFRvvQiXryPmS0QJLUmuGrStgp7CD38HSnMvmE9R7RZiX6OzFYaXMRm03fyddTm8xhYLczLEHtXl72bE1cmvU8r26upnvsP0pJN1mcaPsiWfhbNK+l3kvV1NYx1+dXj2HidrOLVtvhD39A1Ghy+X2VX4oATYD1I0w4vnBxCCvtPXkaCD1lHv4VR5xKjMSZp736c5Hvkae2JQtmOobD24VPjfSQLoO0Lc/CsZIvAseKRLA7fM/2XJ+481nOvYV4mAJ7xnAGTdis80+ysQZPSInOd5LYGxdlLZvfY21WduSO/WdBX6I12FeTMqFrvSG9G8xtucSzWtAkw+IsXhEg4i2Z9d2IZ1Zk0Vo8hIpTmt1KD5ORl0WcFpATDuu7mHRrWIsqXT8IWbho0vllNspYMw16dIxL1aW4gcdQLNORdbu8SMmRRSsSD2ntn6onfKFQrjGjissc8Iv9hjR/TSAg8CJXJER+URshdD9jaQR53RLliCzWKGQaFrhWsGO28tQXEI9Jwm6DYeYrweD3QqTyIy5d/tPVCWnKcdjk+gnaKGApIinyhMEa9MaCJk6RcuXF2MZM+aQ7T3sShmLKnYdGvS633t/zpo9pQmQkSS6pTjlhGFY0NaVdRARh9a6tEyRci1DcYnZFJSyjdQrOXwttP6btMfBOVV9mTWJx72hTwAA7zIYenAtO9wBhiKD57zgy0HHLnoTfA5c/HNiWzr5pcSTYW0s6UhdvPdzKaiJnV/JTkUjqkTGtHVBzw6KFv3DK7YxBw29AWdvhPNQT8P63tEHM/VW5OwIuMfGClYkqAZZNuIhzUbQUnr4bfhTiBPJ314kbiizVHkZa0ntK8YNa4L+rWTOEnp452JHhRKCvvi0XvHVb9MiPS5pjChDY/qRjckbtIBEigwMDdOoEm7YpYmJ146rvK+PMUGAmNdpxhDZxDkI6e421K8Pu8+VyBphbjVHs8PAaYEf2CE3WrOJN89lmdc/rk4WwE+gD8s7SQzCy7sIJh6Jl8YioK8Jjo8uUl/N3tvvC4gpwRZYU3TsQgN7kgnwW8Lqfq66M5yaIBGchFPJtQSAgOJzZv/HPmqprx0maW7EncrfnE/0pIBiDDwYxu54v+yIJHlYvh2IEQ4Uz95n68zNpMBJFu3lms99Fa3i76pTDmkeUdoh8573QANBdYPjsJE6g0L6DLiNapJo93Mf0ajmswW1/ETb8c/yBcP3F5/wnnuU31N9MtWf0ffJv7FYOAMz1A1W8cWL68yYqMxfRf/bWfqCyUzRd0X+wHHIujl3z8QrzIFHfg3+AtdgzlFC8d4HCj4VRVAN05rMCB7yGLbDhxk44anOtMBKxP7Zg8DZK5wiJZF2aoHRZuqx8M3YGC8Gyexjo7e3PhonQBE/Z+BEL7JP8Tvfhj413KkljsoK5pprrPDtsGqNQF/9TXqvzYwXVeilNiq68gt8uP5Hyatk6ikonm1IIk8SwgXuc31l5N6DwhgL2+AEavqF2kGb5Z1BShY/PcluZph9kSh/cSEUbWi2xt1ako16tJ2NNNMBGwxfNNQIQkRHGgGul576jZsz1T5qm7HPC2mqg/lX1l6lOOICYskTyK3q6JVYU7T7ARDWsog6H/Bp/8EEuANhCTYoJFf1wMie4Zp5KFQqrbt4BJ1h9qhi1A5bwSYalf1e+wqd1/WLWEdsId0ice5mnslOsQiKg0t8Z5XwiAzgpVuKzlpy1KSSxNlOsSLqDRPWQatjVUHRitxWSzgnbzfV0+Sglm+58sqF8rc6UhG48b6yM9mM/bO8u0SUVE5M19UvHwS1wn2gYdQydFvv/NoAExx95tdw+NkrHdDlmFpuBp1Twphfi8IP0fcQQqzeabJh5mDClit0XnO8Hs1AEtb3k2lxyr+dypqVBUx6vFVSAr8tdZU7ad+//8EciI0RlxpHtoVchNRefnzpRt2sPZeebGzrv7wy+vf9gmsIUXIoJb7ZhbHMxJ9juI3yskncgZUI9EGzF2h27SixOoaVnqB3qL4qml6+jktmn6qxN3IJQWJgmeK+8UAjqoOuBtmgAdtuQVvsvzvV8YbPjx6sd3oyrxaIZbqXud3bkLZFSOjHNLWyjtU7ra/hV/t06YXirI7I2WNsxEtgsBIgC5c62p9YzS8wbjcQmzFK0rq2BE+AuneiwPmAAWcLsBOhybQqq7Mw1F6ewOnv0qevi/9Tei2C2K5r6dWBdEIlb9w0BRG0JfGbePmenINAwpQrA4tSufZJpuQkDuTg09n/pjglceuhP7EcUEO5VXRWNRgoyyQxSVozGq+OmefbVSkteXk3ilT8ne8IEZkCbXhT8ZeP3BrTs0VLcLx0YpakqtGS4a12vwrUH1ISity0+P/eZ/hESsJfuAn/6vBPKAbi02VDSD4oInalLttJSOo6rMLU0vJA/uCtL7zqMPA1T3GRggLgSc5cApZDlga0Y3GJzlaDAkn5RmIVyuEVWZCJIIOfiYxAYWOlKhRo96LUrU4HI9n/4vY3i1jJ0/l/Y+mwc/vm3M4VpEBNFtHKGEMh+nWyUQrP7uKYM0DDEjZHLJ6yZ59kZNzosfbPwMExwSOArspDXdTa9YK/6b3aimK9PrkgwilQhnc/e1twJYvyu9U9gYjUnN5ww3dSd69gzTB94120GPH7PT3mPhdKZzFBKuDyDULFKC7Bd5DDCtL7/FCN+Bjuh3pnEnyIeuABXgSLEhj74AX1MoIuvXbegQArp/VDaOiafS9yoy7X8tdTLCBV87loN+KErJ/TjFG5HCCB1fw6kL9H+Tkwt6YnzsZeJNmxn72Leiyfvjc/i9oNbNLKmbJkauIZxvM5MXTQ3de8Uof2SVh3EJiDmWq3n62X7myaOPZmJfZcd4uvYZ9WhWs4qUdtuJlM5XmVNbNzGn9aQujQ2abMlejGu3FKuS+kTEeOBc0gXsjRzN6VYFrUMEtZuTpiJRVxPgVMjoeP5cP+H/MPKDmi8wdLC0OhOR5RTelcfWyqP150TYzrp+clmbB+9gUF30F26UcZu5EBayZP4cOOAalSvm2eoRrxLhAXeX4mGdoyRpT34W2r8h4us1sJG2FTkoQZtsfIzv3ZNDbwBBbZCT8tifCoUEywA79nYq4FC9j7Mt6Zz6CwHhtWkGf39cGAzZl9w90NgV18TQhi2u1aspwBK5glajvRrRPCaNnbPUM/Xm8toW3K1ziQyEZJN5pb2doRUyHhNpgb9nmw+ZXhkko2lU5DqZmUPW853ecdaplUNfsAhwHFWAx8khRIoWJjy6K8vJ6avtrx3p41nm5qDhA5CN350BXvpmETRue8FaXJ96cAdHDBOqI4yjmjErAwJlnxZederS+WY6+kr1NiMKBCmj59ODgxXHoZO9z8S9K2LRFBw7vG3TsbePLw63oi1koyG1nEalFv9lHpuTtj68vjwYKDh81zaXbdbVDalNUkF3aeHrl91HwRZhcKdTQFd3c9w4vMD3QaVKAMyDRS6CD0U2oaKPgD2fcSy5GeUEs3ZNqb3vcMkjnIcz/Sekscy49jxZnUbMH4X4/MYnMfKp/EX/vVXveY41HWdNuLZZfXnrhhXyGNYRt00OkY/SOeKvp+fR/Evd217n3siRWMArtWiiku65v8SBBaHjbHu1Z2KnMrvB37n8g2LPkSJdwbv8XgWw07ZCsbbGNTqx9Qqws/+JUmGXuCcVJ/FwrAYEuxc30KpRj29FlLStdIFrZpkwkQ2e8KbMTGhwiJf6DXscN2IeF/MJBO5bztk7oXHVIoAcbspxhsHTKhGXvx4PPXbp2w4p1pxTcOrUpxSAg4N7e25NcjsZvnR7LyN6cXcL+PPkbQa6e98A0zYGmQH63qoMTulfnhka4eMMIyNwhDrjPTwcJQiCAEt6HS8NmG2xVQoXFvIEKtwrvNuxFTeifA07JXsFuaMzaB2Qbp11a35AoP2bl9hPIG+unXGrKurVJ1yL5noviiT2hyiRonH54gKZmou3d5Uu7kXtD+jKkUkrC6ntBZMQ64VZTfy7WHJbSzIv1ZCZT16KAgDSDiEstPiMvlqk5WR8oD6MzIomENnAq/Q/vQp3CL6HSmrvlKCQZsIEt5tAUKdeS57/MNxN5k4PdVvp5+WBanp/X5vW1lJ7YgGea8JmM0S4gnBD5y3TABbGqAcy3O1aMgCdENHz9z0PhNwo0wia70f2c0W4sRYnUkTVk9au0+aNNn16IP+RLwFVaxQngxUnCdZN1xmjHqdeuGJIptwnVd8kXd9UpV7zucP+DQvEJ4sdH9DMMUbZj7LBfl3Hx28bSW5PACSjycm/RlAh792nngx/NNtWnZ8+qwcL7oW1qGbc2Lpm+xew4P4dgP9wpEwzv00CXhUX6nxYISO/8o3mMWUWsV6+nSnw+yEiGLOp5nFuhn1OG26F9GL7akvercF1B/aQSZZ2CUfxarSe+07CYdYQWkFnjGGhJmEfmwEdWr3lq5w5UiQU3C5H9RBQmFFDZ1NV+37evZ2UQWTmANpVmzzHecOByHgsQz87UoYBmUEAV0QtMlVAzMHEojnvjziYoviSAoSnoipNfpPIoCSLq1weB+sUlN2vq7jw8aYJ+SnTsXpJNT732fmkwstsFQjDqz7GjIjdgx9iou15qJBQ00Gonx3y57osp7VoN4wyyJaP49e8PLaUUCmKh8apBDDgRAR3PntU7+hsHuwTwSRoByzAXFtEhc5pSGcLu2WiAB8kc71yaIXZKKR3ycrT/bSVacMMVgbkWTcmNjLTNAaRxrQ/wojts8T1ioJtIHHEyLw4u0WuM1pczdRO0k5cLlr8D//C5Kxvt36YyZMidErAsSog20O4wYCJKU1VHvT+eGOu2henOFxajP4gpEtuuufTEMQ5QzzMfB7+bQqAa0cLdiRY/Co2XM77Ptzkp77/Kfhv45gDNS6VSYLJBeGLtdm7owxwAsi4g+brdZwN3PQDBMTvnuFH+rAmMmrzfCG0Oc8vCOSpbCEmr+gxc+9wFPnsLEbidWZj65d3ZYPCa8IPn1+jMOq1EchSyyPLNVRxOncywWKV7wnMnj5CWYEfVU8R1O6dCBNJ2b3sCZh+IInY5Dn/zpD4wP40e5Ta7QbvOiv2eY195UykHYx6rAgQ5fe391Vq6PC4tDuLt5XmvcGYiizIsKxVcbWZA+pFzrpDwVaJnQJFpaoaLo7rOCGK78Xb62HyPMHZXvKJNQRUNOpgqkQ80y0CJkppZ1T2v45doda2bC7UUV2jcqgWnwa66CL26CTRGGoxNGqHsN1Blspn/2DprbS1U6mHrG0jDd37urDmKLK7B4o1YXsH+DkrgbxEgPJAIe4zH59hjmemMBW9xKfjoxirUA+rtIhF6XfGd08HzruXS7Jmz+NSk0QHcwRmR7kRfV5UPZardny9HETtHFBhYzm9XJZ/Jb81pqiXWZAwuHSMDj8Rz9GeOjVSUCV1d25ENz8vDx4HD4my5biMw+5HnBrVslrTwRWteI0lzQibxEgVVCvzpqzq3oz1Skabjx25cjkSa3kFdYv4rkOuffElA2X/AO3X/Ja0uaghsqtjIah5/YlO9EFz4YGJlqGg+dF11VPo1eJREoxPsEdQKPSF9tqNlqTJCoLDi5DE8IT9Pe3bhiyWfzU621oxXuvB//wJxtg5PXIgImwgeeUhuvKK2InalY7WxMj0nVyPe857fHOOyhjuDdPiaHKzTGb5tQUEIgKzRbpcfyai4CnDdQHvSyw0SaOis2+6X8q5TVBFkNB5lBVVCFfVwb/WHEYvkzTD3ozLfy+Tvy/Wgw7FScniZXoSRPs3uWKSEsq+R1zq5J8i0Bofd3NHC8kxc4TUD0I+EqGEDkJmMMbTJu2zvT73PiYv9ol8Ke1+2BGKFN/DH3eEwzXQMufFoeIWfvAypJ4kAp5JOCZycfDVCN0/T+IOY1dZfSMjMVue0a4FWMBuDga8SsZgT3LChCWZb/r2mH8QPl9wZ9fWG14uNCJJPyw206+pIydj90rH70qxHCpyXl6DhHKAr0+AmhxoWAgGna634i3ImdAg/A1Q3MVAg5VxBSnSO9FmG6x4R5eud5CN9quFI9cxlwYEVQHuwRMbfRauSiU7Xu01FrSsMaCe2idCysk4rJXiAhyFs7W2kW4scYqcd8JuFSVP+QSRcE4fhn17Sgj64gtioqP5xtAEumA8efEcuhzK5qHerbUcTrTn6Ey6V9iiPRkXdQSZ6M1l4XkWwwveEJWgj48erLfLM7Eoo16tCuvAXd+8PnDeOkCNM5/9I8yIDPfNoeF4TGuuzNiM6MUSptLjS2GvNedJ98PzXZguLtIJI2ef1lC4mu8C48me+3Gs2qkL71M92HQGkkV36Bc79hUb9+/AMxTuCawWsFwZnmJuOaE7pth3GCeARgkjc9C8IKzXbveBPkflX0YF7nY9QxNY1OzJMRCaiklKXgOl+eVBUJBDqMkCZEGdsCmz2LseKH6I1EBJ2gtPB0YBukYVubTU43vVJQS30y1RsX0cJ/5VpakonOaGQ0HzExcWay98FBBR+ANdEeWAlcshhqvMD9+B4Nr3GmT0HHLsUSamNvN/DbtJtoPT/73L8dGMPlDatM2ylIgoAw8Uv64sSYSxv8x4J+VVp9E96KckVvv9ulOQcaTnRI6JR7xsycpbsvzHpx0IO2DRV4aRfJca3UFYjXjcOoAaD3G5fFbRBRHBtqP+fa57fk2VOaZABFx+TiAxvI/FoM92G+ESqOVd9nnAcwbv38n3uctrO7JGKA/g3xPu1o7uS9Np62lDj+w3rEugUrRO16vyd2uylLeI2oDAQe9id3s7aYwaWWKj7EsavIyMiu9GniMJqUycdF8vTZLejmlzHlIaQjkm88pBvQKH5GG1P8/rdclOD3U10NtZhTC7TiaFBj72+0uHneNXAZZnz+qrLLBvVWjuH3j6lSkB9J5slzrxqEIZ80QJokKH8DN0BTjF9fcTK8Skocx0SnxSZQxpiXnU0fPw8B9v0QyCM9BDjD/ZtdQPdbvkP+Vi4LN1jcg5yhVzdJ57ZXB9UQDlJBfWsxzu2y2+WcY8f5ure8D98N2YhAt3RxeTJ9Zc/jXSrNRfgB+dEksM+9dK5WChWGaenL7NHPp0OD5IjEKlM6elsMvMZjxZ6hgBgNVaJOC085wrCg4y0fhdzE8XFd0dgl3O4ehx7iW8uAkxD8dbXwwyGnBeFKmq0XEuHAgc+juNPS+jSnhAQwSThQy6kT+xUXIEKeWmgHeqkeHG2LYOS7wvZEttBV6DUiaKSLl0DOd77jixdwOK12kJWfFIhNvqA47h8b7W+Ufo9wr+yJjOLwgowbFFE7z9qrFOrTFOrM9+R0kw2z0nPLHlHmEmfliPqFL3XW2pfxOCgysOpwlVas7AQwjFxm1oxRnbqIcYqFFKbmoQaCIMbMLMXWGYN2L87OdkigBi6eAN0YesrIW3Eg5maIlKW2mgn5Bss6sNmvpXgTuV8bD0XDFthwBXvPy1Ay2BksKAFE0oGIeFvb5RHingJXjvfbSRa/f4CUsqiP9QairTX2X692wQmJJDMY5o5Z4LBt65c5/CXCx9lHQmolYNnp9MUBuBvk4aGQayZQzn/SMJvqT+D/GnwOin8v0RYiEUFlDJeMFFDjf2rSAD9BApxEVZhZa6uJQS55XXhF5iDD3QPXIM/rthc7YD8CR1lRu+1eCke5NfPyHo/AE0U7yLUWQam04XvHt5sruHUOOCZQpg4Ef2LsTAAc02qj5DeM8iVyjnPh07+8nhJaBH7+3mrT0oH9zkCIIkiKECMVGVxbU4/D6cwZrSXTL6OBCAldYDMVEHDRdcyZ/yNgqy15SQ9v8UDw+5hgbvY+ig2fh5xtmZg9Nub0I5uJo2SYg+XfZj4ODoTLcBVgaPLuF/0Q9c5gPrCOliAlm9TnXFt9C0dZvc7JVfoGb7MFORKJ2ih7uPYUEQ3PeUb5J5X+WHYFYBxAxyMj3Uuge4WxGpbqniqOofFb3zy6aiVeNr3HSs2R58hDgzi1TQqV31i4HrfRc9gDlGa7UB5Q8+BxvgvPMdBH3Kv97IWX+agqIkYbLvAayOnN8RSzhUcgM1hPOOXXHdUsblFSR91XINr3bq+CvrUHNXLiDqHoLvXq/3OrwyuyNy/gA96E0zPjGZcpsWrPD8oMZDuVbOj/riOXgpzFBrSCmynDOvjBnDN1cRpybxNeLB/IKWXhW4GTAwaMGMXBwZrm5d9GI2csqYdvrvvcYeGst2qDTC1ZHBW9Zw3IfzRmTHwmP5c+K222A96/AEFflPzq5szZBY3YzrSVRqEpb239CzjI/wFnmefzvYHrxlJXelrlrkdd1nmXhxYWU3y4nIAcw9u9whPwC8nWocRPjOR453sCs7W9qALFLSvRNCvNASe0PaYxc/bvtzbXQorkSRK5BtAC/26BPCnc4NHcOYRs1+EjskTsccHsr55H9gqmu4puGjazAocCOORPT2YTO6ROV92+C4VFFvZwJD3URRmFqvebOwh/6mQKszre7udHa31QMaU6KjncI+wtAAIXdnDcS8B0NGHyjNHmsJD+4tkIct5eGvfbzGHoEx+N7m3pLmYoqKEUnWZ6sAmyr8orKYQwVMDhm715VqGUiQX1igv0bhFmYVCiEypLjc/MCzBROyC+FvyfKlEboGNrh/dCABW7b8mW1Scd2Ux7uvU3CTbUEATAnDfSxvpnGFsm3wawnv6ODyz49gqj+iNLkQBKIMhElySwLnWkYLZsXcCnuPRJ7pB5J0hfKDci3XjrTTbWtDp8f0nV5U/YhhJuGedNQ+NUvf2Gi5gvHYMaw0P4vKB3ZedwyE0bQaLAadIqiguPtcWWIjvCNtCX2C6ULZxqGVT8ov7mnMIC3q24ZEzFoIhqcaeHON511fY/i9pMvPcGix7vbeZAdDVGfbqotzI42U3eURBi37VlL38/GL/lLMh2j/hJUr72j16Sycd5tX+9NaamApaZH/i5psrO6ai6+oj2+oI5BGZQhvCK0ADGI15T0E7x86KycmkpPAVTLO0s6xLET12O+LXNvveWIgzAjtSFkQYfmPyqsFwvw9AMw2SZVOnPe1siHhP6xyhbrPSwy9diX9Ulx6TWlyTi8vlae8bIAoXybYIC30KMULZGADJEaBwQCB0UrlxaxHn/3+mg+wIDWIJdhdebVhB9aomBMS3FKpZrHl5GT5IrCbm1YuCHkXxs4rfG6qgXcL3uCz+i5na3AmBqqypdpyCO+O02LlFVF/+uRkL0B8NBqgVI/TvCRhTf7O7rDKkBO/vHw30dtkONY+voiIBPPfvdmpX2aZ9zxMHUDHJ8a3wvlkANV5yYmpLfHf/p4GzrpQSrh7PM7jm3nO2L/UgtSY5tm9AcUNGz6nqJe07i9ms2FsXKnAdydDm7256kKkM/aCx4HNvy/w2/WP4bMhJv+FU8FCQydJkSwmtYoMZmVjwDhu6f3yzKvRT9dXlm9C1R2+ZJp1LGzIf1W7oX/EM+nDZ92vFW2yIbYvhH/WDyUpSf3dzQtNZFXPZXhrYrkbbdRGL6pFLDNJfEfJ60eMFRdy2vAtMP6kOgMh1zUVWUaMm/PDsMSWQHR/QNHGuB96E0JvhnC11PNmLSTapN3JqEqp7zlwEWJh+H5EtOcr20ece0sNyBeNuXzHrkuyhS1x0fC3Aqua2ecVjN+TtOYuupAHBl44rPkGZXi48rrFt8XlkKHYUfpr49bLXTfYpz4CQwds0SlTAf3NdmevtWaYFzgd1iBGGY/Axkog61fPZ10WtvMkNaXHjPClFygLa6475hQp3h8iiukygOsEcCS0XXt1jvsQGUCddtGeJtQoR0eA0nsK+hCA+K8fSzCafUa6nuTtzhPcb81zDVtnf8jpC2OAZUwZWeMPPcNFhs0kbiyTGdJzjW7E0EBdxinztRKZ4avU1zHpZfLbHB4PeGLUvy9jnu3cjKljhZxaGPfxwxtOCBq99LcySDPk9Lfqf2PrSthTTAQbbgCAiJ337kb/wVkpDZotBdVkSxIU1EZF7ZXoHHX7GBuhpzMht9djgYVlHqk9t/vALmnSbWbTXpWVU2UDDl2nGHeIkUqQiWZnJY6m+5nBH5q04Bb9OfjemQpIw5yFK6CUNNpV7BZHkK7O5Hb+oplgRsB/KQVCygJWfDcWkTgJ/rGrqeB8KFvEf3UGwS6yFxK+xFMTEKZ7kN6TVWT76OGLB//V106zXH3E4PjfjNJhIQR5Fju2OJj182e3OlJCR68KsnPFIg5vbNxDIyh3+Dtk0+h5Wtsc4lqQfiBr+QnTX0LTQt+FJcTsk8dA+y1a7SohMn7wG8uivUjtB+XLdEIvPXHGlCGAlaqakjz4zg5im6cpz1Adr0gdLLqLqNxrDkEDOGm0l3PkNLgqWiGlAA2pxattZEGApWzOUn6BD1Zk2un0hGXce2SILQPshUG2jPUOdn2C+ZDNivpIuTbnGWeVharPtAoJY7VVD0+JWgnz+w1Ao7oxI9Z9wmyQ4BNjPr0Do5AZeaRif+E8UkCrg8hdpMR+oBEmecQ1AYvwDYRdHy2qY5KOcG3+Q1XqZNtzlcvrtzdr2KSlcIobACE11ZCWpOu4IHUF2InIjT3QapTKPsnllh/kPGsY8m6KaysG8zZRv0W/8hVhywVx57NtoLtcdhdGQfVpAiJHl9RGs+zEaf3q2J/r3p+w6DcfcugEeq0jLEcgW4+lSf2o55EJGEwWE/ds44dkn8cHEo++aNkTGEs1yCtHi6PKMn7FsZiRCnUiXwwQit2LZMMeFjw7Cd+PElVk1qB8VTSKWOkVhrI+JgOOmeEwSe6Yau4Ow1UOMBCcYuwwT3DQjq/0b+iO1tyJSYJN87hvJ1dQ047opuAcjUXRKzi0ZLpdQQgny89Wy3/LkJgzzck+lT+wFGJowi6EXEOzue7Cez3LzXVSNuKluNSWCp2wjww3jiWjmjWMNHWwS9jInBGaFgqH384aPA9DRMaNnOVNEwndWKmySfhln7dSaegnwhlDiuhJxeu9M8RwE3vdJgGOrahOtOtgzJQY2TQtSH5Zwb4xScsWeAu0W8xsttaFeuqAPXyuVfluG6mry1VViFgoxkRQXqpTsQVY69JfDqyKvq37t7ZaUJYLRzimhjh3+U+cLzXUcm4mnHoNmrIqJAwUjFP0bfDqlKQFI6rRg/2T+nnBxILb6IHW1mBJbBhSMUgAS4S2Pmn4LiuOm/GSfwDzfCt6CWLwVsLR1X/O8PvnPsBrVRQZee86HIUbmd9DsD69R8Zc2Xk5ooCs6r4p408VSwGcTSOIOnQzRTCmgZ7Vs4zhO2my0XiEyr0PUN8a/LbIECnHqbFeH9N1aatdSdV/2dL36OLFYkZP3d8iKUVFScN9PVnrL3kK+tkEPnM4YeVnxIj+do+Uxn+zs2KV5vJgpgOoR2yzrlXFFUDIRfsNCIMxrlK/dxxMBTJIVC8GDuGMCe/gzHfP8l0+Ra0lpg/EFeYtc4UoVk3pCE+EYL3ZGyafuY1H4HQlqBIXUygTAfbr8ClNFr0UpXOTjLvebX9EE3E/0WDBhub4JYbm+Z6Xhrxue4Y4bZMxoNW1EWEvhurEKvSpzlKJGxKQfzMm7BRiJL5LgAALFgQ+vG7RIpztAoRze0S+8eoi+J4wEi2qUM1rY648Z+kbcXWextrjI4bnIBGI2pcoIX3EBj5mcJolienFhYxJIQrgzCIADmH9ifsQHLl8rSLGRlA7tholNPBOJIFhK+FK3kVc97/Rn+/qJIDVmRq92a0WxLHsJTcaeMD3BeQYk/ChCHbafKFzHMYkoYJe2jodmSZ83cIYRvooU3GzepJ7QndAYUqVBp45CWDy8Wp5ed95wWuLB1HwervcRkKhtBfvTtipWnvcSKz0NW4cgw10LhOTenOirbq2g6GqgAdwNmXLCeMIT2Hdo0WsykabA1ZD/G9q9JX5GKkH2PmA1qyhoRkX2oaxJwZlNUkp7t+2sOF12AfYPNwYdF0qSaS/mi/MilRd3c8AI76byuDzmj0JUPf8Kc3pZYGysaRGQOrtHXPAkpIChsIT61FuDuGIfKGP9+TYjicwC7hGZY1svTx7Nh7A3GtgMF8IVu2Q0HCspp9a+U/QDHzZwM51T5o2rgiDXhmMgxaftuLmpouKSabopv30W0fzuWXS97rfrB+cp+5c+7H1YHosGMRCyUxSJc0SxijRi4blIdMhCMP897iTfVdxk/pnHSXfr/30J+1cKHePYRMdh0PCw55oJDCnOHWoAxyIU2cWrcPlqjKqnvRMlNvGSc2ipoTSW91/jNDuXxnQmLTnu9MUE2+b+S1jj3HiXZvwVzGG0r1bcwwhJrqVqGQWkOjpoIEpSZiDrp9eVm9TH1MK7R11aHlmeLExrIef3uNeHcULw0Kk8/o9sD4D41Lrifuu62GicTSgeGKDUTn6fVt4ruwz7S3wa11CWdetpcA75+vQ96OLDvKAEqGIliT8mq6cL1+VByVDKdac13jBjXbzPUIxCiIOlNtoYWWCGlyphsm9tO8ZgQcI52b6hBLyAQ+qwt7RoxCAYtaKD/9/T2jrfk5nXMa8msCvYkGMi0iaLPPk+5u8xzctGaN6ow+YGba+cO3oCob/z5Bho1WF84MPHqZiA9xqZRRgieGE+GAZJFtTrBevtFKzITO2ARwr3FsY8E/zyzlmUGrs3PzC+qQyf2tpP/atGWfsazt/8H88vQzdEjlg2rDKKWuGf0eYnMPeyk6+iR5zCEpjTGhP2vfHcZLr1qtGM7xnqu6Wk5NrhfO3dyUTA7FZc/tbtvaMEvsFx4ZhpTwaFkCdxnF+YddTWw4tJ96gPWhJotaMw0CWyCAMylanCJwa7qVTrzioWkvH0c9pAhhhqkdZIDxwZSVGi7m83Mk37Wh0By/22UDzrdjjIpb2DCNHCLYigSMSJKWiPP5L2XmLmaDk2YcWgHGo0hbvjMfPJhBVzpsVMTvM5ROOyi5ysf1Upzzv8JcaV0rfeKq/pxlc0dgNJ1Sl2ZKs0DlfwVp2gX1YsyS7QvpbRiDzFGX7ErdXpy1Q9tb6uuRhZf6eM0mUlIypuaWDze5VeLbhBXHDpPc7zTEedDz8FjaC6jbXoUtstiYauUG/Q80mzp3owtefHj9EsJOGS4mSDxrMBHyGHXlJd1VVZwt2rQOAwspAbHQ/qbnz+EutzGCvmGJhp8N6PPdLo+b0K1eDNHylkrwYliSeM4iZ9M74ZrFyiyzql12DPO2uSAYmhH/I9uH3G7/lABwMz/cpd9lVXkSsgtBZNq1Mj+d5/djf6/XgG77+NTvByUXrAyHBVBwiSOu3tlRnA456Tnv3V5o+OIiA/CplbYFBHfKAHUJb9rxn2TzZIMFeRqJB3NlP0lpx66i+oubSscJ/1V8lbtF0MyhXQ+zMYkz/En5qpojFM+ahYkULefp2a/Hlo96XUMhROPtPjVXhSaF6/Adu3x/gDAURqS1wKSibW7iL4uWr7BqgQpdh7oqM0884nm+4p32zznBCIY+syyuGKkpUsohGbTgLx89JTRzHvifDgSI4mNlcwVt1N8PP78PiAFUVYqLR6j2O1APHCoQy+CxUO99pyl14WuPt7sd/sHi07DmhvsYod8tebcPwAbHbpF26DN2H7JHHCSJcpX52ABMs30vJtTY2uVs0UDIsi1RAqEApHN7zzP1lGWC0uX4GJQ+7zeNNjJP1fBwKPFHrTUwRoDPcqDVosQKxZxMTbH+YdUsW3UDVYfHcXRG0tWJ5zT5YFQM+9p5GmP0Adx+geeeZzbU2F0Mup7VnyO5i82aSapTSzq+BdrE3b+4hu8xh3HRahYIZNonJcTTIcRAlptdiFbCoBM99H2E379zuyC5EVU3KO8L62xl6XIi2E4A0kbBBu3uZuV2J4w/fzdo5AiZ+KwL9caVj5WcPZXcqfxkXtvUuRjnudTXBLVJohsqxKfyXHa4pAZ+G0nyJc0POKCMApJo2bUyA8fN9I3mIxcNa/JAT9yr/Nzq4wBmo7xKRQnscX1du8Wx8FCx7YE/o8UbTG8RYtwr+aY378pSMly9dcDQvXNpOB4tL5aXRxJfGVtptoWg/S3VBn9JsZKAAhPbRf9AfHpL2COcAGg5rWaGxiujBV0yVCTCGLhVDi/An2q1LOya1Enk2jc/LIH0Uq3rrGDIepUOe739mbu7BCUC3RiI8BblM9+Wiuz7bj77EeSJ5tbDApCZxe1buJYGxjz+EwZjMNfczxoJNGTCA0RuAb9+seN6Y7+7I+Egy9zloFCxWJ8agXSOKAOwGsPzoKTOWpTCk2fDEkcqoQtLntJ02hhDCwTg9nw5YPUUot3xPbQkb3euGLysp/LsWxtfbpT9m3+wHwexCcHOIMlZEeqG264Quj+QBRAx0cEC6F6eWlFMXsWIAaKmP4zjHwDqF5KglSBVtIpysVx48GzAcc7BDm1M8Slafz6uFOZAVHzXUjnwuVP/yu2DGgg1E0Sn5CQ7EX7yPnH9hiVMi+FY62YysWbtv7uZUKxnXhar8W8eXP63VxIo+NVGHb2ayPMUu4O2Ayl6Lo4InLmeT1R3TOwhSoiF9oVOs0WZiNq2o3FDF392b6V/51kJ/zm93bR6mk2ZYgxbk7GPlHH1Oa3iMDJ4/qC29ndRGUuBcwd65IIpx6cKkpdBxjmMqnWmqe+MamicUhERRjxkchMokDWCIXeGooVl00I4jcEACA3/MXT//zdeXBkZJ63gPZ/v5UvKGhBUyICJtoDr87k77iJHA9n+AlxGR773QPvy2UiUw4zQk1zD4yx6/ZHmEA/3ugr4WS670+UGwAB8eWDDnAASE4ttdXT9XI/BybqcP0Nyvawy6XuO053s4Re6xzuq/04cBk8e4eIABrDC/ohWFx0O7pgBW8Smw0p8cWc3yzBH2NDBhw8ysCtEELR92svNt+7hYKhSdGu5tHhfmX6tqiwefQApFalGQR5GI1URO0Wn0VRG6wEDVzV+Ww/KVlH3+c1ANrKCS3nsFLjHuXM5b8utYyXRP+BYKeNmcB0XBBJ611UAA0XiABAa9a0J+3dQtlboyItclOP33NBoQ9APLvsHzWRCPPornSONSfrocfRRm31iDq4JjjcVpjQcIJcpzj3Hw1/d3DvFLvegivs7/hQr3NdTSIT3coYokxCJCfsEJXs4yYhG6oy+hSVNsdoSQFCFdyW3eXFBDZdZE5G8yi2nDPNAsCY06iaM7ChoBbTKJt3r8J6hDdUsLZ3IRfTK9uipxNCDYf1qixhKZAgxRYlVnrV2jqSq2f6jUO0JkmUGhgpQLr/UgfoewqjAIegnU42Yxo8TvEx2/h56ar9G/FNieBPGN/JVOG33rQ+7uRMo6HzIvUeCiX+Xu4150eujP6WWw8+s91S2w4cDhxGSrA/XIpVHeQeHSgCZCNDJ0wAH/OTCJMgqrBYVT9G/vht0/8k3kZf7k2Cahwpu6giHm84mF2ektqfffxdQA0K6r6kmgTLe7gx6JwXWO4CvlXysrzCCCRo5oJmZtHe2xIjXB/KD0dXNs3relZ6yNgencRk39Z/m4+cfTm3AVd3yJ3J6xsRqm3ir+5nRyh9MiRKfeGfg7xBYr6Yx6qG+uSvoYBTY22RfioLjw/iQ8lXv/tjURkjdsFLnnDPV+Ab02nMkXWq4Cnl/53HJYlncGmNWQlRaiP66GDlrFv4Cxm1DFBpSadVEaA34neIpLBrG05OLth1dkJlHujkbxBUCDujhOO9V6M6xAEpVbcIe62UCbvMOfIKM+VGFyOE/VrPhM5kP5P6Ys7NRVy2JZsMkgj+529ZtUbhJDCMMEbfLns0KIINy06QKmynyoWmjyt50GO1RFmN0mqlpPwOpj+mTOp+nV1WgM+uB0I2uRchZEWXFzBbL5hqjwQeJsrjCaTuawWdlXxW9RPPBL+RJ7Io1G0vp/77Tm6Xyx8ppwEa4zbr/GS90RGo3kJfQP301c94jZ/L6UeHKY0ciaKZlYtMWgU7DHCtSmhp3htL0pEWsV+OvPvDBDiPQ19lRi8BIfuKLnJMtF1mzyMwS/lJSduaYS6pLV3iDpf0+U8haecfsXcmitn+n45ciiMzO98BGfv4ltD8JwR0/e8WZQ77PxGuQOMgtvFyHrs2JdBUWhxReI9geQ4kigUNodwbd7mMHxzDTIXMyl/ptEBaMsCLoSCaj5L+0t49OiCufP2kJO5EG4XjnrEAHBzSlpPAWVOf/9Bv3UUKlV/8ErtBIoHOEnXtz37jaAl/2jJ6+EWFyJDfaRoEk9WCXGqnAUaP+6rHiRnKRZWa0DiAWl7pvZ11p+0GH8EgwYgZsQR8n2EKWfC5Pb5iCvUMf/I669/xJeWNPXG/vDxpslcZkEQoth4B8it2Pb5F9Lyxd+WdZFbmgmg63x/VPPtRlEHBj/RkgWftJ/q+CHtTLoBaUdZb5dQFBkDYbus8/kCHtdqcfJcwIkSuVtLhER/UjjMIHl9Tuy1FvW37x8l5Or4IRvioQSPkg0wk+DFOToMVWYunOCXXNLl4yRBdPmZ8QGWVYyk6uWcWqppMs1HpLtDnh1R8q9kB7A9wsbNtBrIoYQMsoysDAzZ+1ee8GrRq99pyHihndYQGtk7jVOvTWlabPAat46SdjMdAAjfx3+llHWHqHuSogNYXwSHGGHr9cP8bFmYDmOVdpJJZ4H1Phtj+21RUvQMOgg7YMeNeJ6QtycrOaVIWHKdTfOCaQJuTR1o7c8Aq5FLUTOLsyzHXPFKBXDCWKpCcD2VqpUJbgT1xgwVqkJbWaupsSc9e70Q8RUVASQGP69rD3T6Mzfkk1fpsi7cnbAc4DvuPUqGtjXPvieIQFDAnln4ta1WdBC/uRDhEVbaTNVMDkWMcEv6rle7/9TyjAbStgkMEkfBvDBU33AL/PcBhmrs2vxX6xxzBmmb9eRaelx5+z6Dyq8kNTq4J1mYfXtQcZimHcZBEPFC9tvXWshQfGrJzYSt8D9EbaJ9+VGTyVd2BvH9IhdjiVUN2ZA+G194ifiUJcD38VMMkWqoTQcmYlm/nnvT56cyld7OSbLLodHoKMEUhzhBtPTkYNAP9wfSf2BkSrm18YHgcrvjpIfkOh3hIYQxUPiAiYlQYqPLOOkZpe7TJbRgbW78aCU3s2fPYKtGySJw0UQhWjSPdtrQPB7UyMeYjh1YAhp7pB7WWPaLLuHPhakOql2OPZ2LNxc0CiPVZgE+Q9LSHaHRlfw0J9s7XjDQt60+KadTOFb2IxdOrxEArxzhGqs0L5AaBnLcOjlRnXc3uyO6Dbdks34sPUaOgK66KBLypkpaxJqrSruywpVHukkbPpqEbUndCI13lhnqhIi/CcGqEtZbW2C+2ftBFlJGj2LT5ySVMAHNMWlCbn2r6jb/rAN9EkIBVFjHtPXrIeu8jkpG+xGfbyRC8nBrD7CKzqGPjhGpxDLbba25zI9L1Fs/zFexp6nKeW5hy0X0ueALjQrvN/nxvP9xS9sXspXUftpr2eaWH8EBuHbFBNlemxjAvXGN5zEC5JCM4q0ReOWhmPxOVp2FAClhhAYyAyHCbyJc/hMgjpCkfk7+sZv8c8VsY2V6ryog2jyKOUy1wd68K6q5qbRMkdCPcLIWmBLdLll8LMratP0CO+lly2yMjD5aQMGSAGmPZ8wg9zQw+PgVabYXZD+EnyqzFW2jMVrFlsr8HxdOI0D/dd5CfPzMM1xPokagxDCrw093k3vLn4QW0TYIJ/eDQUHhoPkKPl1pQm2SBxVhUZr91eyHbTOk1Q1t3xn5U7j9U7MGSWgwIeKchVSrQvik5a/RzrD5vMWlqF/Q6qGnJWwVh+tvrRG6nIknWmfUyYAetnYrwYZu/c1Y0hSvTCyHm7G8n2x90obKSY1P1WtqidTaLBM/cYhh+qIhNVeETptUFDI6ee+IKYPhBISVoHi9I7tXMGDD7Ym49Jz5SkFUgYPXPjoRG7eWSvakODUqw6L3NuMyI36kgb4xYvN2c1eb/pJ/hYcFl0JRo+83loewWI16wHB6a64FOTcAIka8W7P7OLL6dpc2+Ok6Vv/o4XK6ov7egTpcbs5Ak+uIETAXfBv/3+/598bZpGyPLVqjmQFSZdRFBFjrvB5Tkmt+8Szt9tvbmGqbQZKGGRTNubffo7KpS9Wz9EdpgYTVdvivz/apLmv/v0dohi0oGeEksa63CATNN6f8A1ikFb5jrvLexK+MzJ17O1zoSuVgkvMz/w5NBaw7YD2RvashVi4ADVvKbEwn4/L9OxSnsL6VU1w7xYfd3VeWPLc+F02lm1WFU+VZ7CCqE6dPZl/Q3yDfMLH7HJt61VIP59U1m4Uqx45lq51pti0k4xBRu9cz0fi3qVTOjGhnsZK8twff/bUrA5hfpRMpEWespqXk17fF6UG9FNWBmlQHWfc/szIOLHv7RGQ71zH41Fuz2468KERiGeGktS7n6UBPWFGqk8QXHuitnUwvX5JCssrY7jwUdOsiz+OX3V9Nz8SN2TInBLUS49N75lbeuB0dMbC0yGzIkkwudsUMvuLkbMoeHB8OM9+DnUFr1EW/w1FlTzJFKWvtOI6Ees3YkR9ASVH9c+d881YKN5lRRUEc/P5gfsK+LZ0IlbvSYYYRIMBlxf3x2sD8lrqZG23xKC5A1bFBemy/rJy9YHx6lFwuUB2/kR+PRbZ9n2rDo4iccRdXKrHBmXJ+0mSIuamL0MV9Z8peCwG9ZMqm/dScfLUY73kAOYNb9meXOKB/TSasnLbL5GZW9Qd1FsmCz2KDynqaUzTRrF5X0A5uOSUe0et49SbJieU/Bse2eUT/n50VFm2cdeZMLS+H9ddXjICvKoo2qW+QxsgS/MMGLkMxcd4cnYF9z4ei/Trsqj9jl0mXc9/EKPmQYrbavzTuTF+BlVzCuffPZEsi0JcP99b4lrDA6JkiEqNL3xsFzmHZ6X2NCNa1JGvAhBpBv2swCO2VTUPLWYImm2UlP26fH7xip4eKqPNsLafNgyNpWm/fDcHrOItmhgdEicoUu0AS9I7uzmJrcdnPjXiLb264fMcozqGqR9iBldsS6XMTjZPSNIztPfhOTaNMCilTgDutYWN2yCjv6Gdc17w6u5GjnwJ3n/g2xyD6aSIhSCWJl2KildHM1dy3+UEpOJornk2ms154rS7/e+AfDSQagz47GLFo1wJQalH54qUBga5tTFYJ28pR01wSZWNCLNpnSmAYq5oEEScbf1a0pWyWixvM+CklqJcXEC0wNZiFQD/t+EU/NpvIk6goGbTS7lsMtTAPn3XU154P4bKnXyN5gQ3QXWAxwjL9kwWaC4CTh/76fODBKuMmXJiEojvK+90/3xf+ZambSCv3d/14vbXrADPJHQYXV0ufWVqqkdieI2CYfQmDOcpPZVYlFjcoUmys7B42/iyzvh/5RpLnkgDzxxNcyq5D7ZDLnu87Y+VNOoS0JgIdGsp/nxAM/bU42VoijG6yQspjMf9+1LDwqtXNBHLbXHNhWt2X9Oc8fTDN2NryibXzMU5hLiewY8IZCmkjbbtjhSQ2vdImioND8XeJjGAReGvLCXBMFPyXe0LJs7OIC06k8ap5RAQygZ0EPcVnYXo9AYuxpQn9+VJJvVFqCoM3eh0wBwquGC5s1STtzQGWw7sOL1g0/n9AfF8XZ3rDCmAsTitu9cMQ/CqRce7Ojb+tzA6HVIkpDs1qhOGJAj6hvPoNC+L/JW44y0m0Rgh4RS0/cf8L8s15xLPBHgmo2PQubkW3kEwUO5NQM01JWNHsGNaH9OrOT8L4e5DvNTNaDKl65rbwrlvfGTXLClPaRJbfC+dha9lMrcI3sd5JdsuSPkMtdH7PmX+leckJ6Hvc1vAWHi5+HHH6X4ABdCDR+5wRWSyurUmAvHPJ2d2RR9m0zVbWBm3lKIPGnqxgC20JHvTFrJzrRX8IL/ToRXTylEsScz3l4jkIF+KAD/bwsDy5BpoT5ak9VDcy4qoVfYYnnlFxymdyY4NfFV7TaXfb8WozsdXYcongW2H/RSbxtft7Fztyh4xOv+jxCNKxSTfLxMeC3zUX4AE5o97JpKjQQjK+r0R5WOuRHw3sfhe1K7plsJeFrPoccwRMOFQHbDUrAdpUtTw61lT0B+0dQ6YS4zgFGhWplfkhFIQ5XyL8ij+5CmSnirjUiP1e0VePM2fmlReDlDTdyIzp8aR4E6f6V1OY4OmAmRbZKrBZKMb1IDQQOPFoF9ulubsD6fjfQN/HebqUOMvU9c8yDDmwELSYhsyJrPGpxiuaraI72IpU90EuigMcah81vXtFmqa5j8UnE7+n3VHnMuYp0vZPrllXhBODwviAK6fzXhVE5VIMEGNoOADIRCXQqCh1HrOE6LTl5xmJyFS22t95B/rUcUrh8eHA5vsnmFfe7EjpLMzAz6Xy4IlAzTh600Zn8KYdCxOAXeaiO0/uooh9bLCQNW4ADZAsUWjtH9pMgxpeAXnqgdW/uQxnY1KqBbyz4iJW+E0KwioRK2+fdzvigM9tHDLf7eAUv3/Z+G78+DgxFTx9M3rvAQdXvn8h3Z0UBk/S1kuD+Yo3m5yTUCJ7OSY1KyeXvGWbeXyiGlFkwwcNHlLE4xUFwGRDXSlIcIhjgnDDLb/gTUS2/KC9kct7L0sLFMz738VSpsliMdR+mtiJswAEI+B7O2drCdAfGvBn98HSmsjMmEzIWN0rVyMEw10dMnjbDXvv2FdKzS9yGlbsBtMsXv+Ed0l+xeY2R48Yc1vTZrf2FwonP4Bz/MFmfXSa80xQdgXZq+y5hjqax1bcpGDMQJXJAGZo/6xALeIEj4ZL4PxdBWgrXkfRe2OZoYr3OHG/E802DjPtBNq6d2pG0o2svR3K/qrIdeZTJ8vL4bHgjGhGmahR2cCWE8SQ/rvQaFctD2Ab87a0K52RzrpAQav9S6AM53L0BA8N97s5/dVW3WZKA6+9lvWoP4NgUw1X4f+9WczhonZx/xq1SmbMhaQLC+MNksibwPDnGiOx63WH0LDZ5myxB/OyFkPJUEoZWkEAVCPIKAsC0lG6hf/na2iHgBmk54N66pziemFhp7d3ULiU1DYiLyEhJwTxB3UsZIj97xb10olWmy5tFhAuDhnuXbTLgYFzQX1lOuNLV0je3ScSxgnq9UE45b0xHkmb9kyCyoGl/Kr25Ft1HvGpgC8tIPm2jNF0MTggVv8U7+lQL699dBShakONIOG+olO4NBURBtrZHdWurgTLoBCr9mmhIjD6hh+ucz34L/39SAahw12Oe9MQg4j1stvKYHAyovMvf5OiDaLm/qeH9R80N2uLYjTkXnsCtp3dC6la0na/puIaFLWjPJZgl1xbheqkMaaNZ4tgzifLkBPsMFb0HTQlR0BWA+fLjE6e+JueFCWgkILEiVjdkMBvfYh7WAUmv3VLjVsQETxnVlze4OkMf+0USmtAblrNZL0knvOjnrmeKU58CKoXT3f5c0tOQfgMptP/3NTVMpeKIuD9UgDJUXIfYiEWn5CAgktXwYxr6uWhxeZi08ET9s/1RYzBIcsqcuj/+wohgOLosKi9AkKhOdTfEvlFMd4nieQCyNZMJqGl7PILYjCDJxjX/d3UvvcbjivtjyeJBYN8Zk5zBrc8IpefEe+BUegJQI3vbzgV2GVd3Lb7qwonbbYOrwXBsdCsXHfxAHCTukj4u0+CeBPpOhf8RRYvb4RdYEEyPU5DtTeYd2f+TCkZhq5YIw6piiUGZPFCERwo7vY2pz4FtPyYsxXCSYImUU2E1RXwcWRlO09kSRmvnbaCeMCxVmkSZSMtXLjMuL/xPnWs8/VqO8ftoiplVf/9dnPtu1moxXaMoGsKAbtIaePFiumw3JvxZ/D01VNPMB/ctt+7LprGt6K63+NxbTpCEC4lOy3GsCF8uLpXEpLUVXpNU1QuHTxDJ7+Jx0Cn3kQMyLfYTrvU91g864w+knuteaeOFjWFcw5nhXF6VSKgVT2fGNFjlKXm5uy81k94ju0jULm61jyNSEgBBK2jacVB8/PxbOdfjLg74T40b/0QydkZTINd/WqztmBBBnVd4EUEdhV0K8J0462rsVCHueJkjFZx5ndB7IuSsVyVeHz5AiWP5wWBBRP9sXBnmWerwKb5IRjeyto23FcqaMESKi2yqS+C+gHJe6QYaCIB/Cz+fxqP89gBBGTEB0CgVrmODCssIKHdDjPPCOf9ZjAYOZxKXFLqA2Gvjof9DNCjJT+CYAiu4tzoI5AaLGfZdpqbjrSDnLmCi06zmP/KlN4Tj/uSfkRJnaFRWGOTQh4Kw/ydHhEBOg1pduFRpFVmlfqgd/ZgRNiKo88L/7/qgD4FHUy3weAVr/Ci0NHpDBUm1tPk8tx7gpRDqMMkM6+1yFOObRJT7GQrrIQRGnx2J3GJZNDOYRfNwXS37kbqSwSS6pwqClEF/fKDbpaQ4jN5iJ9/onzGpQoOHKAz1oaJIArznLUSw2oCZHzwHhL2TmsnmtuhQ49qb0Eq7N4BML+0aJmu1YCCF6OHVGOGv3FJFrLZVvLBIT9Cu/92hei/O5/7e5imFIu3OvvGZM9sqNIlxZCqJQaL6JS0CJ7u7v+UCLGl3u9+AIGg2euYvHqWy/8+QmIxuThvYPsscYZyUi6gGVshGCcdnjAblkYlfiE26HZeHTIOtPcdk0ynfLY1VF+2WUwAkctFeXvrrmrmI1SNhu3Wjyz7yR2+e+VwDbz+u2mL67WxINlQ0NZExrEv7rNEYvAz+xYXXSRj36dYAaErUsVEU40IgL3cSpAZAJ9E2TEwjV1WbC0yc38qN/F3fxIFgjvwqmnKGahiBc07syNnR+vL/lrmH957QZWh5HA43rUZRDWoE3EhicO39sXinrQwbzIsKSBPc+kztJodhKOGaUR3mhz3hVsVOuDOrXKgFJgL1PH7ND19vrR9hY04/ShWmRFm+Cii2XBKCEY5zwEpiRy3aAX7NmGBBcqml93SdSPvcR+MOEYvGCNJCc3ZsEEpFP1DOivO5OYtnszbzpWmX8Au1HOW+YsePmS6UT1PeTlDGUlmAf8YzMn5XDl4Hl9YyuaRwcAsvojeQfUAD3udbMUcJ+U+HRrdIoSvskJuthk7oEwGMRb0e14L6mVKihgtxvL49i/iAez1Mtd/i7F/XI1jKaMfftn5nkZsmzwoRkQ2TxCcdUI3Z5ef8qukQnw/ikQ/Rb79LFSzG56NM3SwNCtZokN5DSFjM8U5W3XnPouQPI1oA0GrtcBUwIB5MttOl3h5pEZ9dBYJ5wwNM3TTcFTtbqVUxu6F33WtgEwfvAKW/SQbDhrj7G9Tvv3j0Rpl8zhr3DjXLNuXfsHSc/BerenwU1+YzQBKW0USZJKWxxWAyHEbaXuqQmkQ72O2U1df99nqKRKRILSBwxawnhwF6zQrCoeHg/a93a6+bnVO2g+/4l/l2DwFbon5ScXRbnNioAKDgFcFXyTwH/qVzJs5wiSyFQ3cRrftUv3CZm3Ou4G+ieKuXLWgQPPfmA3xN+W23x/WbCu4GOV+IQEFUT7Bc42zt+7xyMKhqZx6TNPQrPi1bUYXHlHQihvPXnmIsvqftG+0Y19aLdUY6/A+2FCPdpokJk+tNAafmJCPmtiiN1K9LS/mhAPBli6g9eJuxl9fV2N1jfy90ViV/+nkL4d/RnA/uLkP5CDXyWMJTqp2YKxlbeILM5gmjuYMBu/tpM/F6hFExuUoR6p8K1OotIgQ6sglFkfDPwV5YxExQYp51aHmbd40ETGTKKtOBwWlx1UK78BBJs91eq8e1nKwt26o6ITdu/Z1xGxpEUyZTzROQNOqp8P8bKD1PYKWDT54CsLNNSIOY3l0tUby3uliUME8a0atXyf1OwBxQQnS8enLaQg23ZNF6bXycLpn1LFwiFvuiyRwjdOln+Fh7nvO0Uf2BCTgE2aYjCU1YYU+lfX8AjNk9JmS2N3Q1s9Br2JXPShn8xVITMAiCNm+/+AcffwEpRp3oajSNNK6mRNj4xlh5sMBoYFlyChanr+Cmv/BLDpUUaeXHT4ZTWnm52AiCMbJ/0Xf/ljqPlcZmNFFucODO3a0XjQHGVzqYmM3viaNshyinMYPJywVNBo/5QAHEfmKHUyi6XUhQNQV6tinVaM4V7Q5JP/fVYVOt17Hcr6e7Cc1xfPF8wPcQRA5HjsemO1MMtUeaRjfGbYx3TKNCxj8q3f0XYPCZYSqK/pDCpybmg8rYnnSI+C6nB0pX/KyEUWOWJoBNfTpJUDqLd8mZpwFJYPmQu5RYZbQZbdCmxVI1LUr2ID7bSf/8GQ1soTYdiJFWPLvryjpltU7OTCf5oMb4JNjIJYiFjARgHCi541hUL9cXWMwMPUhKJngfCXupRvBkMsT7vGAx9zBh+/vM4cuBJfW0KBKep4fUnIj/bjd40h3yxADLQlG3ZJxeceWG42Or0nMB1EvXeToXfAHiSzOMkOSuKrf2I5wYKzPqIDbyUlnPAVnujVtkoo3z94sLhYG6BS4XUy/TibW5QENkXMWdLBNq6PlYXNTyNkx6c2VWh0Zb3j+aluceJxrdIg8e7/ik2QvTxKadPNqAjDZZTUGSm9FmcUTYIkWyECY8RBKAS2WlfCQ0P8mjnzqelB3aMuWdgfGqeSDbbVklFd+i8C/As+dcIQW6SJzYqdSSrLJCYp6CDo2YefXScGcG8vVGFR01FnpJypuE0th5fr5hS7c0vzu/F228/03cVNmh/wdJda8OZX2sd1Bvj3maOhs8Q0SSetJ1/ZmyZKbeV8xd0eRnZGaQa+lNS2RG9MEqN5DMGbBVAiOmFwsyEMmAdPPhrjIRh9Rq/PVy32P20Tr+JFwia5P/T/WoSMdfEwtI52cVCZZSFURAkfYV+zcV7B2tmltJCcCPFpd+N8DdPuWhmUqT9VWa0pkysi7CisoybMHUwgsXW5TtSW8CozaHzJIGa7jT9hwlvKoSqy2tWOHgsRNmxG9eInjxGLgYHwTYgAbUFz4JdiPm4CDOR9ylwwXcjV8+GaWSZ6qMqNvmXf+fv2lAH/RmT2sp56uRc8CaUablD7LrL1DpA/jAfd45BjVod+kjz9eTYdaEmaV8Osf5MO0hPTBTa7W8eAh9F4bkX1HdIJ3P7b5BeHP81EAeDtKUl9ZFX0DouNLM+0iezgL7+sTnYNdGLtfesI+5lE94nxQ3W7j9mZOfhZ4BxcTWwf80ji2Rn3vOGY0jp5sv7XPJ8g+xseYt53juafhnMEZSwXfvb7O95CAbvvzE32QOddUa2YCiJIV7PqxSIhFsNsmKg+CDwMF6uRIFx3KKkhwGzvnXyTLBwST7klfFQ0d1yfoKBO1mJP9pwUGcQGb2MAh8fVAwhNJlK9612REHbsXDyqOaj9ecPVXVaSohh43+nI2qucUzNaFkpePpqPJxG7osEarKqaXtH0pCtYjbqipwiInJJtNMQ96kuOY3qjTvQNuBvcn2HfIcYBBKB2wZ04LfTP1QZSTVrWEs2uE1rPeP73Re1Cwu7khftUAkk8rXEHyphNl8MyJg4aR5uN0ErkvH6++jRGTPkHzwDUKfgH2jd9lAV8MWgHmjB5prZPGCaldCPj8VhaXcmouSPkMzrUlqmkpERTr2uZV7q/z8xr4IQ8VpSZMqSZ4QTLXmbv7qnAtVknyx3KHtrT+nUajv0+YZQyMR413UmHHxooXQ/VXsK8dq7+Wr4aSSg8ykSW5OTy/DjMY+irKzv88fvKK30lp+XKOfAQB/PwcXH1lUUyM8skJsUzT21l883SFtXOh1MBu/b4QFTc/SOAe33aW2WNw8hvXviTxNhXeg/yqdOueoK95ibV+xHNSdV/kFza3srcAes14qVJglt/tdZZFQMzMGqbAMbpvxz+x1lwb0Oa5kefPKNCprY9BqGHOQp/f1L1yHbhs2oYvw460Yz+CK3mbfIdLlY6KU391vGCC33ijtULqoNXTg9gZ8l98+p59Pufwom3rBC5zoCQ6C+/iXwDJxeVijAS+I7a50E5VZjsAfwzPytjRhGyw5yUs6fabgpStCkWzL4EzxTaiOSK2QTcLIHbX2GR7kgeHDn6IAzYs56yYQAFCziy1GZ1Af68AhgA+N1gYXvev9a1FUvHW31yfWrkByQINRFO99apC3ZsDJv5Ln8Y58ngNmqTjpQNwXtNgzIZNgc9RccIByxDjHY+nnu49oDW045X/FD3/8IXGI+ATtrg+jsF2G3TUxmNqkrrsg1gF9pbZmd9tTIGU6KzsG1dUwgMbMQJ7DtBfluD0F/kM+t8kBqllK5RzZiAWD7bZk0ipaRL7Fxuh7JJ7lr/mcy3RDXWWeeFgXaOM6aRRbX4sVjKmcLR6vJC9Tcxe1pCEJUTkzfUfP3LEQzhP/CtqW1PXv9CyJCXHlp0YpEOU5AqkRo1MwzH0qltwD1V6pkaRkJIJBJ/Nb9svUIFjv0j6xCpl1d1LnsnLYvpbULsVQTjjotGnfyz/ldmh1/OI/foshuCtGUSr3nfnGiKuXSAcs99dSbot0cydEt80PHpGhHPvhEvLdxLmJdrhN4fTRWVkWfpoPEk9Rqbr0GPc6VZcu5VhvKdTOfN3sITZ+eR15ZZ7GNMpcvA+kcMKxZQ3rPu2L7CRUAd22j4POIWMl9Hs+QSWWJak5Qc34HU1bezc8fsNpYRiKrymNp9Ur/NHCfV7wpkQLOL4mCh19LB8sUPePzhiDxL3L25tUk7cT3fdYoBCWAl1qBk33953R6kkUy7H5TmOuRCdsmB8/6h70qqzVZmNnJ0D8/8DnsTy8SkoNSE5HW8ThxyRZHXFjaWCs34QRQ4TA5Pq7xNySyOtu3VvKyqrBK1x2Nev7Jql7V49YxHoSBgfsuZdEI6EblsH3Z+z4QjsaZGkuybkaFw+uUysk+Km8/mtWbAKyZeYCauQAGEw/vR+Y7IKBwpNqlAM1nBZKdcUvSTiPFSu/c48xxlC/ajynhqJMyhAGIz52IUgY82mzhOVQn7mgZGos1cNDIxpKGgUWKbFYrt70wxtLiq1qAcyDFfNXZBUc+VrvTPTLI268Jv2KkyWpph2fpZswoXnqpRvpkctXKgCBxRXdb7ymS23sQDW8MTZZPlGuHS/7jy7zCn2sETDQsTccg7YusA/PNweyff1W/eJ6ZGJcIFWacP49CNAM25tkD9PvsgF0VynCKu+o+gyrmmDpUhqm+bExptEaRRTEVBDGZ5dImRpGNdvxJO41qzrtmvFv8Vrppgh+MzjApS+JIb7aNvSaUNApHJkmL7SYHv8kiBD02oEoAgPKWfokFsVfFYag3n55/6LsXsGauGxjFOvZnzVbFv/lJ9o1m3F78FVle3OIjQpa/KwXUJ1TPUp05rp5wKi0e/bDrR8Nl24e1Zhu+mOOcnd0lQ0KVL6WWrlmxAMGvRvWtYx0BZ35vstAlmc9eOjgL4ahsxUi1+dvUbZ4cBtBc2OrQN9B9LCePJmMId+sgQ0pSkwqDcMW/DkYlIZXaXGI0qo9JUFtVk8PspDO4N8sFhcqdF2Al+hrdc8YGr1VAZkxetFBnlp3GghPdTwtPmO8A3W0ftSorn4eEANhkbFOY64pGtQH6jW4Pn18pG8woPTB8LXuBbvB5Ys1m4ckZLnTIysUntpHpYAy6c55Hs81TCgqoeWwmTbGa6T1aKc8S4IwNgTHEsJKzO/lfr+onAQwkrEtmaofzwRG5aUKZUIS+81vZfughQ1SbaEX0zrYZsCs+fGV76g5sekcjWlVFaQYh+ik6uW+41G928EKnEhmGog0clJ2CpUYc38ubhz4iIvwqkg8F+5VKymAE4DBD5i0YJ4JavADvj8g5QmqruV1I2dam7RR1kTdiDqsL/ZLNnj6P0owYCXVqarlBDvN8bI+A+NW0EjbpHtoak2r6Lf2oPbnamFIPvKSDk4p/lRkFy07upTUtSHmYG7QeJFcgccvsnDu6yipL6flqbhJ01obKu496mbW11LKyQpM9jqj66ORycncWuIn+I/g37Be6+6AsAni8ZA3VPUBVH73GbgcUkN4+Ncus92VP8ui12BLxVkroYDxoXwS4UCbniNsepAbg6nSmM6h+xYoOPo+ADFu9Kzj9hur+dqPWIslHFODFu6ZdHidT2wGeIfzlMitkOpRyjyKsnqtDTiiFvZGDZkMMMBeZM8wWQjJr2/WVioeq8ETqPqwtdisSb55qLvPQDhIgyttcBZc9kxT3P/l3OGPWwycdvhfUrsux2zruWPJSxfajz4i673wDn6Zq0TOAhNA00UC2IFdIQ57DhkOcakoSZidjSGowoSGjeGpnia5xzAr9JAfni7KYkkIxB5uCWW1gsCgO6Nr21ipKK4pbYMOwQBY+RVcdOfdwzwx5S2TcCQ46YNAX8kczA/WWS3GkV4qOguKK7yyCZxaDcet2facUuVdxCxlMIsITsiivooffG6ugapaNpf1wuezUSxVIaHk2/T3+ByTIrfB+SGf+5xLZP3/T3cgpZ2st5quWgYPJlm7668ziLt+ZcBZYkDXmDTk0g7yrfJYWwU2bTYRRq12xiD1pLZmIoysiSaZ7vKby5ab6gRvqlSzu4Fl0GPzIWzWz6BeNZE28gVjZeSKz3WguclKhei11D9s+R0d6z4NFSogZybj0VmLBxyCSNb2rConIOqR2fdhfGL1aPgugFFe/n/ppd58P6Q6yaYY7oK3Y5lrhe+uTXXIzuFuHvu/D6fiNbfh4EYDgMX4v9APo6KcnvSo+yyU/XBwphzLebBL1DQm+Jr6absXNx5JIkqDeH0Ic+IbP9GcpTzmNHHse4aCknFK9rDm6lQo65xMdR0J2zMbV1+ziK0f/iGVnOhN2oJQyEyUeHfNreIMGnkLSzA4ONaG3n5l+7MCtdNmpDt6wwS4UUhjqw2oWUQy7UizTVtboTJ7NWT/Gdd/Sc4iPaa4SatzukukaLGC9NRcGmlNdZrgfB1SwSL3lwJuBVv5AXckFObP0g+dbyE+aiL5ilQoiBMutLaaN6mdUZnOV08IpvqLpeDUu1HOl3vkVWeyagamtb8Y7BxHR+RkskJe9Ap0Xak9IGOnF5mggBLbZKf4NZaQUayYKLa4PI8zrw8aE+QomR1FRCdXQOzcD3SMPWTaHg2o8mQWCkPcAuaqXO69dPmz/HmT3f80dFF1qu8NIFsmRI9yJ9Dg1uI5nt6lqzKL7+SjNLUmQb7AI8TRXLhk+1R8kSwjBFE12g6YWJ3aQ7m7Y0tJ37WaAYEg1t4CFa/ijQiBqfKSTRA36wqdQBi7jmx+zpC3UGp/Br16rsbfxCLgK4yorvdLKoHyVGMwjG9TLAzpy7Crterw2VCzMS50IbtziaIOSTpqMLoUX85hRY3zxhgehrSXuOX2Owh0zmgGbk3Tnaze7/d9V+ZBRDCteDQLnm8aLscCjoAVmyLU1aJzUSuMFYrlpXZC14jXT1gCjwIOeCNZF9OLXl+c3IIzvT5yWwU3jyUZTfwskP/aMPz+UeAi8T9PP9uTaKZor5oz26yrKtdfPlGZSLUNS4yTIhO0nxEyc4rzMnagvpATenkQr67gW84Do4g8KJTHBb5sDstF50XkkCLL0GrpKoi4VL3OzB2uArleuWIdQ2bM0GvWWqQ2efHgbg7PtJ6Ws64IbShYAkT+xXriFRUs4A8ASBCuo8TY2LXMsEAX/YuptkeB0pnTtAUs1mLNcKLR0b/ICEi2pvKi9oIh5Hh/aOxHPLhvg1GgowD0xo/+cxnROg9rHILDfDD3DgU2p6pwu1HeKmrmEHDq4g0PFWjIy8jiJxx57wf3xgew/GCY8B2B5hW0M8OtI2PGdKKmofSwnshIpNPXQ5heyQKRbyuu2LCZA/ebrn/sAOHJkDHs9lqM7xx/uvwtuFb9t5/zpzmDSLe8hlYkDv+9Q9qAjqwz7/kZuDQev3LXQYDyl92lu1zAgjTWQ+T4RfhuWXjwkyI2Q1SXzCbLGusbnf1WXbYUkDQb/yEsuLH+NFiSj13nb/7t6a5RHbIh6hzBY8x+gMYONrYhwJ9cQhjG5RGiMlqeH816Ukax+K5AgC+fJ405ViRuYNpz2ZXVnfDEyndXjktx7vaur3Z05mBYu+0FPNyZhCB49feuCQV7eQYD76lupGxqk4S0bpbsqs6OawIqclmFw8+PSVljEsargkIWauuLNzO8TPOEC9vtG4lI+gG+M3MBmOz+yHPefT4H6rktVRFSzVzHnzGYKUw2iJyYQ6ebYLNB2kcdJvhRJ5lD1fnwZ7zkf8kof7NuuLHEOZKRArb0yObGqCTnD2yx6Hxrs/EuAnbz7+n1jyLX75EkPXilMgevhmIDanLaTzgunP92YhrawCe1zYmwgQ7lphNTK3XVcnA+VxE3I2FL7xq6KfXx6R1H0IRcmwN3uhxIKyH0LPSLnPo21YVt7L6SPxDm1vLez7fqYiP9PCsYSiayp2j0ngodrpm5R9jbiVSuEVAN0WrzBbMAvcm0ZPGIcQv4Mylo864McOkXuZMrdwgZN7epZl3sgFLA+hp/Y3dQ7jT3KB1enEfgX4/1W057dRwK5HgxIJS7ssj43lFiftFLHZUd2P4HbIerQ0EIYQaN/NBbLVd+wTpHr+qJSqPDKd6YoYY3n9VtgEdAYini3dGVtv4cUG1c/Webeam4+TB7TWrdg5QQkbjMrlyikxJ4O81B2GalIVvJsaSvzS418t9amLjI06KYxGLXIld8WuUG5Fj4uXeCAW5zbJJ/aDN5sfGQeQ5FdXE40VZ/cwaIOMsRXuyVXfpuIioKAS5z2cy/sfw0sUBIbMoGukn9LEZPix+LTfqA4CAWKMi2loMgPREiIYg0a55ESxJo/Y6pbjAmVIYmqagqolAo0nfCBW8YJpAKrEG4va7t4aJjZpeCDcYZvUZmgHUkuNBGetrSm6rZr1mWyA16M3JTqgHaDuRwxajAjtaRPFAZX604zIuKzkYtpnxGv99vZZKjHwMb6FhTUTuhgXRFW0fM5p82643CvNYGpB2P1oL7/4WBZQyPXBE37nJgdZc+i045Sr7V2ziAypLsKJzvZpA+mNOYbd2OmPbA4cNWkS/TGHjOtrGiTwP4sr9WzXDHO/ZRF7PZm0suiCNj5zmEP5VD8jgNKHruLhFD/inNGMmSEe1PzrJBAOh9Cj+SYSBvOV8IWVQRkNab9a9S4md8ivEyc91up1nhoTnTJtu4adbpfu/zLIqEttYzkhAoe/632aDMsQNI87iBSiJUnTh228KY5Y/c+TsyexuGZHV1KV+9bfrSEqOHRAZ1q3WKODdQPk1+0qpi8ghlFaR30L8y9MLhhMsMnR/hVvPG+8wny836oukXAiPq67u6tqhZj99lX+3QevvylDD4bqgE5jqdgex3uBJM3fDTNhDpb9duFAasDnN0yJ4A14/7mAH75VySEdtsoDOdU5G29eO3Arc3uv4KFFTj/HbLp9NFX+fT4k58h7x9/uY60q01QfXmZcklIOYlqkCOQaVXv84mM0n4EhMFjY53OppsEQ63DIHfAJLA7mzdpHB7gxtKwcXk2TQqQQqAeILss3z/N8MEDDfoFYZaCib0P1EIza+Xsqtp2lmsQbByI+eBcpJp0SZqDXz1td4ouyjGkzcFfHxYLeAjZGDm3Dg1BI9z34otoKRE0mpREhRkPm6Nhb9Y3B69yLUYa9xIv4Hvl8ZcTmcgeS5xRZJDgiIZw3z0ZplusMg18shAOg/rXyrjOspQm2lmr9Yk1wfxOc7TjUqq5Tykv6W6mmt219OiceaE76WSkWmnOnw9GsO1UWVPr8L3We3EfJGDju3Z/0FriSMY0i91Zv7ua8imHsFmMICwOHF5e2ia/oKtL/SD9skXQcE0Wz2Id8b6aAfqC2tndFG4pxR0MMcll5DSUOs8WWpdQqbJPNevPOj3DpV6/kq+F7W7tiPM74FhAZWnOVzylqtChPa/+EIhak5exvRXDYWNQMjxV/rjqzDXKdDsl6Pbk7rZljTSM3ttq/P3oFAJ4KSf/Se8PciVkzXkmFhSEhaMTFVktMMP7E/S0a/ESBuXSYMCCDsbhdxVNBJwo7dwediR9Ocybcq17mcL/V1IQaolFgy/1U0kUqqQYdwv9RU0dPIjJJkj5vEzfw/ySqDfk2HpiYwkjEc7Z50AtmiP+yi4ZmEzu/WL5x4HuGnMAHzSD4l73FwIXdxUmHjFmnXe5gypKnSwX1W8UhxAMsZdBIKkHTMIXcygbQoGqBAeiPUOQYIDVdAVzOFJkjDNrCmgcUFY9sNZuhyQ+F+gGkgIt7Zfg4nINK2ERQPcnR+7B4zwG05CuIP9VS+b3c6Ss4FAtXcNRt185Um6ytfRjjOq3BbJUzDQWVwyr1eznxy65qq5EHv1Kug4NR2qX4FzMF6lPCv8UIwc7tL9bBF7mluOuI0XS+QSrlYwTQwXtJObnOwnNphNIqgLTO1+WkxK+AWtR9QZ9mn65kijsu8gumYKnvdrqxyRD/8AHznDEGmw5gZhb0yn8kF8TUFkpy7PBwSyNVL+F4WdBflhPwRCvFuhO4cN15gPcZm4A1tpdR97fKIY+who4izrlT1Wubs17OJJg9A="/>
  <p:tag name="MEKKOXMLTAGS" val="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larity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arity</Template>
  <TotalTime>0</TotalTime>
  <Words>835</Words>
  <Application>Microsoft Office PowerPoint</Application>
  <PresentationFormat>On-screen Show (4:3)</PresentationFormat>
  <Paragraphs>138</Paragraphs>
  <Slides>33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0" baseType="lpstr">
      <vt:lpstr>Arial</vt:lpstr>
      <vt:lpstr>Calibri</vt:lpstr>
      <vt:lpstr>Century Gothic</vt:lpstr>
      <vt:lpstr>Gill Sans MT</vt:lpstr>
      <vt:lpstr>Verdana</vt:lpstr>
      <vt:lpstr>Clarity</vt:lpstr>
      <vt:lpstr>think-cell Slide</vt:lpstr>
      <vt:lpstr>Package Delivery Market</vt:lpstr>
      <vt:lpstr>European Broadband</vt:lpstr>
      <vt:lpstr>Global IT Market Map</vt:lpstr>
      <vt:lpstr>U.S. Restaurant Geographic Mix</vt:lpstr>
      <vt:lpstr>Automotive Purchasing Map</vt:lpstr>
      <vt:lpstr>Apple Product Line Profitability</vt:lpstr>
      <vt:lpstr>European Labor Costs</vt:lpstr>
      <vt:lpstr>BMW Sales Growth</vt:lpstr>
      <vt:lpstr>Luxury Goods Market</vt:lpstr>
      <vt:lpstr>Earnings Comparison</vt:lpstr>
      <vt:lpstr>Who Profits from March Madness?</vt:lpstr>
      <vt:lpstr>Target Market Segments </vt:lpstr>
      <vt:lpstr>Dunkin Donuts Store Growth</vt:lpstr>
      <vt:lpstr>Apple Revenue Growth</vt:lpstr>
      <vt:lpstr>Private Equity Deal Analysis</vt:lpstr>
      <vt:lpstr>Soft Drink Industry</vt:lpstr>
      <vt:lpstr>Global Wine Consumption</vt:lpstr>
      <vt:lpstr>Airline Delays </vt:lpstr>
      <vt:lpstr>Apple Financial Trends</vt:lpstr>
      <vt:lpstr>Wine Consumption in China</vt:lpstr>
      <vt:lpstr>Smartphones by Price Tier</vt:lpstr>
      <vt:lpstr>Tesla Revenue and Profit Growth</vt:lpstr>
      <vt:lpstr>Facebook’s Geographic Mix</vt:lpstr>
      <vt:lpstr>Starbucks Earnings Growth</vt:lpstr>
      <vt:lpstr>Music Industry Profitability</vt:lpstr>
      <vt:lpstr>iPhone Cannibalization of iPod</vt:lpstr>
      <vt:lpstr>Restaurant Stocks</vt:lpstr>
      <vt:lpstr>U.S. Branded Spirits Growth</vt:lpstr>
      <vt:lpstr>Smartphone Ownership and Income</vt:lpstr>
      <vt:lpstr>Webinar Timeline</vt:lpstr>
      <vt:lpstr>Client Project Plan</vt:lpstr>
      <vt:lpstr>Consulting Team Workplan</vt:lpstr>
      <vt:lpstr>Usage by Segment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03-30T20:45:45Z</dcterms:created>
  <dcterms:modified xsi:type="dcterms:W3CDTF">2017-12-12T13:16:26Z</dcterms:modified>
</cp:coreProperties>
</file>